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60" r:id="rId2"/>
    <p:sldMasterId id="2147483669" r:id="rId3"/>
    <p:sldMasterId id="2147483676" r:id="rId4"/>
    <p:sldMasterId id="2147483698" r:id="rId5"/>
    <p:sldMasterId id="2147483711" r:id="rId6"/>
  </p:sldMasterIdLst>
  <p:notesMasterIdLst>
    <p:notesMasterId r:id="rId47"/>
  </p:notesMasterIdLst>
  <p:sldIdLst>
    <p:sldId id="256" r:id="rId7"/>
    <p:sldId id="727" r:id="rId8"/>
    <p:sldId id="500" r:id="rId9"/>
    <p:sldId id="331" r:id="rId10"/>
    <p:sldId id="390" r:id="rId11"/>
    <p:sldId id="503" r:id="rId12"/>
    <p:sldId id="696" r:id="rId13"/>
    <p:sldId id="723" r:id="rId14"/>
    <p:sldId id="748" r:id="rId15"/>
    <p:sldId id="724" r:id="rId16"/>
    <p:sldId id="271" r:id="rId17"/>
    <p:sldId id="697" r:id="rId18"/>
    <p:sldId id="497" r:id="rId19"/>
    <p:sldId id="514" r:id="rId20"/>
    <p:sldId id="707" r:id="rId21"/>
    <p:sldId id="726" r:id="rId22"/>
    <p:sldId id="711" r:id="rId23"/>
    <p:sldId id="687" r:id="rId24"/>
    <p:sldId id="670" r:id="rId25"/>
    <p:sldId id="691" r:id="rId26"/>
    <p:sldId id="629" r:id="rId27"/>
    <p:sldId id="656" r:id="rId28"/>
    <p:sldId id="259" r:id="rId29"/>
    <p:sldId id="728" r:id="rId30"/>
    <p:sldId id="739" r:id="rId31"/>
    <p:sldId id="740" r:id="rId32"/>
    <p:sldId id="741" r:id="rId33"/>
    <p:sldId id="742" r:id="rId34"/>
    <p:sldId id="743" r:id="rId35"/>
    <p:sldId id="744" r:id="rId36"/>
    <p:sldId id="745" r:id="rId37"/>
    <p:sldId id="746" r:id="rId38"/>
    <p:sldId id="747" r:id="rId39"/>
    <p:sldId id="749" r:id="rId40"/>
    <p:sldId id="737" r:id="rId41"/>
    <p:sldId id="495" r:id="rId42"/>
    <p:sldId id="272" r:id="rId43"/>
    <p:sldId id="398" r:id="rId44"/>
    <p:sldId id="513" r:id="rId45"/>
    <p:sldId id="304"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F4162"/>
    <a:srgbClr val="E6E6E6"/>
    <a:srgbClr val="97979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37" autoAdjust="0"/>
    <p:restoredTop sz="94660"/>
  </p:normalViewPr>
  <p:slideViewPr>
    <p:cSldViewPr snapToGrid="0">
      <p:cViewPr varScale="1">
        <p:scale>
          <a:sx n="66" d="100"/>
          <a:sy n="66" d="100"/>
        </p:scale>
        <p:origin x="580" y="48"/>
      </p:cViewPr>
      <p:guideLst/>
    </p:cSldViewPr>
  </p:slideViewPr>
  <p:notesTextViewPr>
    <p:cViewPr>
      <p:scale>
        <a:sx n="1" d="1"/>
        <a:sy n="1" d="1"/>
      </p:scale>
      <p:origin x="0" y="0"/>
    </p:cViewPr>
  </p:notesTextViewPr>
  <p:sorterViewPr>
    <p:cViewPr>
      <p:scale>
        <a:sx n="70" d="100"/>
        <a:sy n="70" d="100"/>
      </p:scale>
      <p:origin x="0" y="-356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DF2CC2C-8B46-49D4-BE20-528B015F1B9E}" type="datetimeFigureOut">
              <a:rPr lang="en-US" smtClean="0"/>
              <a:t>3/2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03B511-069B-430F-BD56-65EE4A68B939}" type="slidenum">
              <a:rPr lang="en-US" smtClean="0"/>
              <a:t>‹#›</a:t>
            </a:fld>
            <a:endParaRPr lang="en-US"/>
          </a:p>
        </p:txBody>
      </p:sp>
    </p:spTree>
    <p:extLst>
      <p:ext uri="{BB962C8B-B14F-4D97-AF65-F5344CB8AC3E}">
        <p14:creationId xmlns:p14="http://schemas.microsoft.com/office/powerpoint/2010/main" val="17041656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fludb.org/brc/structureOperation.spg?accession=4LN3&amp;proteinid=2799512"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732617" rtl="0" eaLnBrk="1" fontAlgn="auto" latinLnBrk="0" hangingPunct="1">
              <a:lnSpc>
                <a:spcPct val="100000"/>
              </a:lnSpc>
              <a:spcBef>
                <a:spcPts val="0"/>
              </a:spcBef>
              <a:spcAft>
                <a:spcPts val="0"/>
              </a:spcAft>
              <a:buClrTx/>
              <a:buSzTx/>
              <a:buFontTx/>
              <a:buNone/>
              <a:tabLst/>
              <a:defRPr/>
            </a:pPr>
            <a:fld id="{CD3CC189-F892-4AE5-96DB-3DBB30BD29B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73261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864047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732617" rtl="0" eaLnBrk="1" fontAlgn="auto" latinLnBrk="0" hangingPunct="1">
              <a:lnSpc>
                <a:spcPct val="100000"/>
              </a:lnSpc>
              <a:spcBef>
                <a:spcPts val="0"/>
              </a:spcBef>
              <a:spcAft>
                <a:spcPts val="0"/>
              </a:spcAft>
              <a:buClrTx/>
              <a:buSzTx/>
              <a:buFontTx/>
              <a:buNone/>
              <a:tabLst/>
              <a:defRPr/>
            </a:pPr>
            <a:fld id="{CD3CC189-F892-4AE5-96DB-3DBB30BD29B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73261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544433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USG developers</a:t>
            </a:r>
            <a:r>
              <a:rPr lang="en-US" b="1" baseline="0" dirty="0"/>
              <a:t> sharing information to make the best use of government fund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C72B32-1A00-43DB-BBB8-B81738A4878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910066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C72B32-1A00-43DB-BBB8-B81738A4878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582456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C72B32-1A00-43DB-BBB8-B81738A4878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829105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cross BARDA, we will remain focused on integrated, end-to-end solutions for our medical countermeasure enterprise.  </a:t>
            </a:r>
          </a:p>
          <a:p>
            <a:r>
              <a:rPr lang="en-US" dirty="0"/>
              <a:t>- Again, it is not only the safety and efficacy of the MCMs we develop, but also our</a:t>
            </a:r>
            <a:r>
              <a:rPr lang="en-US" baseline="0" dirty="0"/>
              <a:t> ability to get them to the patients in need quickly enough. </a:t>
            </a:r>
            <a:endParaRPr lang="en-US" dirty="0"/>
          </a:p>
          <a:p>
            <a:r>
              <a:rPr lang="en-US" dirty="0"/>
              <a:t>-</a:t>
            </a:r>
            <a:r>
              <a:rPr lang="en-US" baseline="0" dirty="0"/>
              <a:t> </a:t>
            </a:r>
            <a:r>
              <a:rPr lang="en-US" dirty="0"/>
              <a:t>For all of the advances made in science and healthcare, it STILL takes too long to identify, inform and respond to emerging threats.</a:t>
            </a:r>
          </a:p>
          <a:p>
            <a:endParaRPr lang="en-US" dirty="0"/>
          </a:p>
          <a:p>
            <a:r>
              <a:rPr lang="en-US" dirty="0"/>
              <a:t>Our strategies will focus on </a:t>
            </a:r>
          </a:p>
          <a:p>
            <a:pPr marL="219525" indent="-219525">
              <a:buAutoNum type="arabicPeriod"/>
            </a:pPr>
            <a:r>
              <a:rPr lang="en-US" sz="1100" dirty="0"/>
              <a:t>E</a:t>
            </a:r>
            <a:r>
              <a:rPr lang="en-US" u="none" dirty="0"/>
              <a:t>a</a:t>
            </a:r>
            <a:r>
              <a:rPr lang="en-US" dirty="0"/>
              <a:t>rly awareness to empower patients and healthcare providers with actional data, </a:t>
            </a:r>
          </a:p>
          <a:p>
            <a:pPr marL="219525" indent="-219525">
              <a:buAutoNum type="arabicPeriod"/>
            </a:pPr>
            <a:r>
              <a:rPr lang="en-US" dirty="0"/>
              <a:t>Tools and technology to accelerate our ability to develop and produce new medicines</a:t>
            </a:r>
          </a:p>
          <a:p>
            <a:pPr marL="219525" indent="-219525">
              <a:buAutoNum type="arabicPeriod"/>
            </a:pPr>
            <a:r>
              <a:rPr lang="en-US" dirty="0"/>
              <a:t>And innovation to ensure that everyone has access to lifesaving medicines when and where they are needed.</a:t>
            </a:r>
          </a:p>
        </p:txBody>
      </p:sp>
      <p:sp>
        <p:nvSpPr>
          <p:cNvPr id="4" name="Slide Number Placeholder 3"/>
          <p:cNvSpPr>
            <a:spLocks noGrp="1"/>
          </p:cNvSpPr>
          <p:nvPr>
            <p:ph type="sldNum" sz="quarter" idx="5"/>
          </p:nvPr>
        </p:nvSpPr>
        <p:spPr/>
        <p:txBody>
          <a:bodyPr/>
          <a:lstStyle/>
          <a:p>
            <a:pPr marL="0" marR="0" lvl="0" indent="0" algn="r" defTabSz="878098" rtl="0" eaLnBrk="1" fontAlgn="auto" latinLnBrk="0" hangingPunct="1">
              <a:lnSpc>
                <a:spcPct val="100000"/>
              </a:lnSpc>
              <a:spcBef>
                <a:spcPts val="0"/>
              </a:spcBef>
              <a:spcAft>
                <a:spcPts val="0"/>
              </a:spcAft>
              <a:buClrTx/>
              <a:buSzTx/>
              <a:buFontTx/>
              <a:buNone/>
              <a:tabLst/>
              <a:defRPr/>
            </a:pPr>
            <a:fld id="{47C72B32-1A00-43DB-BBB8-B81738A4878E}"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878098"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35724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732617" rtl="0" eaLnBrk="1" fontAlgn="auto" latinLnBrk="0" hangingPunct="1">
              <a:lnSpc>
                <a:spcPct val="100000"/>
              </a:lnSpc>
              <a:spcBef>
                <a:spcPts val="0"/>
              </a:spcBef>
              <a:spcAft>
                <a:spcPts val="0"/>
              </a:spcAft>
              <a:buClrTx/>
              <a:buSzTx/>
              <a:buFontTx/>
              <a:buNone/>
              <a:tabLst/>
              <a:defRPr/>
            </a:pPr>
            <a:fld id="{CD3CC189-F892-4AE5-96DB-3DBB30BD29B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73261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846361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3CC189-F892-4AE5-96DB-3DBB30BD29B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41739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fludb.org/brc/structureOperation.spg?accession=4LN3&amp;proteinid=2799512#</a:t>
            </a:r>
            <a:endParaRPr lang="en-US" dirty="0"/>
          </a:p>
          <a:p>
            <a:r>
              <a:rPr lang="en-US" dirty="0"/>
              <a:t>A/Shanghai/02/2013 structure taken from the Influenza Research Databas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C72B32-1A00-43DB-BBB8-B81738A4878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198586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sease X (change over time -- Ebola 70s, AIDS 80s, SARS 2000s, Zika 2010s, etc.)</a:t>
            </a:r>
          </a:p>
          <a:p>
            <a:r>
              <a:rPr lang="en-US" dirty="0"/>
              <a:t>Continually increasing risk over time</a:t>
            </a:r>
          </a:p>
          <a:p>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CA"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4</a:t>
            </a:fld>
            <a:endParaRPr kumimoji="0" lang="en-CA"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2248044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104"/>
                </a:solidFill>
              </a:rPr>
              <a:t>The “Shattuck Flu Map” animated simulation shows what would happen if a highly contagious and lethal airborne pathogen – like the 1918 flu – were to occur today. Nearly 33 million people worldwide would die in just six months. Courtesy: Institute for Disease Modeling</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3CC189-F892-4AE5-96DB-3DBB30BD29B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208971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732617" rtl="0" eaLnBrk="1" fontAlgn="auto" latinLnBrk="0" hangingPunct="1">
              <a:lnSpc>
                <a:spcPct val="100000"/>
              </a:lnSpc>
              <a:spcBef>
                <a:spcPts val="0"/>
              </a:spcBef>
              <a:spcAft>
                <a:spcPts val="0"/>
              </a:spcAft>
              <a:buClrTx/>
              <a:buSzTx/>
              <a:buFontTx/>
              <a:buNone/>
              <a:tabLst/>
              <a:defRPr/>
            </a:pPr>
            <a:fld id="{CD3CC189-F892-4AE5-96DB-3DBB30BD29B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73261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941430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l"/>
            <a:endParaRPr lang="en-US" sz="1200" dirty="0">
              <a:solidFill>
                <a:srgbClr val="4F81BD"/>
              </a:solidFill>
              <a:cs typeface="Arial"/>
              <a:sym typeface="Aria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CDD3D5-70CC-9A4D-9CCC-964D7FAEC60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761840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0785" indent="-170785">
              <a:buFontTx/>
              <a:buChar char="-"/>
            </a:pPr>
            <a:r>
              <a:rPr lang="en-US" baseline="0" dirty="0"/>
              <a:t>MCMs are the core of BARDA’s mission space.  When we talk about MCMs, we tend to focus on their efficacy, on their safety profile, on their underlying science.  But I want to start by stressing one other critical dimension of MCM development that we often overlook… SPEED.</a:t>
            </a:r>
          </a:p>
          <a:p>
            <a:pPr marL="170785" indent="-170785">
              <a:buFontTx/>
              <a:buChar char="-"/>
            </a:pPr>
            <a:r>
              <a:rPr lang="en-US" baseline="0" dirty="0"/>
              <a:t>For any attack, outbreak, or exposure… our ability to save lives will not only be dictated by our capacity to develop effective MCMs, but also by our capacity to get them </a:t>
            </a:r>
            <a:r>
              <a:rPr lang="en-US" u="sng" baseline="0" dirty="0"/>
              <a:t>where they are needed</a:t>
            </a:r>
            <a:r>
              <a:rPr lang="en-US" baseline="0" dirty="0"/>
              <a:t>, </a:t>
            </a:r>
            <a:r>
              <a:rPr lang="en-US" u="sng" baseline="0" dirty="0"/>
              <a:t>when they are needed, and in sufficient quantities</a:t>
            </a:r>
            <a:r>
              <a:rPr lang="en-US" baseline="0" dirty="0"/>
              <a:t>.  </a:t>
            </a:r>
          </a:p>
          <a:p>
            <a:pPr marL="170785" indent="-170785">
              <a:buFontTx/>
              <a:buChar char="-"/>
            </a:pPr>
            <a:r>
              <a:rPr lang="en-US" baseline="0" dirty="0"/>
              <a:t>Even the most advanced MCMs will fail, unless they are compatible with this need.  In this respect, we must design MCMs with this need in mind. </a:t>
            </a:r>
          </a:p>
        </p:txBody>
      </p:sp>
      <p:sp>
        <p:nvSpPr>
          <p:cNvPr id="4" name="Slide Number Placeholder 3"/>
          <p:cNvSpPr>
            <a:spLocks noGrp="1"/>
          </p:cNvSpPr>
          <p:nvPr>
            <p:ph type="sldNum" sz="quarter" idx="10"/>
          </p:nvPr>
        </p:nvSpPr>
        <p:spPr/>
        <p:txBody>
          <a:bodyPr/>
          <a:lstStyle/>
          <a:p>
            <a:pPr marL="0" marR="0" lvl="0" indent="0" algn="r" defTabSz="910851" rtl="0" eaLnBrk="1" fontAlgn="auto" latinLnBrk="0" hangingPunct="1">
              <a:lnSpc>
                <a:spcPct val="100000"/>
              </a:lnSpc>
              <a:spcBef>
                <a:spcPts val="0"/>
              </a:spcBef>
              <a:spcAft>
                <a:spcPts val="0"/>
              </a:spcAft>
              <a:buClrTx/>
              <a:buSzTx/>
              <a:buFontTx/>
              <a:buNone/>
              <a:tabLst/>
              <a:defRPr/>
            </a:pPr>
            <a:fld id="{47C72B32-1A00-43DB-BBB8-B81738A4878E}"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0851"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744209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cross BARDA, we will remain focused on integrated, end-to-end solutions for our medical countermeasure enterprise.  </a:t>
            </a:r>
          </a:p>
          <a:p>
            <a:r>
              <a:rPr lang="en-US" dirty="0"/>
              <a:t>- Again, it is not only the safety and efficacy of the MCMs we develop, but also our</a:t>
            </a:r>
            <a:r>
              <a:rPr lang="en-US" baseline="0" dirty="0"/>
              <a:t> ability to get them to the patients in need quickly enough. </a:t>
            </a:r>
            <a:endParaRPr lang="en-US" dirty="0"/>
          </a:p>
          <a:p>
            <a:r>
              <a:rPr lang="en-US" dirty="0"/>
              <a:t>-</a:t>
            </a:r>
            <a:r>
              <a:rPr lang="en-US" baseline="0" dirty="0"/>
              <a:t> </a:t>
            </a:r>
            <a:r>
              <a:rPr lang="en-US" dirty="0"/>
              <a:t>For all of the advances made in science and healthcare, it STILL takes too long to identify, inform and respond to emerging threats.</a:t>
            </a:r>
          </a:p>
          <a:p>
            <a:endParaRPr lang="en-US" dirty="0"/>
          </a:p>
          <a:p>
            <a:r>
              <a:rPr lang="en-US" dirty="0"/>
              <a:t>Our strategies will focus on </a:t>
            </a:r>
          </a:p>
          <a:p>
            <a:pPr marL="219525" indent="-219525">
              <a:buAutoNum type="arabicPeriod"/>
            </a:pPr>
            <a:r>
              <a:rPr lang="en-US" sz="1100" dirty="0"/>
              <a:t>E</a:t>
            </a:r>
            <a:r>
              <a:rPr lang="en-US" u="none" dirty="0"/>
              <a:t>a</a:t>
            </a:r>
            <a:r>
              <a:rPr lang="en-US" dirty="0"/>
              <a:t>rly awareness to empower patients and healthcare providers with actional data, </a:t>
            </a:r>
          </a:p>
          <a:p>
            <a:pPr marL="219525" indent="-219525">
              <a:buAutoNum type="arabicPeriod"/>
            </a:pPr>
            <a:r>
              <a:rPr lang="en-US" dirty="0"/>
              <a:t>Tools and technology to accelerate our ability to develop and produce new medicines</a:t>
            </a:r>
          </a:p>
          <a:p>
            <a:pPr marL="219525" indent="-219525">
              <a:buAutoNum type="arabicPeriod"/>
            </a:pPr>
            <a:r>
              <a:rPr lang="en-US" dirty="0"/>
              <a:t>And innovation to ensure that everyone has access to lifesaving medicines when and where they are needed.</a:t>
            </a:r>
          </a:p>
        </p:txBody>
      </p:sp>
      <p:sp>
        <p:nvSpPr>
          <p:cNvPr id="4" name="Slide Number Placeholder 3"/>
          <p:cNvSpPr>
            <a:spLocks noGrp="1"/>
          </p:cNvSpPr>
          <p:nvPr>
            <p:ph type="sldNum" sz="quarter" idx="5"/>
          </p:nvPr>
        </p:nvSpPr>
        <p:spPr/>
        <p:txBody>
          <a:bodyPr/>
          <a:lstStyle/>
          <a:p>
            <a:pPr marL="0" marR="0" lvl="0" indent="0" algn="r" defTabSz="878098" rtl="0" eaLnBrk="1" fontAlgn="auto" latinLnBrk="0" hangingPunct="1">
              <a:lnSpc>
                <a:spcPct val="100000"/>
              </a:lnSpc>
              <a:spcBef>
                <a:spcPts val="0"/>
              </a:spcBef>
              <a:spcAft>
                <a:spcPts val="0"/>
              </a:spcAft>
              <a:buClrTx/>
              <a:buSzTx/>
              <a:buFontTx/>
              <a:buNone/>
              <a:tabLst/>
              <a:defRPr/>
            </a:pPr>
            <a:fld id="{47C72B32-1A00-43DB-BBB8-B81738A4878E}"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878098"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82724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3CC189-F892-4AE5-96DB-3DBB30BD29B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177944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C72B32-1A00-43DB-BBB8-B81738A4878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01251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Master" Target="../slideMasters/slideMaster3.xml"/><Relationship Id="rId6" Type="http://schemas.openxmlformats.org/officeDocument/2006/relationships/image" Target="../media/image11.emf"/><Relationship Id="rId5" Type="http://schemas.openxmlformats.org/officeDocument/2006/relationships/image" Target="../media/image10.png"/><Relationship Id="rId4" Type="http://schemas.openxmlformats.org/officeDocument/2006/relationships/image" Target="../media/image9.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4.png"/><Relationship Id="rId7" Type="http://schemas.openxmlformats.org/officeDocument/2006/relationships/image" Target="../media/image17.png"/><Relationship Id="rId2" Type="http://schemas.openxmlformats.org/officeDocument/2006/relationships/image" Target="../media/image7.png"/><Relationship Id="rId1" Type="http://schemas.openxmlformats.org/officeDocument/2006/relationships/slideMaster" Target="../slideMasters/slideMaster3.xml"/><Relationship Id="rId6" Type="http://schemas.openxmlformats.org/officeDocument/2006/relationships/image" Target="../media/image11.emf"/><Relationship Id="rId5" Type="http://schemas.openxmlformats.org/officeDocument/2006/relationships/image" Target="../media/image16.png"/><Relationship Id="rId4" Type="http://schemas.openxmlformats.org/officeDocument/2006/relationships/image" Target="../media/image15.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4.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9.emf"/><Relationship Id="rId4" Type="http://schemas.openxmlformats.org/officeDocument/2006/relationships/oleObject" Target="../embeddings/oleObject1.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FED91-2FB4-404A-A364-A2BEAFB28F9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2144AF6-266C-4CD6-9E76-04D1070758B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9E8061D-C599-4584-9915-90E36B9C8048}"/>
              </a:ext>
            </a:extLst>
          </p:cNvPr>
          <p:cNvSpPr>
            <a:spLocks noGrp="1"/>
          </p:cNvSpPr>
          <p:nvPr>
            <p:ph type="dt" sz="half" idx="10"/>
          </p:nvPr>
        </p:nvSpPr>
        <p:spPr/>
        <p:txBody>
          <a:bodyPr/>
          <a:lstStyle/>
          <a:p>
            <a:fld id="{31B7649B-0D54-4507-8C56-C49364DF4C0B}" type="datetime1">
              <a:rPr lang="en-US" smtClean="0"/>
              <a:t>3/24/2022</a:t>
            </a:fld>
            <a:endParaRPr lang="en-US"/>
          </a:p>
        </p:txBody>
      </p:sp>
      <p:sp>
        <p:nvSpPr>
          <p:cNvPr id="5" name="Footer Placeholder 4">
            <a:extLst>
              <a:ext uri="{FF2B5EF4-FFF2-40B4-BE49-F238E27FC236}">
                <a16:creationId xmlns:a16="http://schemas.microsoft.com/office/drawing/2014/main" id="{AB803B8F-A4BE-4525-99D4-2E86D6042AB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BA8CEFE-171C-4FEF-A4A2-7F5C657DD194}"/>
              </a:ext>
            </a:extLst>
          </p:cNvPr>
          <p:cNvSpPr>
            <a:spLocks noGrp="1"/>
          </p:cNvSpPr>
          <p:nvPr>
            <p:ph type="sldNum" sz="quarter" idx="12"/>
          </p:nvPr>
        </p:nvSpPr>
        <p:spPr/>
        <p:txBody>
          <a:bodyPr/>
          <a:lstStyle/>
          <a:p>
            <a:fld id="{4FA07702-9C82-4FBE-B98C-E58879511A7A}" type="slidenum">
              <a:rPr lang="en-US" smtClean="0"/>
              <a:t>‹#›</a:t>
            </a:fld>
            <a:endParaRPr lang="en-US"/>
          </a:p>
        </p:txBody>
      </p:sp>
    </p:spTree>
    <p:extLst>
      <p:ext uri="{BB962C8B-B14F-4D97-AF65-F5344CB8AC3E}">
        <p14:creationId xmlns:p14="http://schemas.microsoft.com/office/powerpoint/2010/main" val="36110176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965A31-0632-46BC-9DFB-C5646520E5C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8671622-EE5B-4CC1-88E3-81084E9AF34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213DB24-D0FD-47BA-9559-CF5C7DAB74FE}"/>
              </a:ext>
            </a:extLst>
          </p:cNvPr>
          <p:cNvSpPr>
            <a:spLocks noGrp="1"/>
          </p:cNvSpPr>
          <p:nvPr>
            <p:ph type="dt" sz="half" idx="10"/>
          </p:nvPr>
        </p:nvSpPr>
        <p:spPr/>
        <p:txBody>
          <a:bodyPr/>
          <a:lstStyle/>
          <a:p>
            <a:fld id="{DA704054-ADD3-4FBE-9848-48C624F97741}" type="datetime1">
              <a:rPr lang="en-US" smtClean="0"/>
              <a:t>3/24/2022</a:t>
            </a:fld>
            <a:endParaRPr lang="en-US"/>
          </a:p>
        </p:txBody>
      </p:sp>
      <p:sp>
        <p:nvSpPr>
          <p:cNvPr id="5" name="Footer Placeholder 4">
            <a:extLst>
              <a:ext uri="{FF2B5EF4-FFF2-40B4-BE49-F238E27FC236}">
                <a16:creationId xmlns:a16="http://schemas.microsoft.com/office/drawing/2014/main" id="{2FC8E3B1-22D7-4011-9618-DD0AF52C00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9C9C8A-7E36-4F83-9D95-02990ADD2881}"/>
              </a:ext>
            </a:extLst>
          </p:cNvPr>
          <p:cNvSpPr>
            <a:spLocks noGrp="1"/>
          </p:cNvSpPr>
          <p:nvPr>
            <p:ph type="sldNum" sz="quarter" idx="12"/>
          </p:nvPr>
        </p:nvSpPr>
        <p:spPr/>
        <p:txBody>
          <a:bodyPr/>
          <a:lstStyle/>
          <a:p>
            <a:fld id="{4FA07702-9C82-4FBE-B98C-E58879511A7A}" type="slidenum">
              <a:rPr lang="en-US" smtClean="0"/>
              <a:t>‹#›</a:t>
            </a:fld>
            <a:endParaRPr lang="en-US"/>
          </a:p>
        </p:txBody>
      </p:sp>
    </p:spTree>
    <p:extLst>
      <p:ext uri="{BB962C8B-B14F-4D97-AF65-F5344CB8AC3E}">
        <p14:creationId xmlns:p14="http://schemas.microsoft.com/office/powerpoint/2010/main" val="19763177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9A7BCC1-31E2-4468-9B9D-4CB943316EA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74D1C45-D22A-4CEF-9384-826747D9D63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88BF11-7207-41A0-87F8-811C04E89A40}"/>
              </a:ext>
            </a:extLst>
          </p:cNvPr>
          <p:cNvSpPr>
            <a:spLocks noGrp="1"/>
          </p:cNvSpPr>
          <p:nvPr>
            <p:ph type="dt" sz="half" idx="10"/>
          </p:nvPr>
        </p:nvSpPr>
        <p:spPr/>
        <p:txBody>
          <a:bodyPr/>
          <a:lstStyle/>
          <a:p>
            <a:fld id="{4FBD6D7E-01CA-47BE-8240-C86825025247}" type="datetime1">
              <a:rPr lang="en-US" smtClean="0"/>
              <a:t>3/24/2022</a:t>
            </a:fld>
            <a:endParaRPr lang="en-US"/>
          </a:p>
        </p:txBody>
      </p:sp>
      <p:sp>
        <p:nvSpPr>
          <p:cNvPr id="5" name="Footer Placeholder 4">
            <a:extLst>
              <a:ext uri="{FF2B5EF4-FFF2-40B4-BE49-F238E27FC236}">
                <a16:creationId xmlns:a16="http://schemas.microsoft.com/office/drawing/2014/main" id="{9E79BC4D-91FB-4EA3-816A-DEE2AA7D02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2E99E4F-3B5B-4687-B323-2CE1834CB087}"/>
              </a:ext>
            </a:extLst>
          </p:cNvPr>
          <p:cNvSpPr>
            <a:spLocks noGrp="1"/>
          </p:cNvSpPr>
          <p:nvPr>
            <p:ph type="sldNum" sz="quarter" idx="12"/>
          </p:nvPr>
        </p:nvSpPr>
        <p:spPr/>
        <p:txBody>
          <a:bodyPr/>
          <a:lstStyle/>
          <a:p>
            <a:fld id="{4FA07702-9C82-4FBE-B98C-E58879511A7A}" type="slidenum">
              <a:rPr lang="en-US" smtClean="0"/>
              <a:t>‹#›</a:t>
            </a:fld>
            <a:endParaRPr lang="en-US"/>
          </a:p>
        </p:txBody>
      </p:sp>
    </p:spTree>
    <p:extLst>
      <p:ext uri="{BB962C8B-B14F-4D97-AF65-F5344CB8AC3E}">
        <p14:creationId xmlns:p14="http://schemas.microsoft.com/office/powerpoint/2010/main" val="25575117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365376"/>
            <a:ext cx="10363200" cy="1470025"/>
          </a:xfrm>
        </p:spPr>
        <p:txBody>
          <a:bodyPr>
            <a:normAutofit/>
          </a:bodyPr>
          <a:lstStyle>
            <a:lvl1pPr>
              <a:defRPr sz="4267" b="1">
                <a:solidFill>
                  <a:srgbClr val="102B62"/>
                </a:solidFill>
              </a:defRPr>
            </a:lvl1pPr>
          </a:lstStyle>
          <a:p>
            <a:r>
              <a:rPr lang="en-US" dirty="0"/>
              <a:t>Title, Arial Bold, 32 </a:t>
            </a:r>
            <a:r>
              <a:rPr lang="en-US" dirty="0" err="1"/>
              <a:t>pt</a:t>
            </a:r>
            <a:endParaRPr lang="en-US" dirty="0"/>
          </a:p>
        </p:txBody>
      </p:sp>
      <p:sp>
        <p:nvSpPr>
          <p:cNvPr id="3" name="Subtitle 2"/>
          <p:cNvSpPr>
            <a:spLocks noGrp="1"/>
          </p:cNvSpPr>
          <p:nvPr>
            <p:ph type="subTitle" idx="1" hasCustomPrompt="1"/>
          </p:nvPr>
        </p:nvSpPr>
        <p:spPr>
          <a:xfrm>
            <a:off x="1828800" y="4229101"/>
            <a:ext cx="8534400" cy="1536700"/>
          </a:xfrm>
        </p:spPr>
        <p:txBody>
          <a:bodyPr>
            <a:normAutofit/>
          </a:bodyPr>
          <a:lstStyle>
            <a:lvl1pPr marL="0" marR="0" indent="0" algn="ctr" defTabSz="1219170" rtl="0" eaLnBrk="1" fontAlgn="auto" latinLnBrk="0" hangingPunct="1">
              <a:lnSpc>
                <a:spcPct val="100000"/>
              </a:lnSpc>
              <a:spcBef>
                <a:spcPts val="0"/>
              </a:spcBef>
              <a:spcAft>
                <a:spcPts val="0"/>
              </a:spcAft>
              <a:buClrTx/>
              <a:buSzTx/>
              <a:buFontTx/>
              <a:buNone/>
              <a:tabLst/>
              <a:defRPr sz="3200" b="1" baseline="0">
                <a:solidFill>
                  <a:srgbClr val="102B6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Presenter Name</a:t>
            </a:r>
            <a:br>
              <a:rPr lang="en-US" dirty="0"/>
            </a:br>
            <a:r>
              <a:rPr lang="en-US" dirty="0"/>
              <a:t>Month DD, YYYY</a:t>
            </a:r>
            <a:br>
              <a:rPr lang="en-US" dirty="0"/>
            </a:br>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45601" y="397218"/>
            <a:ext cx="2624732" cy="1133132"/>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1803400"/>
          </a:xfrm>
          <a:prstGeom prst="rect">
            <a:avLst/>
          </a:prstGeom>
        </p:spPr>
      </p:pic>
      <p:pic>
        <p:nvPicPr>
          <p:cNvPr id="9" name="Picture 8" descr="Department of Health and Human Services logo"/>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04800" y="88900"/>
            <a:ext cx="1625600" cy="1625600"/>
          </a:xfrm>
          <a:prstGeom prst="rect">
            <a:avLst/>
          </a:prstGeom>
        </p:spPr>
      </p:pic>
      <p:pic>
        <p:nvPicPr>
          <p:cNvPr id="10" name="Picture 9" descr="Assistant Secretary for Preparedness and Response logo"/>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245601" y="584200"/>
            <a:ext cx="2624732" cy="655467"/>
          </a:xfrm>
          <a:prstGeom prst="rect">
            <a:avLst/>
          </a:prstGeom>
        </p:spPr>
      </p:pic>
      <p:sp>
        <p:nvSpPr>
          <p:cNvPr id="11" name="TextBox 10">
            <a:extLst>
              <a:ext uri="{FF2B5EF4-FFF2-40B4-BE49-F238E27FC236}">
                <a16:creationId xmlns:a16="http://schemas.microsoft.com/office/drawing/2014/main" id="{46796F16-CED0-49EE-9F7D-C89AD109D105}"/>
              </a:ext>
            </a:extLst>
          </p:cNvPr>
          <p:cNvSpPr txBox="1"/>
          <p:nvPr userDrawn="1"/>
        </p:nvSpPr>
        <p:spPr>
          <a:xfrm>
            <a:off x="5226959" y="6375400"/>
            <a:ext cx="1673856" cy="338554"/>
          </a:xfrm>
          <a:prstGeom prst="rect">
            <a:avLst/>
          </a:prstGeom>
          <a:noFill/>
        </p:spPr>
        <p:txBody>
          <a:bodyPr wrap="none" rtlCol="0">
            <a:spAutoFit/>
          </a:bodyPr>
          <a:lstStyle/>
          <a:p>
            <a:r>
              <a:rPr lang="en-US" sz="1600" dirty="0">
                <a:solidFill>
                  <a:srgbClr val="00B050"/>
                </a:solidFill>
              </a:rPr>
              <a:t>UNCLASSIFIED</a:t>
            </a:r>
          </a:p>
        </p:txBody>
      </p:sp>
      <p:sp>
        <p:nvSpPr>
          <p:cNvPr id="5" name="Text Placeholder 4">
            <a:extLst>
              <a:ext uri="{FF2B5EF4-FFF2-40B4-BE49-F238E27FC236}">
                <a16:creationId xmlns:a16="http://schemas.microsoft.com/office/drawing/2014/main" id="{ED2E9262-7DCA-4718-863D-6BEE5080DFC1}"/>
              </a:ext>
            </a:extLst>
          </p:cNvPr>
          <p:cNvSpPr>
            <a:spLocks noGrp="1"/>
          </p:cNvSpPr>
          <p:nvPr>
            <p:ph type="body" sz="quarter" idx="10" hasCustomPrompt="1"/>
          </p:nvPr>
        </p:nvSpPr>
        <p:spPr>
          <a:xfrm>
            <a:off x="1828800" y="5664200"/>
            <a:ext cx="8534400" cy="609600"/>
          </a:xfrm>
        </p:spPr>
        <p:txBody>
          <a:bodyPr>
            <a:normAutofit/>
          </a:bodyPr>
          <a:lstStyle>
            <a:lvl1pPr marL="0" indent="0" algn="ctr">
              <a:buNone/>
              <a:defRPr sz="2400"/>
            </a:lvl1pPr>
          </a:lstStyle>
          <a:p>
            <a:pPr lvl="0"/>
            <a:r>
              <a:rPr lang="en-US" dirty="0"/>
              <a:t>Conference Name, Location (if applicable)</a:t>
            </a:r>
          </a:p>
        </p:txBody>
      </p:sp>
    </p:spTree>
    <p:extLst>
      <p:ext uri="{BB962C8B-B14F-4D97-AF65-F5344CB8AC3E}">
        <p14:creationId xmlns:p14="http://schemas.microsoft.com/office/powerpoint/2010/main" val="35432484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733" b="1" baseline="0">
                <a:solidFill>
                  <a:srgbClr val="102B62"/>
                </a:solidFill>
              </a:defRPr>
            </a:lvl1pPr>
          </a:lstStyle>
          <a:p>
            <a:r>
              <a:rPr lang="en-US" dirty="0"/>
              <a:t>Different title per slide, Arial 28 </a:t>
            </a:r>
            <a:r>
              <a:rPr lang="en-US" dirty="0" err="1"/>
              <a:t>pt</a:t>
            </a:r>
            <a:endParaRPr lang="en-US" dirty="0"/>
          </a:p>
        </p:txBody>
      </p:sp>
      <p:sp>
        <p:nvSpPr>
          <p:cNvPr id="3" name="Content Placeholder 2"/>
          <p:cNvSpPr>
            <a:spLocks noGrp="1"/>
          </p:cNvSpPr>
          <p:nvPr>
            <p:ph idx="1" hasCustomPrompt="1"/>
          </p:nvPr>
        </p:nvSpPr>
        <p:spPr>
          <a:xfrm>
            <a:off x="609600" y="1498601"/>
            <a:ext cx="10972800" cy="4368799"/>
          </a:xfrm>
        </p:spPr>
        <p:txBody>
          <a:bodyPr/>
          <a:lstStyle>
            <a:lvl1pPr marL="457189" indent="-457189">
              <a:buSzPct val="125000"/>
              <a:buFont typeface="Arial" panose="020B0604020202020204" pitchFamily="34" charset="0"/>
              <a:buChar char="•"/>
              <a:defRPr sz="2933">
                <a:solidFill>
                  <a:srgbClr val="102B62"/>
                </a:solidFill>
              </a:defRPr>
            </a:lvl1pPr>
            <a:lvl2pPr marL="990575" indent="-380990">
              <a:buFont typeface="Wingdings" panose="05000000000000000000" pitchFamily="2" charset="2"/>
              <a:buChar char="§"/>
              <a:defRPr sz="2667">
                <a:solidFill>
                  <a:srgbClr val="102B62"/>
                </a:solidFill>
              </a:defRPr>
            </a:lvl2pPr>
            <a:lvl3pPr marL="1523962" indent="-304792">
              <a:buFont typeface="Wingdings" panose="05000000000000000000" pitchFamily="2" charset="2"/>
              <a:buChar char="ü"/>
              <a:defRPr sz="2400">
                <a:solidFill>
                  <a:srgbClr val="102B62"/>
                </a:solidFill>
              </a:defRPr>
            </a:lvl3pPr>
          </a:lstStyle>
          <a:p>
            <a:pPr lvl="0"/>
            <a:r>
              <a:rPr lang="en-US" dirty="0"/>
              <a:t>Click to edit Master text styles</a:t>
            </a:r>
          </a:p>
          <a:p>
            <a:pPr lvl="1"/>
            <a:r>
              <a:rPr lang="en-US" dirty="0"/>
              <a:t>Second level</a:t>
            </a:r>
          </a:p>
          <a:p>
            <a:pPr lvl="2"/>
            <a:r>
              <a:rPr lang="en-US" dirty="0"/>
              <a:t>Third level</a:t>
            </a:r>
          </a:p>
          <a:p>
            <a:pPr lvl="0"/>
            <a:endParaRPr lang="en-US" dirty="0"/>
          </a:p>
          <a:p>
            <a:pPr lvl="2"/>
            <a:endParaRPr lang="en-US" dirty="0"/>
          </a:p>
          <a:p>
            <a:pPr lvl="2"/>
            <a:endParaRPr lang="en-US" dirty="0"/>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070600"/>
            <a:ext cx="12192000" cy="812800"/>
          </a:xfrm>
          <a:prstGeom prst="rect">
            <a:avLst/>
          </a:prstGeom>
        </p:spPr>
      </p:pic>
      <p:sp>
        <p:nvSpPr>
          <p:cNvPr id="8" name="Slide Number Placeholder 5"/>
          <p:cNvSpPr txBox="1">
            <a:spLocks/>
          </p:cNvSpPr>
          <p:nvPr userDrawn="1"/>
        </p:nvSpPr>
        <p:spPr>
          <a:xfrm>
            <a:off x="10972800" y="6375401"/>
            <a:ext cx="711200" cy="259316"/>
          </a:xfrm>
          <a:prstGeom prst="rect">
            <a:avLst/>
          </a:prstGeom>
        </p:spPr>
        <p:txBody>
          <a:bodyPr vert="horz" lIns="121920" tIns="60960" rIns="121920" bIns="60960" rtlCol="0" anchor="ctr"/>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85E4B45-3C0D-4DB7-A4A8-89FEB5CAB5B2}" type="slidenum">
              <a:rPr lang="en-US" sz="1333" smtClean="0">
                <a:solidFill>
                  <a:schemeClr val="bg1"/>
                </a:solidFill>
              </a:rPr>
              <a:pPr/>
              <a:t>‹#›</a:t>
            </a:fld>
            <a:endParaRPr lang="en-US" sz="1333" dirty="0">
              <a:solidFill>
                <a:schemeClr val="bg1"/>
              </a:solidFill>
            </a:endParaRPr>
          </a:p>
        </p:txBody>
      </p:sp>
      <p:pic>
        <p:nvPicPr>
          <p:cNvPr id="10" name="Picture 9" descr="Assistant Secretary for Preparedness and Response logo"/>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06400" y="6273800"/>
            <a:ext cx="1627376" cy="406400"/>
          </a:xfrm>
          <a:prstGeom prst="rect">
            <a:avLst/>
          </a:prstGeom>
        </p:spPr>
      </p:pic>
      <p:sp>
        <p:nvSpPr>
          <p:cNvPr id="11" name="TextBox 10">
            <a:extLst>
              <a:ext uri="{FF2B5EF4-FFF2-40B4-BE49-F238E27FC236}">
                <a16:creationId xmlns:a16="http://schemas.microsoft.com/office/drawing/2014/main" id="{14C18255-AF23-473B-9B24-7E7214F4CFCF}"/>
              </a:ext>
            </a:extLst>
          </p:cNvPr>
          <p:cNvSpPr txBox="1"/>
          <p:nvPr userDrawn="1"/>
        </p:nvSpPr>
        <p:spPr>
          <a:xfrm>
            <a:off x="1625600" y="6445355"/>
            <a:ext cx="9038848" cy="680507"/>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2133" b="0" i="1" u="none" strike="noStrike" kern="1200" baseline="30000" dirty="0">
                <a:solidFill>
                  <a:schemeClr val="bg1"/>
                </a:solidFill>
                <a:latin typeface="+mn-lt"/>
                <a:ea typeface="+mn-ea"/>
                <a:cs typeface="+mn-cs"/>
              </a:rPr>
              <a:t>Saving Lives. Protecting Americans.</a:t>
            </a:r>
          </a:p>
          <a:p>
            <a:pPr algn="ctr"/>
            <a:endParaRPr lang="en-US" sz="2400" dirty="0">
              <a:solidFill>
                <a:schemeClr val="bg1"/>
              </a:solidFill>
            </a:endParaRPr>
          </a:p>
        </p:txBody>
      </p:sp>
      <p:sp>
        <p:nvSpPr>
          <p:cNvPr id="9" name="Rectangle 8">
            <a:extLst>
              <a:ext uri="{FF2B5EF4-FFF2-40B4-BE49-F238E27FC236}">
                <a16:creationId xmlns:a16="http://schemas.microsoft.com/office/drawing/2014/main" id="{3F33E168-9658-47C0-A9EA-34F687BDE87F}"/>
              </a:ext>
            </a:extLst>
          </p:cNvPr>
          <p:cNvSpPr/>
          <p:nvPr userDrawn="1"/>
        </p:nvSpPr>
        <p:spPr>
          <a:xfrm>
            <a:off x="5226959" y="6089134"/>
            <a:ext cx="1673856" cy="338554"/>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B050"/>
                </a:solidFill>
                <a:effectLst/>
                <a:uLnTx/>
                <a:uFillTx/>
                <a:latin typeface="+mn-lt"/>
                <a:ea typeface="+mn-ea"/>
                <a:cs typeface="+mn-cs"/>
              </a:rPr>
              <a:t>UNCLASSIFIED</a:t>
            </a:r>
          </a:p>
        </p:txBody>
      </p:sp>
    </p:spTree>
    <p:extLst>
      <p:ext uri="{BB962C8B-B14F-4D97-AF65-F5344CB8AC3E}">
        <p14:creationId xmlns:p14="http://schemas.microsoft.com/office/powerpoint/2010/main" val="31956722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070600"/>
            <a:ext cx="12192000" cy="812800"/>
          </a:xfrm>
          <a:prstGeom prst="rect">
            <a:avLst/>
          </a:prstGeom>
        </p:spPr>
      </p:pic>
      <p:sp>
        <p:nvSpPr>
          <p:cNvPr id="2" name="Title 1"/>
          <p:cNvSpPr>
            <a:spLocks noGrp="1"/>
          </p:cNvSpPr>
          <p:nvPr>
            <p:ph type="title" hasCustomPrompt="1"/>
          </p:nvPr>
        </p:nvSpPr>
        <p:spPr/>
        <p:txBody>
          <a:bodyPr>
            <a:normAutofit/>
          </a:bodyPr>
          <a:lstStyle>
            <a:lvl1pPr>
              <a:defRPr sz="3733" b="1">
                <a:solidFill>
                  <a:srgbClr val="102B62"/>
                </a:solidFill>
              </a:defRPr>
            </a:lvl1pPr>
          </a:lstStyle>
          <a:p>
            <a:r>
              <a:rPr lang="en-US" dirty="0"/>
              <a:t>Different title per slide, Arial 28 </a:t>
            </a:r>
            <a:r>
              <a:rPr lang="en-US" dirty="0" err="1"/>
              <a:t>pt</a:t>
            </a:r>
            <a:endParaRPr lang="en-US" dirty="0"/>
          </a:p>
        </p:txBody>
      </p:sp>
      <p:sp>
        <p:nvSpPr>
          <p:cNvPr id="3" name="Content Placeholder 2"/>
          <p:cNvSpPr>
            <a:spLocks noGrp="1"/>
          </p:cNvSpPr>
          <p:nvPr>
            <p:ph sz="half" idx="1"/>
          </p:nvPr>
        </p:nvSpPr>
        <p:spPr>
          <a:xfrm>
            <a:off x="609600" y="1498600"/>
            <a:ext cx="5384800" cy="4368800"/>
          </a:xfrm>
        </p:spPr>
        <p:txBody>
          <a:bodyPr/>
          <a:lstStyle>
            <a:lvl1pPr marL="457189" indent="-457189">
              <a:buFont typeface="Arial" panose="020B0604020202020204" pitchFamily="34" charset="0"/>
              <a:buChar char="•"/>
              <a:defRPr sz="2933">
                <a:solidFill>
                  <a:srgbClr val="102B62"/>
                </a:solidFill>
              </a:defRPr>
            </a:lvl1pPr>
            <a:lvl2pPr marL="990575" indent="-380990">
              <a:buFont typeface="Wingdings" panose="05000000000000000000" pitchFamily="2" charset="2"/>
              <a:buChar char="§"/>
              <a:defRPr sz="2667">
                <a:solidFill>
                  <a:srgbClr val="102B62"/>
                </a:solidFill>
              </a:defRPr>
            </a:lvl2pPr>
            <a:lvl3pPr marL="1523962" indent="-304792">
              <a:buFont typeface="Wingdings" panose="05000000000000000000" pitchFamily="2" charset="2"/>
              <a:buChar char="ü"/>
              <a:defRPr sz="2400">
                <a:solidFill>
                  <a:srgbClr val="102B62"/>
                </a:solidFill>
              </a:defRPr>
            </a:lvl3pPr>
            <a:lvl4pPr>
              <a:defRPr sz="2400">
                <a:solidFill>
                  <a:srgbClr val="002060"/>
                </a:solidFill>
              </a:defRPr>
            </a:lvl4pPr>
            <a:lvl5pPr>
              <a:defRPr sz="2400">
                <a:solidFill>
                  <a:srgbClr val="002060"/>
                </a:solidFill>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6197600" y="1498600"/>
            <a:ext cx="5384800" cy="4368800"/>
          </a:xfrm>
        </p:spPr>
        <p:txBody>
          <a:bodyPr>
            <a:normAutofit/>
          </a:bodyPr>
          <a:lstStyle>
            <a:lvl1pPr marL="457189" indent="-457189" algn="l" defTabSz="1219170" rtl="0" eaLnBrk="1" latinLnBrk="0" hangingPunct="1">
              <a:spcBef>
                <a:spcPct val="20000"/>
              </a:spcBef>
              <a:buFont typeface="Arial" panose="020B0604020202020204" pitchFamily="34" charset="0"/>
              <a:buChar char="•"/>
              <a:defRPr lang="en-US" sz="2933" kern="1200" dirty="0" smtClean="0">
                <a:solidFill>
                  <a:srgbClr val="102B62"/>
                </a:solidFill>
                <a:latin typeface="+mn-lt"/>
                <a:ea typeface="+mn-ea"/>
                <a:cs typeface="+mn-cs"/>
              </a:defRPr>
            </a:lvl1pPr>
            <a:lvl2pPr marL="1066773" indent="-457189" algn="l" defTabSz="1219170" rtl="0" eaLnBrk="1" latinLnBrk="0" hangingPunct="1">
              <a:spcBef>
                <a:spcPct val="20000"/>
              </a:spcBef>
              <a:buFont typeface="Wingdings" panose="05000000000000000000" pitchFamily="2" charset="2"/>
              <a:buChar char="§"/>
              <a:defRPr lang="en-US" sz="2667" kern="1200" dirty="0" smtClean="0">
                <a:solidFill>
                  <a:srgbClr val="102B62"/>
                </a:solidFill>
                <a:latin typeface="+mn-lt"/>
                <a:ea typeface="+mn-ea"/>
                <a:cs typeface="+mn-cs"/>
              </a:defRPr>
            </a:lvl2pPr>
            <a:lvl3pPr marL="1523962" indent="-304792" algn="l" defTabSz="1219170" rtl="0" eaLnBrk="1" latinLnBrk="0" hangingPunct="1">
              <a:spcBef>
                <a:spcPct val="20000"/>
              </a:spcBef>
              <a:buFont typeface="Wingdings" panose="05000000000000000000" pitchFamily="2" charset="2"/>
              <a:buChar char="ü"/>
              <a:defRPr lang="en-US" sz="2400" kern="1200" dirty="0" smtClean="0">
                <a:solidFill>
                  <a:srgbClr val="102B62"/>
                </a:solidFill>
                <a:latin typeface="+mn-lt"/>
                <a:ea typeface="+mn-ea"/>
                <a:cs typeface="+mn-cs"/>
              </a:defRPr>
            </a:lvl3pPr>
            <a:lvl4pPr>
              <a:defRPr sz="2400">
                <a:solidFill>
                  <a:srgbClr val="002060"/>
                </a:solidFill>
              </a:defRPr>
            </a:lvl4pPr>
            <a:lvl5pPr>
              <a:defRPr sz="2400">
                <a:solidFill>
                  <a:srgbClr val="002060"/>
                </a:solidFill>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p:txBody>
      </p:sp>
      <p:sp>
        <p:nvSpPr>
          <p:cNvPr id="9" name="Slide Number Placeholder 5"/>
          <p:cNvSpPr txBox="1">
            <a:spLocks/>
          </p:cNvSpPr>
          <p:nvPr userDrawn="1"/>
        </p:nvSpPr>
        <p:spPr>
          <a:xfrm>
            <a:off x="10972800" y="6375401"/>
            <a:ext cx="711200" cy="259316"/>
          </a:xfrm>
          <a:prstGeom prst="rect">
            <a:avLst/>
          </a:prstGeom>
        </p:spPr>
        <p:txBody>
          <a:bodyPr vert="horz" lIns="121920" tIns="60960" rIns="121920" bIns="60960" rtlCol="0" anchor="ctr"/>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85E4B45-3C0D-4DB7-A4A8-89FEB5CAB5B2}" type="slidenum">
              <a:rPr lang="en-US" sz="1333" smtClean="0">
                <a:solidFill>
                  <a:schemeClr val="bg1"/>
                </a:solidFill>
              </a:rPr>
              <a:pPr/>
              <a:t>‹#›</a:t>
            </a:fld>
            <a:endParaRPr lang="en-US" sz="1333" dirty="0">
              <a:solidFill>
                <a:schemeClr val="bg1"/>
              </a:solidFill>
            </a:endParaRPr>
          </a:p>
        </p:txBody>
      </p:sp>
      <p:pic>
        <p:nvPicPr>
          <p:cNvPr id="13" name="Picture 12" descr="Assistant Secretary for Preparedness and Response logo"/>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06400" y="6273800"/>
            <a:ext cx="1627376" cy="406400"/>
          </a:xfrm>
          <a:prstGeom prst="rect">
            <a:avLst/>
          </a:prstGeom>
        </p:spPr>
      </p:pic>
      <p:sp>
        <p:nvSpPr>
          <p:cNvPr id="14" name="TextBox 13">
            <a:extLst>
              <a:ext uri="{FF2B5EF4-FFF2-40B4-BE49-F238E27FC236}">
                <a16:creationId xmlns:a16="http://schemas.microsoft.com/office/drawing/2014/main" id="{59524643-77D2-47CD-9A7C-166B85105060}"/>
              </a:ext>
            </a:extLst>
          </p:cNvPr>
          <p:cNvSpPr txBox="1"/>
          <p:nvPr userDrawn="1"/>
        </p:nvSpPr>
        <p:spPr>
          <a:xfrm>
            <a:off x="1625600" y="6445355"/>
            <a:ext cx="9038848" cy="680507"/>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2133" b="0" i="1" u="none" strike="noStrike" kern="1200" baseline="30000" dirty="0">
                <a:solidFill>
                  <a:schemeClr val="bg1"/>
                </a:solidFill>
                <a:latin typeface="+mn-lt"/>
                <a:ea typeface="+mn-ea"/>
                <a:cs typeface="+mn-cs"/>
              </a:rPr>
              <a:t>Saving Lives. Protecting Americans.</a:t>
            </a:r>
          </a:p>
          <a:p>
            <a:pPr algn="ctr"/>
            <a:endParaRPr lang="en-US" sz="2400" dirty="0">
              <a:solidFill>
                <a:schemeClr val="bg1"/>
              </a:solidFill>
            </a:endParaRPr>
          </a:p>
        </p:txBody>
      </p:sp>
      <p:sp>
        <p:nvSpPr>
          <p:cNvPr id="10" name="Rectangle 9">
            <a:extLst>
              <a:ext uri="{FF2B5EF4-FFF2-40B4-BE49-F238E27FC236}">
                <a16:creationId xmlns:a16="http://schemas.microsoft.com/office/drawing/2014/main" id="{0C298C00-0DC9-4A13-8D2B-538A734470F8}"/>
              </a:ext>
            </a:extLst>
          </p:cNvPr>
          <p:cNvSpPr/>
          <p:nvPr userDrawn="1"/>
        </p:nvSpPr>
        <p:spPr>
          <a:xfrm>
            <a:off x="5226959" y="6089134"/>
            <a:ext cx="1673856" cy="338554"/>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B050"/>
                </a:solidFill>
                <a:effectLst/>
                <a:uLnTx/>
                <a:uFillTx/>
                <a:latin typeface="+mn-lt"/>
                <a:ea typeface="+mn-ea"/>
                <a:cs typeface="+mn-cs"/>
              </a:rPr>
              <a:t>UNCLASSIFIED</a:t>
            </a:r>
          </a:p>
        </p:txBody>
      </p:sp>
    </p:spTree>
    <p:extLst>
      <p:ext uri="{BB962C8B-B14F-4D97-AF65-F5344CB8AC3E}">
        <p14:creationId xmlns:p14="http://schemas.microsoft.com/office/powerpoint/2010/main" val="6663679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070600"/>
            <a:ext cx="12192000" cy="812800"/>
          </a:xfrm>
          <a:prstGeom prst="rect">
            <a:avLst/>
          </a:prstGeom>
        </p:spPr>
      </p:pic>
      <p:sp>
        <p:nvSpPr>
          <p:cNvPr id="2" name="Title 1"/>
          <p:cNvSpPr>
            <a:spLocks noGrp="1"/>
          </p:cNvSpPr>
          <p:nvPr>
            <p:ph type="title" hasCustomPrompt="1"/>
          </p:nvPr>
        </p:nvSpPr>
        <p:spPr/>
        <p:txBody>
          <a:bodyPr>
            <a:normAutofit/>
          </a:bodyPr>
          <a:lstStyle>
            <a:lvl1pPr>
              <a:defRPr sz="3733" b="1">
                <a:solidFill>
                  <a:srgbClr val="102B62"/>
                </a:solidFill>
              </a:defRPr>
            </a:lvl1pPr>
          </a:lstStyle>
          <a:p>
            <a:r>
              <a:rPr lang="en-US" dirty="0"/>
              <a:t>Different title per slide, Arial 28 </a:t>
            </a:r>
            <a:r>
              <a:rPr lang="en-US" dirty="0" err="1"/>
              <a:t>pt</a:t>
            </a:r>
            <a:endParaRPr lang="en-US" dirty="0"/>
          </a:p>
        </p:txBody>
      </p:sp>
      <p:sp>
        <p:nvSpPr>
          <p:cNvPr id="7" name="Slide Number Placeholder 5"/>
          <p:cNvSpPr txBox="1">
            <a:spLocks/>
          </p:cNvSpPr>
          <p:nvPr userDrawn="1"/>
        </p:nvSpPr>
        <p:spPr>
          <a:xfrm>
            <a:off x="10972800" y="6375401"/>
            <a:ext cx="711200" cy="259316"/>
          </a:xfrm>
          <a:prstGeom prst="rect">
            <a:avLst/>
          </a:prstGeom>
        </p:spPr>
        <p:txBody>
          <a:bodyPr vert="horz" lIns="121920" tIns="60960" rIns="121920" bIns="60960" rtlCol="0" anchor="ctr"/>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85E4B45-3C0D-4DB7-A4A8-89FEB5CAB5B2}" type="slidenum">
              <a:rPr lang="en-US" sz="1333" smtClean="0">
                <a:solidFill>
                  <a:schemeClr val="bg1"/>
                </a:solidFill>
              </a:rPr>
              <a:pPr/>
              <a:t>‹#›</a:t>
            </a:fld>
            <a:endParaRPr lang="en-US" sz="1333" dirty="0">
              <a:solidFill>
                <a:schemeClr val="bg1"/>
              </a:solidFill>
            </a:endParaRPr>
          </a:p>
        </p:txBody>
      </p:sp>
      <p:pic>
        <p:nvPicPr>
          <p:cNvPr id="11" name="Picture 10" descr="Assistant Secretary for Preparedness and Response logo"/>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06400" y="6273800"/>
            <a:ext cx="1627376" cy="406400"/>
          </a:xfrm>
          <a:prstGeom prst="rect">
            <a:avLst/>
          </a:prstGeom>
        </p:spPr>
      </p:pic>
      <p:sp>
        <p:nvSpPr>
          <p:cNvPr id="12" name="TextBox 11">
            <a:extLst>
              <a:ext uri="{FF2B5EF4-FFF2-40B4-BE49-F238E27FC236}">
                <a16:creationId xmlns:a16="http://schemas.microsoft.com/office/drawing/2014/main" id="{DE3F2B9F-A96D-4F4C-81A6-D009986AEA08}"/>
              </a:ext>
            </a:extLst>
          </p:cNvPr>
          <p:cNvSpPr txBox="1"/>
          <p:nvPr userDrawn="1"/>
        </p:nvSpPr>
        <p:spPr>
          <a:xfrm>
            <a:off x="1625600" y="6445355"/>
            <a:ext cx="9038848" cy="680507"/>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2133" b="0" i="1" u="none" strike="noStrike" kern="1200" baseline="30000" dirty="0">
                <a:solidFill>
                  <a:schemeClr val="bg1"/>
                </a:solidFill>
                <a:latin typeface="+mn-lt"/>
                <a:ea typeface="+mn-ea"/>
                <a:cs typeface="+mn-cs"/>
              </a:rPr>
              <a:t>Saving Lives. Protecting Americans.</a:t>
            </a:r>
          </a:p>
          <a:p>
            <a:pPr algn="ctr"/>
            <a:endParaRPr lang="en-US" sz="2400" dirty="0">
              <a:solidFill>
                <a:schemeClr val="bg1"/>
              </a:solidFill>
            </a:endParaRPr>
          </a:p>
        </p:txBody>
      </p:sp>
      <p:sp>
        <p:nvSpPr>
          <p:cNvPr id="8" name="Rectangle 7">
            <a:extLst>
              <a:ext uri="{FF2B5EF4-FFF2-40B4-BE49-F238E27FC236}">
                <a16:creationId xmlns:a16="http://schemas.microsoft.com/office/drawing/2014/main" id="{9392FFF8-F286-495D-B91F-CD5521A5EBB7}"/>
              </a:ext>
            </a:extLst>
          </p:cNvPr>
          <p:cNvSpPr/>
          <p:nvPr userDrawn="1"/>
        </p:nvSpPr>
        <p:spPr>
          <a:xfrm>
            <a:off x="5226959" y="6089134"/>
            <a:ext cx="1673856" cy="338554"/>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B050"/>
                </a:solidFill>
                <a:effectLst/>
                <a:uLnTx/>
                <a:uFillTx/>
                <a:latin typeface="+mn-lt"/>
                <a:ea typeface="+mn-ea"/>
                <a:cs typeface="+mn-cs"/>
              </a:rPr>
              <a:t>UNCLASSIFIED</a:t>
            </a:r>
          </a:p>
        </p:txBody>
      </p:sp>
    </p:spTree>
    <p:extLst>
      <p:ext uri="{BB962C8B-B14F-4D97-AF65-F5344CB8AC3E}">
        <p14:creationId xmlns:p14="http://schemas.microsoft.com/office/powerpoint/2010/main" val="15785590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070600"/>
            <a:ext cx="12192000" cy="812800"/>
          </a:xfrm>
          <a:prstGeom prst="rect">
            <a:avLst/>
          </a:prstGeom>
        </p:spPr>
      </p:pic>
      <p:sp>
        <p:nvSpPr>
          <p:cNvPr id="6" name="Slide Number Placeholder 5"/>
          <p:cNvSpPr txBox="1">
            <a:spLocks/>
          </p:cNvSpPr>
          <p:nvPr userDrawn="1"/>
        </p:nvSpPr>
        <p:spPr>
          <a:xfrm>
            <a:off x="10972800" y="6375401"/>
            <a:ext cx="711200" cy="259316"/>
          </a:xfrm>
          <a:prstGeom prst="rect">
            <a:avLst/>
          </a:prstGeom>
        </p:spPr>
        <p:txBody>
          <a:bodyPr vert="horz" lIns="121920" tIns="60960" rIns="121920" bIns="60960" rtlCol="0" anchor="ctr"/>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85E4B45-3C0D-4DB7-A4A8-89FEB5CAB5B2}" type="slidenum">
              <a:rPr lang="en-US" sz="1333" smtClean="0">
                <a:solidFill>
                  <a:schemeClr val="bg1"/>
                </a:solidFill>
              </a:rPr>
              <a:pPr/>
              <a:t>‹#›</a:t>
            </a:fld>
            <a:endParaRPr lang="en-US" sz="1333" dirty="0">
              <a:solidFill>
                <a:schemeClr val="bg1"/>
              </a:solidFill>
            </a:endParaRPr>
          </a:p>
        </p:txBody>
      </p:sp>
      <p:pic>
        <p:nvPicPr>
          <p:cNvPr id="10" name="Picture 9" descr="Assistant Secretary for Preparedness and Response logo"/>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06400" y="6273800"/>
            <a:ext cx="1627376" cy="406400"/>
          </a:xfrm>
          <a:prstGeom prst="rect">
            <a:avLst/>
          </a:prstGeom>
        </p:spPr>
      </p:pic>
      <p:sp>
        <p:nvSpPr>
          <p:cNvPr id="11" name="TextBox 10">
            <a:extLst>
              <a:ext uri="{FF2B5EF4-FFF2-40B4-BE49-F238E27FC236}">
                <a16:creationId xmlns:a16="http://schemas.microsoft.com/office/drawing/2014/main" id="{1AB09E34-BE25-497F-BA37-3FB300823C4B}"/>
              </a:ext>
            </a:extLst>
          </p:cNvPr>
          <p:cNvSpPr txBox="1"/>
          <p:nvPr userDrawn="1"/>
        </p:nvSpPr>
        <p:spPr>
          <a:xfrm>
            <a:off x="1625600" y="6445355"/>
            <a:ext cx="9038848" cy="680507"/>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2133" b="0" i="1" u="none" strike="noStrike" kern="1200" baseline="30000" dirty="0">
                <a:solidFill>
                  <a:schemeClr val="bg1"/>
                </a:solidFill>
                <a:latin typeface="+mn-lt"/>
                <a:ea typeface="+mn-ea"/>
                <a:cs typeface="+mn-cs"/>
              </a:rPr>
              <a:t>Saving Lives. Protecting Americans.</a:t>
            </a:r>
          </a:p>
          <a:p>
            <a:pPr algn="ctr"/>
            <a:endParaRPr lang="en-US" sz="2400" dirty="0">
              <a:solidFill>
                <a:schemeClr val="bg1"/>
              </a:solidFill>
            </a:endParaRPr>
          </a:p>
        </p:txBody>
      </p:sp>
      <p:sp>
        <p:nvSpPr>
          <p:cNvPr id="7" name="Rectangle 6">
            <a:extLst>
              <a:ext uri="{FF2B5EF4-FFF2-40B4-BE49-F238E27FC236}">
                <a16:creationId xmlns:a16="http://schemas.microsoft.com/office/drawing/2014/main" id="{E1CA38B0-76F3-4707-9C39-23D0D1C1FD69}"/>
              </a:ext>
            </a:extLst>
          </p:cNvPr>
          <p:cNvSpPr/>
          <p:nvPr userDrawn="1"/>
        </p:nvSpPr>
        <p:spPr>
          <a:xfrm>
            <a:off x="5226959" y="6089134"/>
            <a:ext cx="1673856" cy="338554"/>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B050"/>
                </a:solidFill>
                <a:effectLst/>
                <a:uLnTx/>
                <a:uFillTx/>
                <a:latin typeface="+mn-lt"/>
                <a:ea typeface="+mn-ea"/>
                <a:cs typeface="+mn-cs"/>
              </a:rPr>
              <a:t>UNCLASSIFIED</a:t>
            </a:r>
          </a:p>
        </p:txBody>
      </p:sp>
    </p:spTree>
    <p:extLst>
      <p:ext uri="{BB962C8B-B14F-4D97-AF65-F5344CB8AC3E}">
        <p14:creationId xmlns:p14="http://schemas.microsoft.com/office/powerpoint/2010/main" val="23481481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179574-D3FA-4082-874E-7BBE74C0EEC3}"/>
              </a:ext>
            </a:extLst>
          </p:cNvPr>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C821E75D-D643-4925-BFC2-319368EB0AC0}"/>
              </a:ext>
            </a:extLst>
          </p:cNvPr>
          <p:cNvSpPr/>
          <p:nvPr userDrawn="1"/>
        </p:nvSpPr>
        <p:spPr>
          <a:xfrm>
            <a:off x="5226959" y="6089134"/>
            <a:ext cx="1673856" cy="338554"/>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B050"/>
                </a:solidFill>
                <a:effectLst/>
                <a:uLnTx/>
                <a:uFillTx/>
                <a:latin typeface="+mn-lt"/>
                <a:ea typeface="+mn-ea"/>
                <a:cs typeface="+mn-cs"/>
              </a:rPr>
              <a:t>UNCLASSIFIED</a:t>
            </a:r>
          </a:p>
        </p:txBody>
      </p:sp>
    </p:spTree>
    <p:extLst>
      <p:ext uri="{BB962C8B-B14F-4D97-AF65-F5344CB8AC3E}">
        <p14:creationId xmlns:p14="http://schemas.microsoft.com/office/powerpoint/2010/main" val="35400438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37462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5B9BA11-3BDA-46E1-BEEC-2D58E50858D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070600"/>
            <a:ext cx="12192000" cy="812800"/>
          </a:xfrm>
          <a:prstGeom prst="rect">
            <a:avLst/>
          </a:prstGeom>
        </p:spPr>
      </p:pic>
      <p:sp>
        <p:nvSpPr>
          <p:cNvPr id="12" name="Slide Number Placeholder 5">
            <a:extLst>
              <a:ext uri="{FF2B5EF4-FFF2-40B4-BE49-F238E27FC236}">
                <a16:creationId xmlns:a16="http://schemas.microsoft.com/office/drawing/2014/main" id="{5E206869-C91E-4B04-80A3-9C85B61BB6FE}"/>
              </a:ext>
            </a:extLst>
          </p:cNvPr>
          <p:cNvSpPr txBox="1">
            <a:spLocks/>
          </p:cNvSpPr>
          <p:nvPr userDrawn="1"/>
        </p:nvSpPr>
        <p:spPr>
          <a:xfrm>
            <a:off x="10972800" y="6375402"/>
            <a:ext cx="711200" cy="259316"/>
          </a:xfrm>
          <a:prstGeom prst="rect">
            <a:avLst/>
          </a:prstGeom>
        </p:spPr>
        <p:txBody>
          <a:bodyPr vert="horz" lIns="121920" tIns="60960" rIns="121920" bIns="60960" rtlCol="0" anchor="ctr"/>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85E4B45-3C0D-4DB7-A4A8-89FEB5CAB5B2}" type="slidenum">
              <a:rPr lang="en-US" sz="1333" smtClean="0">
                <a:solidFill>
                  <a:schemeClr val="bg1"/>
                </a:solidFill>
              </a:rPr>
              <a:pPr/>
              <a:t>‹#›</a:t>
            </a:fld>
            <a:endParaRPr lang="en-US" sz="1333" dirty="0">
              <a:solidFill>
                <a:schemeClr val="bg1"/>
              </a:solidFill>
            </a:endParaRPr>
          </a:p>
        </p:txBody>
      </p:sp>
      <p:pic>
        <p:nvPicPr>
          <p:cNvPr id="13" name="Picture 12" descr="Assistant Secretary for Preparedness and Response logo">
            <a:extLst>
              <a:ext uri="{FF2B5EF4-FFF2-40B4-BE49-F238E27FC236}">
                <a16:creationId xmlns:a16="http://schemas.microsoft.com/office/drawing/2014/main" id="{64B56544-F524-4690-8940-A775066837C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06400" y="6273800"/>
            <a:ext cx="1627376" cy="406400"/>
          </a:xfrm>
          <a:prstGeom prst="rect">
            <a:avLst/>
          </a:prstGeom>
        </p:spPr>
      </p:pic>
      <p:sp>
        <p:nvSpPr>
          <p:cNvPr id="8" name="TextBox 7">
            <a:extLst>
              <a:ext uri="{FF2B5EF4-FFF2-40B4-BE49-F238E27FC236}">
                <a16:creationId xmlns:a16="http://schemas.microsoft.com/office/drawing/2014/main" id="{F7C0E19F-4AE2-4320-BBC2-A9E5780551FB}"/>
              </a:ext>
            </a:extLst>
          </p:cNvPr>
          <p:cNvSpPr txBox="1"/>
          <p:nvPr userDrawn="1"/>
        </p:nvSpPr>
        <p:spPr>
          <a:xfrm>
            <a:off x="1625600" y="6445355"/>
            <a:ext cx="9038848" cy="680507"/>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2133" b="0" i="1" u="none" strike="noStrike" kern="1200" baseline="30000" dirty="0">
                <a:solidFill>
                  <a:schemeClr val="bg1"/>
                </a:solidFill>
                <a:latin typeface="+mn-lt"/>
                <a:ea typeface="+mn-ea"/>
                <a:cs typeface="+mn-cs"/>
              </a:rPr>
              <a:t>Saving Lives. Protecting Americans.</a:t>
            </a:r>
          </a:p>
          <a:p>
            <a:pPr algn="ctr"/>
            <a:endParaRPr lang="en-US" sz="2400" dirty="0">
              <a:solidFill>
                <a:schemeClr val="bg1"/>
              </a:solidFill>
            </a:endParaRPr>
          </a:p>
        </p:txBody>
      </p:sp>
      <p:sp>
        <p:nvSpPr>
          <p:cNvPr id="7" name="Rectangle 6">
            <a:extLst>
              <a:ext uri="{FF2B5EF4-FFF2-40B4-BE49-F238E27FC236}">
                <a16:creationId xmlns:a16="http://schemas.microsoft.com/office/drawing/2014/main" id="{6C79859B-E00F-49D3-A869-8E036A4EBB9B}"/>
              </a:ext>
            </a:extLst>
          </p:cNvPr>
          <p:cNvSpPr/>
          <p:nvPr userDrawn="1"/>
        </p:nvSpPr>
        <p:spPr>
          <a:xfrm>
            <a:off x="5226959" y="6089134"/>
            <a:ext cx="1673856" cy="338554"/>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B050"/>
                </a:solidFill>
                <a:effectLst/>
                <a:uLnTx/>
                <a:uFillTx/>
                <a:latin typeface="+mn-lt"/>
                <a:ea typeface="+mn-ea"/>
                <a:cs typeface="+mn-cs"/>
              </a:rPr>
              <a:t>UNCLASSIFIED</a:t>
            </a:r>
          </a:p>
        </p:txBody>
      </p:sp>
    </p:spTree>
    <p:extLst>
      <p:ext uri="{BB962C8B-B14F-4D97-AF65-F5344CB8AC3E}">
        <p14:creationId xmlns:p14="http://schemas.microsoft.com/office/powerpoint/2010/main" val="4769195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8162B2-9925-451E-833E-8615B9646D4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F0F22AE-45BF-459A-AB44-AD34E36B31E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BE5BBB-9426-4468-8F4D-26EBB587D0EE}"/>
              </a:ext>
            </a:extLst>
          </p:cNvPr>
          <p:cNvSpPr>
            <a:spLocks noGrp="1"/>
          </p:cNvSpPr>
          <p:nvPr>
            <p:ph type="dt" sz="half" idx="10"/>
          </p:nvPr>
        </p:nvSpPr>
        <p:spPr/>
        <p:txBody>
          <a:bodyPr/>
          <a:lstStyle/>
          <a:p>
            <a:fld id="{85BFAE02-898A-4029-ACE3-AD0AC637E368}" type="datetime1">
              <a:rPr lang="en-US" smtClean="0"/>
              <a:t>3/24/2022</a:t>
            </a:fld>
            <a:endParaRPr lang="en-US"/>
          </a:p>
        </p:txBody>
      </p:sp>
      <p:sp>
        <p:nvSpPr>
          <p:cNvPr id="5" name="Footer Placeholder 4">
            <a:extLst>
              <a:ext uri="{FF2B5EF4-FFF2-40B4-BE49-F238E27FC236}">
                <a16:creationId xmlns:a16="http://schemas.microsoft.com/office/drawing/2014/main" id="{128C7BF2-1E7E-4CAB-BFA0-7D6455FE46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299CB65-33C6-4A9D-A4F1-540888BC5FBF}"/>
              </a:ext>
            </a:extLst>
          </p:cNvPr>
          <p:cNvSpPr>
            <a:spLocks noGrp="1"/>
          </p:cNvSpPr>
          <p:nvPr>
            <p:ph type="sldNum" sz="quarter" idx="12"/>
          </p:nvPr>
        </p:nvSpPr>
        <p:spPr/>
        <p:txBody>
          <a:bodyPr/>
          <a:lstStyle/>
          <a:p>
            <a:fld id="{4FA07702-9C82-4FBE-B98C-E58879511A7A}" type="slidenum">
              <a:rPr lang="en-US" smtClean="0"/>
              <a:t>‹#›</a:t>
            </a:fld>
            <a:endParaRPr lang="en-US"/>
          </a:p>
        </p:txBody>
      </p:sp>
    </p:spTree>
    <p:extLst>
      <p:ext uri="{BB962C8B-B14F-4D97-AF65-F5344CB8AC3E}">
        <p14:creationId xmlns:p14="http://schemas.microsoft.com/office/powerpoint/2010/main" val="32335764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CF97211-E0BC-4DF1-9414-5FBEE5E82E83}"/>
              </a:ext>
            </a:extLst>
          </p:cNvPr>
          <p:cNvSpPr/>
          <p:nvPr userDrawn="1"/>
        </p:nvSpPr>
        <p:spPr>
          <a:xfrm>
            <a:off x="-3" y="19243"/>
            <a:ext cx="12192001" cy="1972341"/>
          </a:xfrm>
          <a:prstGeom prst="rect">
            <a:avLst/>
          </a:prstGeom>
          <a:gradFill>
            <a:gsLst>
              <a:gs pos="0">
                <a:srgbClr val="EDEDED"/>
              </a:gs>
              <a:gs pos="100000">
                <a:srgbClr val="FBFBFB"/>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5" name="Picture 4">
            <a:extLst>
              <a:ext uri="{FF2B5EF4-FFF2-40B4-BE49-F238E27FC236}">
                <a16:creationId xmlns:a16="http://schemas.microsoft.com/office/drawing/2014/main" id="{96AB34F5-71AF-43BB-8028-62DD02A30F0F}"/>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t="54427"/>
          <a:stretch/>
        </p:blipFill>
        <p:spPr>
          <a:xfrm>
            <a:off x="0" y="6052439"/>
            <a:ext cx="12192000" cy="836575"/>
          </a:xfrm>
          <a:prstGeom prst="rect">
            <a:avLst/>
          </a:prstGeom>
        </p:spPr>
      </p:pic>
      <p:sp>
        <p:nvSpPr>
          <p:cNvPr id="2" name="Title 1"/>
          <p:cNvSpPr>
            <a:spLocks noGrp="1"/>
          </p:cNvSpPr>
          <p:nvPr>
            <p:ph type="ctrTitle" hasCustomPrompt="1"/>
          </p:nvPr>
        </p:nvSpPr>
        <p:spPr>
          <a:xfrm>
            <a:off x="914400" y="2275380"/>
            <a:ext cx="10363200" cy="1470025"/>
          </a:xfrm>
        </p:spPr>
        <p:txBody>
          <a:bodyPr>
            <a:normAutofit/>
          </a:bodyPr>
          <a:lstStyle>
            <a:lvl1pPr>
              <a:defRPr sz="4267" b="1">
                <a:solidFill>
                  <a:srgbClr val="1F384F"/>
                </a:solidFill>
              </a:defRPr>
            </a:lvl1pPr>
          </a:lstStyle>
          <a:p>
            <a:r>
              <a:rPr lang="en-US" dirty="0"/>
              <a:t>Title, Arial Bold, 32 </a:t>
            </a:r>
            <a:r>
              <a:rPr lang="en-US" dirty="0" err="1"/>
              <a:t>pt</a:t>
            </a:r>
            <a:endParaRPr lang="en-US" dirty="0"/>
          </a:p>
        </p:txBody>
      </p:sp>
      <p:sp>
        <p:nvSpPr>
          <p:cNvPr id="3" name="Subtitle 2"/>
          <p:cNvSpPr>
            <a:spLocks noGrp="1"/>
          </p:cNvSpPr>
          <p:nvPr>
            <p:ph type="subTitle" idx="1" hasCustomPrompt="1"/>
          </p:nvPr>
        </p:nvSpPr>
        <p:spPr>
          <a:xfrm>
            <a:off x="1828800" y="3936985"/>
            <a:ext cx="8534400" cy="1752600"/>
          </a:xfrm>
        </p:spPr>
        <p:txBody>
          <a:bodyPr>
            <a:normAutofit/>
          </a:bodyPr>
          <a:lstStyle>
            <a:lvl1pPr marL="0" indent="0" algn="ctr">
              <a:buNone/>
              <a:defRPr sz="3200" b="1" baseline="0">
                <a:solidFill>
                  <a:srgbClr val="1F384F"/>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Presenter Name</a:t>
            </a:r>
            <a:br>
              <a:rPr lang="en-US" dirty="0"/>
            </a:br>
            <a:r>
              <a:rPr lang="en-US" dirty="0"/>
              <a:t>Month DD, YYYY</a:t>
            </a:r>
          </a:p>
        </p:txBody>
      </p:sp>
      <p:sp>
        <p:nvSpPr>
          <p:cNvPr id="13" name="Rectangle 12">
            <a:extLst>
              <a:ext uri="{FF2B5EF4-FFF2-40B4-BE49-F238E27FC236}">
                <a16:creationId xmlns:a16="http://schemas.microsoft.com/office/drawing/2014/main" id="{002C9770-2834-4EE7-B690-F4FCC6042E3A}"/>
              </a:ext>
            </a:extLst>
          </p:cNvPr>
          <p:cNvSpPr/>
          <p:nvPr userDrawn="1"/>
        </p:nvSpPr>
        <p:spPr>
          <a:xfrm>
            <a:off x="-1" y="5974493"/>
            <a:ext cx="12191999" cy="81279"/>
          </a:xfrm>
          <a:prstGeom prst="rect">
            <a:avLst/>
          </a:prstGeom>
          <a:solidFill>
            <a:srgbClr val="4374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nvGrpSpPr>
          <p:cNvPr id="14" name="Group 13">
            <a:extLst>
              <a:ext uri="{FF2B5EF4-FFF2-40B4-BE49-F238E27FC236}">
                <a16:creationId xmlns:a16="http://schemas.microsoft.com/office/drawing/2014/main" id="{DBC4ED61-FBE2-44E0-B28E-E34A65BB2E3C}"/>
              </a:ext>
            </a:extLst>
          </p:cNvPr>
          <p:cNvGrpSpPr/>
          <p:nvPr userDrawn="1"/>
        </p:nvGrpSpPr>
        <p:grpSpPr>
          <a:xfrm>
            <a:off x="124089" y="6133714"/>
            <a:ext cx="11746243" cy="634352"/>
            <a:chOff x="267989" y="6299745"/>
            <a:chExt cx="8809682" cy="475764"/>
          </a:xfrm>
        </p:grpSpPr>
        <p:sp>
          <p:nvSpPr>
            <p:cNvPr id="15" name="TextBox 14">
              <a:extLst>
                <a:ext uri="{FF2B5EF4-FFF2-40B4-BE49-F238E27FC236}">
                  <a16:creationId xmlns:a16="http://schemas.microsoft.com/office/drawing/2014/main" id="{CDECF114-F23D-46A7-A3DD-DAD44C649BEA}"/>
                </a:ext>
              </a:extLst>
            </p:cNvPr>
            <p:cNvSpPr txBox="1"/>
            <p:nvPr userDrawn="1"/>
          </p:nvSpPr>
          <p:spPr>
            <a:xfrm>
              <a:off x="267989" y="6368350"/>
              <a:ext cx="3987444" cy="315423"/>
            </a:xfrm>
            <a:prstGeom prst="rect">
              <a:avLst/>
            </a:prstGeom>
            <a:noFill/>
          </p:spPr>
          <p:txBody>
            <a:bodyPr wrap="square" rtlCol="0">
              <a:spAutoFit/>
            </a:bodyPr>
            <a:lstStyle/>
            <a:p>
              <a:pPr algn="l"/>
              <a:r>
                <a:rPr lang="en-US" sz="2133" b="1" dirty="0">
                  <a:solidFill>
                    <a:srgbClr val="1F384F"/>
                  </a:solidFill>
                  <a:latin typeface="Arial" panose="020B0604020202020204" pitchFamily="34" charset="0"/>
                  <a:cs typeface="Arial" panose="020B0604020202020204" pitchFamily="34" charset="0"/>
                </a:rPr>
                <a:t>October 15-16, 2019 | Washington, D.C.</a:t>
              </a:r>
            </a:p>
          </p:txBody>
        </p:sp>
        <p:grpSp>
          <p:nvGrpSpPr>
            <p:cNvPr id="16" name="Group 15">
              <a:extLst>
                <a:ext uri="{FF2B5EF4-FFF2-40B4-BE49-F238E27FC236}">
                  <a16:creationId xmlns:a16="http://schemas.microsoft.com/office/drawing/2014/main" id="{C58E9235-C5AC-4587-9D2E-63402742D1A6}"/>
                </a:ext>
              </a:extLst>
            </p:cNvPr>
            <p:cNvGrpSpPr/>
            <p:nvPr userDrawn="1"/>
          </p:nvGrpSpPr>
          <p:grpSpPr>
            <a:xfrm>
              <a:off x="7080408" y="6299745"/>
              <a:ext cx="1997263" cy="475764"/>
              <a:chOff x="5628124" y="6298703"/>
              <a:chExt cx="1997263" cy="475764"/>
            </a:xfrm>
          </p:grpSpPr>
          <p:pic>
            <p:nvPicPr>
              <p:cNvPr id="17" name="Picture 16">
                <a:extLst>
                  <a:ext uri="{FF2B5EF4-FFF2-40B4-BE49-F238E27FC236}">
                    <a16:creationId xmlns:a16="http://schemas.microsoft.com/office/drawing/2014/main" id="{8EA1B634-D0AF-49DD-B55F-713AAB22219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238104" y="6364180"/>
                <a:ext cx="777302" cy="344810"/>
              </a:xfrm>
              <a:prstGeom prst="rect">
                <a:avLst/>
              </a:prstGeom>
            </p:spPr>
          </p:pic>
          <p:pic>
            <p:nvPicPr>
              <p:cNvPr id="18" name="Picture 17">
                <a:extLst>
                  <a:ext uri="{FF2B5EF4-FFF2-40B4-BE49-F238E27FC236}">
                    <a16:creationId xmlns:a16="http://schemas.microsoft.com/office/drawing/2014/main" id="{D541CAAB-B100-4642-83E4-879902FC4F9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628124" y="6298703"/>
                <a:ext cx="475764" cy="475764"/>
              </a:xfrm>
              <a:prstGeom prst="rect">
                <a:avLst/>
              </a:prstGeom>
            </p:spPr>
          </p:pic>
          <p:pic>
            <p:nvPicPr>
              <p:cNvPr id="19" name="Picture 18">
                <a:extLst>
                  <a:ext uri="{FF2B5EF4-FFF2-40B4-BE49-F238E27FC236}">
                    <a16:creationId xmlns:a16="http://schemas.microsoft.com/office/drawing/2014/main" id="{4DA73913-4B80-4482-A4F1-6736C33FCF93}"/>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149623" y="6298797"/>
                <a:ext cx="475764" cy="475577"/>
              </a:xfrm>
              <a:prstGeom prst="rect">
                <a:avLst/>
              </a:prstGeom>
            </p:spPr>
          </p:pic>
        </p:grpSp>
      </p:grpSp>
      <p:pic>
        <p:nvPicPr>
          <p:cNvPr id="8" name="Picture 7">
            <a:extLst>
              <a:ext uri="{FF2B5EF4-FFF2-40B4-BE49-F238E27FC236}">
                <a16:creationId xmlns:a16="http://schemas.microsoft.com/office/drawing/2014/main" id="{69CD7092-CCD2-42B4-AB20-8292D7B1ED90}"/>
              </a:ext>
            </a:extLst>
          </p:cNvPr>
          <p:cNvPicPr>
            <a:picLocks noChangeAspect="1"/>
          </p:cNvPicPr>
          <p:nvPr userDrawn="1"/>
        </p:nvPicPr>
        <p:blipFill>
          <a:blip r:embed="rId6"/>
          <a:stretch>
            <a:fillRect/>
          </a:stretch>
        </p:blipFill>
        <p:spPr>
          <a:xfrm>
            <a:off x="321668" y="85600"/>
            <a:ext cx="1828803" cy="1801141"/>
          </a:xfrm>
          <a:prstGeom prst="rect">
            <a:avLst/>
          </a:prstGeom>
        </p:spPr>
      </p:pic>
      <p:sp>
        <p:nvSpPr>
          <p:cNvPr id="20" name="Rectangle 19">
            <a:extLst>
              <a:ext uri="{FF2B5EF4-FFF2-40B4-BE49-F238E27FC236}">
                <a16:creationId xmlns:a16="http://schemas.microsoft.com/office/drawing/2014/main" id="{DA44C9A7-92DA-4CB5-B2F6-48D7417045CA}"/>
              </a:ext>
            </a:extLst>
          </p:cNvPr>
          <p:cNvSpPr/>
          <p:nvPr userDrawn="1"/>
        </p:nvSpPr>
        <p:spPr>
          <a:xfrm>
            <a:off x="-1" y="1926306"/>
            <a:ext cx="12191999" cy="81279"/>
          </a:xfrm>
          <a:prstGeom prst="rect">
            <a:avLst/>
          </a:prstGeom>
          <a:solidFill>
            <a:srgbClr val="4374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4" name="Graphic 3">
            <a:extLst>
              <a:ext uri="{FF2B5EF4-FFF2-40B4-BE49-F238E27FC236}">
                <a16:creationId xmlns:a16="http://schemas.microsoft.com/office/drawing/2014/main" id="{235260F6-04E1-4C21-AB66-09609B017A3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2472141" y="482614"/>
            <a:ext cx="9368963" cy="995913"/>
          </a:xfrm>
          <a:prstGeom prst="rect">
            <a:avLst/>
          </a:prstGeom>
        </p:spPr>
      </p:pic>
      <p:sp>
        <p:nvSpPr>
          <p:cNvPr id="21" name="TextBox 20">
            <a:extLst>
              <a:ext uri="{FF2B5EF4-FFF2-40B4-BE49-F238E27FC236}">
                <a16:creationId xmlns:a16="http://schemas.microsoft.com/office/drawing/2014/main" id="{A3707ED4-22A9-4B12-B64F-C7B38740BA71}"/>
              </a:ext>
            </a:extLst>
          </p:cNvPr>
          <p:cNvSpPr txBox="1"/>
          <p:nvPr userDrawn="1"/>
        </p:nvSpPr>
        <p:spPr>
          <a:xfrm>
            <a:off x="5226959" y="6467258"/>
            <a:ext cx="1673856" cy="338554"/>
          </a:xfrm>
          <a:prstGeom prst="rect">
            <a:avLst/>
          </a:prstGeom>
          <a:noFill/>
        </p:spPr>
        <p:txBody>
          <a:bodyPr wrap="none" rtlCol="0">
            <a:spAutoFit/>
          </a:bodyPr>
          <a:lstStyle/>
          <a:p>
            <a:r>
              <a:rPr lang="en-US" sz="1600" dirty="0">
                <a:solidFill>
                  <a:srgbClr val="00B050"/>
                </a:solidFill>
              </a:rPr>
              <a:t>UNCLASSIFIED</a:t>
            </a:r>
          </a:p>
        </p:txBody>
      </p:sp>
    </p:spTree>
    <p:extLst>
      <p:ext uri="{BB962C8B-B14F-4D97-AF65-F5344CB8AC3E}">
        <p14:creationId xmlns:p14="http://schemas.microsoft.com/office/powerpoint/2010/main" val="1653416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D13EFED-4239-428C-8447-075430B5ED01}"/>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t="54427"/>
          <a:stretch/>
        </p:blipFill>
        <p:spPr>
          <a:xfrm>
            <a:off x="0" y="6021426"/>
            <a:ext cx="12192000" cy="836575"/>
          </a:xfrm>
          <a:prstGeom prst="rect">
            <a:avLst/>
          </a:prstGeom>
        </p:spPr>
      </p:pic>
      <p:sp>
        <p:nvSpPr>
          <p:cNvPr id="20" name="Rectangle 19">
            <a:extLst>
              <a:ext uri="{FF2B5EF4-FFF2-40B4-BE49-F238E27FC236}">
                <a16:creationId xmlns:a16="http://schemas.microsoft.com/office/drawing/2014/main" id="{E33D7765-FA1B-49FF-A55F-972A3C6EED0E}"/>
              </a:ext>
            </a:extLst>
          </p:cNvPr>
          <p:cNvSpPr/>
          <p:nvPr userDrawn="1"/>
        </p:nvSpPr>
        <p:spPr>
          <a:xfrm>
            <a:off x="-1" y="5943479"/>
            <a:ext cx="12191999" cy="81279"/>
          </a:xfrm>
          <a:prstGeom prst="rect">
            <a:avLst/>
          </a:prstGeom>
          <a:solidFill>
            <a:srgbClr val="4374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 name="Content Placeholder 2"/>
          <p:cNvSpPr>
            <a:spLocks noGrp="1"/>
          </p:cNvSpPr>
          <p:nvPr>
            <p:ph idx="1" hasCustomPrompt="1"/>
          </p:nvPr>
        </p:nvSpPr>
        <p:spPr>
          <a:xfrm>
            <a:off x="609600" y="1498601"/>
            <a:ext cx="10972800" cy="4368799"/>
          </a:xfrm>
        </p:spPr>
        <p:txBody>
          <a:bodyPr/>
          <a:lstStyle>
            <a:lvl1pPr marL="457189" indent="-457189">
              <a:buSzPct val="125000"/>
              <a:buFont typeface="Arial" panose="020B0604020202020204" pitchFamily="34" charset="0"/>
              <a:buChar char="•"/>
              <a:defRPr sz="2933">
                <a:solidFill>
                  <a:srgbClr val="1F384F"/>
                </a:solidFill>
              </a:defRPr>
            </a:lvl1pPr>
            <a:lvl2pPr marL="990575" indent="-380990">
              <a:buFont typeface="Wingdings" panose="05000000000000000000" pitchFamily="2" charset="2"/>
              <a:buChar char="§"/>
              <a:defRPr sz="2667">
                <a:solidFill>
                  <a:srgbClr val="1F384F"/>
                </a:solidFill>
              </a:defRPr>
            </a:lvl2pPr>
            <a:lvl3pPr marL="1523962" indent="-304792">
              <a:buFont typeface="Wingdings" panose="05000000000000000000" pitchFamily="2" charset="2"/>
              <a:buChar char="ü"/>
              <a:defRPr sz="2400">
                <a:solidFill>
                  <a:srgbClr val="1F384F"/>
                </a:solidFill>
              </a:defRPr>
            </a:lvl3pPr>
          </a:lstStyle>
          <a:p>
            <a:pPr lvl="0"/>
            <a:r>
              <a:rPr lang="en-US" dirty="0"/>
              <a:t>Click to edit Master text styles</a:t>
            </a:r>
          </a:p>
          <a:p>
            <a:pPr lvl="1"/>
            <a:r>
              <a:rPr lang="en-US" dirty="0"/>
              <a:t>Second level</a:t>
            </a:r>
          </a:p>
          <a:p>
            <a:pPr lvl="2"/>
            <a:r>
              <a:rPr lang="en-US" dirty="0"/>
              <a:t>Third level</a:t>
            </a:r>
          </a:p>
          <a:p>
            <a:pPr lvl="0"/>
            <a:endParaRPr lang="en-US" dirty="0"/>
          </a:p>
          <a:p>
            <a:pPr lvl="2"/>
            <a:endParaRPr lang="en-US" dirty="0"/>
          </a:p>
          <a:p>
            <a:pPr lvl="2"/>
            <a:endParaRPr lang="en-US" dirty="0"/>
          </a:p>
        </p:txBody>
      </p:sp>
      <p:sp>
        <p:nvSpPr>
          <p:cNvPr id="14" name="Slide Number Placeholder 5">
            <a:extLst>
              <a:ext uri="{FF2B5EF4-FFF2-40B4-BE49-F238E27FC236}">
                <a16:creationId xmlns:a16="http://schemas.microsoft.com/office/drawing/2014/main" id="{3E1DECB2-54C4-452E-94F6-C298AEAF0ABC}"/>
              </a:ext>
            </a:extLst>
          </p:cNvPr>
          <p:cNvSpPr txBox="1">
            <a:spLocks/>
          </p:cNvSpPr>
          <p:nvPr userDrawn="1"/>
        </p:nvSpPr>
        <p:spPr>
          <a:xfrm>
            <a:off x="11082032" y="6301661"/>
            <a:ext cx="711200" cy="259316"/>
          </a:xfrm>
          <a:prstGeom prst="rect">
            <a:avLst/>
          </a:prstGeom>
        </p:spPr>
        <p:txBody>
          <a:bodyPr vert="horz" lIns="121920" tIns="60960" rIns="121920" bIns="60960" rtlCol="0" anchor="ctr"/>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42887B0-FCD4-4866-A7DB-E793BE0C00E7}" type="slidenum">
              <a:rPr lang="en-US" sz="1333" smtClean="0">
                <a:solidFill>
                  <a:srgbClr val="1F384F"/>
                </a:solidFill>
              </a:rPr>
              <a:t>‹#›</a:t>
            </a:fld>
            <a:endParaRPr lang="en-US" sz="1333" dirty="0">
              <a:solidFill>
                <a:srgbClr val="1F384F"/>
              </a:solidFill>
            </a:endParaRPr>
          </a:p>
        </p:txBody>
      </p:sp>
      <p:sp>
        <p:nvSpPr>
          <p:cNvPr id="15" name="TextBox 14">
            <a:extLst>
              <a:ext uri="{FF2B5EF4-FFF2-40B4-BE49-F238E27FC236}">
                <a16:creationId xmlns:a16="http://schemas.microsoft.com/office/drawing/2014/main" id="{23BFC785-B99F-44F5-9137-4C9F58BAACD8}"/>
              </a:ext>
            </a:extLst>
          </p:cNvPr>
          <p:cNvSpPr txBox="1"/>
          <p:nvPr userDrawn="1"/>
        </p:nvSpPr>
        <p:spPr>
          <a:xfrm>
            <a:off x="4465604" y="6339712"/>
            <a:ext cx="3307071" cy="221265"/>
          </a:xfrm>
          <a:prstGeom prst="rect">
            <a:avLst/>
          </a:prstGeom>
          <a:noFill/>
        </p:spPr>
        <p:txBody>
          <a:bodyPr wrap="square"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2133" b="0" i="1" u="none" strike="noStrike" kern="1200" baseline="30000" dirty="0">
                <a:solidFill>
                  <a:srgbClr val="1F384F"/>
                </a:solidFill>
                <a:latin typeface="+mn-lt"/>
                <a:ea typeface="+mn-ea"/>
                <a:cs typeface="+mn-cs"/>
              </a:rPr>
              <a:t>Saving Lives. Protecting Americans.</a:t>
            </a:r>
            <a:endParaRPr lang="en-US" sz="2400" dirty="0">
              <a:solidFill>
                <a:srgbClr val="1F384F"/>
              </a:solidFill>
            </a:endParaRPr>
          </a:p>
        </p:txBody>
      </p:sp>
      <p:sp>
        <p:nvSpPr>
          <p:cNvPr id="4" name="Title 3">
            <a:extLst>
              <a:ext uri="{FF2B5EF4-FFF2-40B4-BE49-F238E27FC236}">
                <a16:creationId xmlns:a16="http://schemas.microsoft.com/office/drawing/2014/main" id="{D10CAACD-5B28-4D91-8FF1-780FA4D7A3B2}"/>
              </a:ext>
            </a:extLst>
          </p:cNvPr>
          <p:cNvSpPr>
            <a:spLocks noGrp="1"/>
          </p:cNvSpPr>
          <p:nvPr>
            <p:ph type="title"/>
          </p:nvPr>
        </p:nvSpPr>
        <p:spPr/>
        <p:txBody>
          <a:bodyPr/>
          <a:lstStyle>
            <a:lvl1pPr>
              <a:defRPr>
                <a:solidFill>
                  <a:srgbClr val="1F384F"/>
                </a:solidFill>
              </a:defRPr>
            </a:lvl1pPr>
          </a:lstStyle>
          <a:p>
            <a:r>
              <a:rPr lang="en-US"/>
              <a:t>Click to edit Master title style</a:t>
            </a:r>
          </a:p>
        </p:txBody>
      </p:sp>
      <p:grpSp>
        <p:nvGrpSpPr>
          <p:cNvPr id="23" name="Group 22">
            <a:extLst>
              <a:ext uri="{FF2B5EF4-FFF2-40B4-BE49-F238E27FC236}">
                <a16:creationId xmlns:a16="http://schemas.microsoft.com/office/drawing/2014/main" id="{61A4A07A-057B-4007-859A-8CA4816440E5}"/>
              </a:ext>
            </a:extLst>
          </p:cNvPr>
          <p:cNvGrpSpPr/>
          <p:nvPr userDrawn="1"/>
        </p:nvGrpSpPr>
        <p:grpSpPr>
          <a:xfrm>
            <a:off x="360861" y="6131741"/>
            <a:ext cx="2663017" cy="634352"/>
            <a:chOff x="5628124" y="6298703"/>
            <a:chExt cx="1997263" cy="475764"/>
          </a:xfrm>
        </p:grpSpPr>
        <p:pic>
          <p:nvPicPr>
            <p:cNvPr id="24" name="Picture 23">
              <a:extLst>
                <a:ext uri="{FF2B5EF4-FFF2-40B4-BE49-F238E27FC236}">
                  <a16:creationId xmlns:a16="http://schemas.microsoft.com/office/drawing/2014/main" id="{826EDB9B-CB25-46AF-A5D9-F596F633A42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238104" y="6364180"/>
              <a:ext cx="777302" cy="344810"/>
            </a:xfrm>
            <a:prstGeom prst="rect">
              <a:avLst/>
            </a:prstGeom>
          </p:spPr>
        </p:pic>
        <p:pic>
          <p:nvPicPr>
            <p:cNvPr id="25" name="Picture 24">
              <a:extLst>
                <a:ext uri="{FF2B5EF4-FFF2-40B4-BE49-F238E27FC236}">
                  <a16:creationId xmlns:a16="http://schemas.microsoft.com/office/drawing/2014/main" id="{9DF36412-E4AE-4000-A28C-34C7D355C36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628124" y="6298703"/>
              <a:ext cx="475764" cy="475764"/>
            </a:xfrm>
            <a:prstGeom prst="rect">
              <a:avLst/>
            </a:prstGeom>
          </p:spPr>
        </p:pic>
        <p:pic>
          <p:nvPicPr>
            <p:cNvPr id="26" name="Picture 25">
              <a:extLst>
                <a:ext uri="{FF2B5EF4-FFF2-40B4-BE49-F238E27FC236}">
                  <a16:creationId xmlns:a16="http://schemas.microsoft.com/office/drawing/2014/main" id="{5B93E6BA-3435-41DB-AA66-995C3EFA0DB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149623" y="6298797"/>
              <a:ext cx="475764" cy="475577"/>
            </a:xfrm>
            <a:prstGeom prst="rect">
              <a:avLst/>
            </a:prstGeom>
          </p:spPr>
        </p:pic>
      </p:grpSp>
      <p:sp>
        <p:nvSpPr>
          <p:cNvPr id="16" name="Rectangle 15">
            <a:extLst>
              <a:ext uri="{FF2B5EF4-FFF2-40B4-BE49-F238E27FC236}">
                <a16:creationId xmlns:a16="http://schemas.microsoft.com/office/drawing/2014/main" id="{3EF9E6EE-11DF-4F80-8FED-B0BFB2A59E75}"/>
              </a:ext>
            </a:extLst>
          </p:cNvPr>
          <p:cNvSpPr/>
          <p:nvPr userDrawn="1"/>
        </p:nvSpPr>
        <p:spPr>
          <a:xfrm>
            <a:off x="5226959" y="6039030"/>
            <a:ext cx="1673856" cy="338554"/>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B050"/>
                </a:solidFill>
                <a:effectLst/>
                <a:uLnTx/>
                <a:uFillTx/>
                <a:latin typeface="+mn-lt"/>
                <a:ea typeface="+mn-ea"/>
                <a:cs typeface="+mn-cs"/>
              </a:rPr>
              <a:t>UNCLASSIFIED</a:t>
            </a:r>
          </a:p>
        </p:txBody>
      </p:sp>
    </p:spTree>
    <p:extLst>
      <p:ext uri="{BB962C8B-B14F-4D97-AF65-F5344CB8AC3E}">
        <p14:creationId xmlns:p14="http://schemas.microsoft.com/office/powerpoint/2010/main" val="35366600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733" b="1">
                <a:solidFill>
                  <a:srgbClr val="1F384F"/>
                </a:solidFill>
              </a:defRPr>
            </a:lvl1pPr>
          </a:lstStyle>
          <a:p>
            <a:r>
              <a:rPr lang="en-US" dirty="0"/>
              <a:t>Different title per slide, Arial 28 </a:t>
            </a:r>
            <a:r>
              <a:rPr lang="en-US" dirty="0" err="1"/>
              <a:t>pt</a:t>
            </a:r>
            <a:endParaRPr lang="en-US" dirty="0"/>
          </a:p>
        </p:txBody>
      </p:sp>
      <p:sp>
        <p:nvSpPr>
          <p:cNvPr id="3" name="Content Placeholder 2"/>
          <p:cNvSpPr>
            <a:spLocks noGrp="1"/>
          </p:cNvSpPr>
          <p:nvPr>
            <p:ph sz="half" idx="1"/>
          </p:nvPr>
        </p:nvSpPr>
        <p:spPr>
          <a:xfrm>
            <a:off x="609600" y="1498600"/>
            <a:ext cx="5384800" cy="4368800"/>
          </a:xfrm>
        </p:spPr>
        <p:txBody>
          <a:bodyPr/>
          <a:lstStyle>
            <a:lvl1pPr marL="457189" indent="-457189">
              <a:buFont typeface="Arial" panose="020B0604020202020204" pitchFamily="34" charset="0"/>
              <a:buChar char="•"/>
              <a:defRPr sz="2933">
                <a:solidFill>
                  <a:srgbClr val="1F384F"/>
                </a:solidFill>
              </a:defRPr>
            </a:lvl1pPr>
            <a:lvl2pPr marL="990575" indent="-380990">
              <a:buFont typeface="Wingdings" panose="05000000000000000000" pitchFamily="2" charset="2"/>
              <a:buChar char="§"/>
              <a:defRPr sz="2667">
                <a:solidFill>
                  <a:srgbClr val="1F384F"/>
                </a:solidFill>
              </a:defRPr>
            </a:lvl2pPr>
            <a:lvl3pPr marL="1523962" indent="-304792">
              <a:buFont typeface="Wingdings" panose="05000000000000000000" pitchFamily="2" charset="2"/>
              <a:buChar char="ü"/>
              <a:defRPr sz="2400">
                <a:solidFill>
                  <a:srgbClr val="1F384F"/>
                </a:solidFill>
              </a:defRPr>
            </a:lvl3pPr>
            <a:lvl4pPr>
              <a:defRPr sz="2400">
                <a:solidFill>
                  <a:srgbClr val="002060"/>
                </a:solidFill>
              </a:defRPr>
            </a:lvl4pPr>
            <a:lvl5pPr>
              <a:defRPr sz="2400">
                <a:solidFill>
                  <a:srgbClr val="002060"/>
                </a:solidFill>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6197600" y="1498600"/>
            <a:ext cx="5384800" cy="4368800"/>
          </a:xfrm>
        </p:spPr>
        <p:txBody>
          <a:bodyPr>
            <a:normAutofit/>
          </a:bodyPr>
          <a:lstStyle>
            <a:lvl1pPr marL="457189" indent="-457189" algn="l" defTabSz="1219170" rtl="0" eaLnBrk="1" latinLnBrk="0" hangingPunct="1">
              <a:spcBef>
                <a:spcPct val="20000"/>
              </a:spcBef>
              <a:buFont typeface="Arial" panose="020B0604020202020204" pitchFamily="34" charset="0"/>
              <a:buChar char="•"/>
              <a:defRPr lang="en-US" sz="2933" kern="1200" dirty="0" smtClean="0">
                <a:solidFill>
                  <a:srgbClr val="1F384F"/>
                </a:solidFill>
                <a:latin typeface="+mn-lt"/>
                <a:ea typeface="+mn-ea"/>
                <a:cs typeface="+mn-cs"/>
              </a:defRPr>
            </a:lvl1pPr>
            <a:lvl2pPr marL="1066773" indent="-457189" algn="l" defTabSz="1219170" rtl="0" eaLnBrk="1" latinLnBrk="0" hangingPunct="1">
              <a:spcBef>
                <a:spcPct val="20000"/>
              </a:spcBef>
              <a:buFont typeface="Wingdings" panose="05000000000000000000" pitchFamily="2" charset="2"/>
              <a:buChar char="§"/>
              <a:defRPr lang="en-US" sz="2667" kern="1200" dirty="0" smtClean="0">
                <a:solidFill>
                  <a:srgbClr val="1F384F"/>
                </a:solidFill>
                <a:latin typeface="+mn-lt"/>
                <a:ea typeface="+mn-ea"/>
                <a:cs typeface="+mn-cs"/>
              </a:defRPr>
            </a:lvl2pPr>
            <a:lvl3pPr marL="1523962" indent="-304792" algn="l" defTabSz="1219170" rtl="0" eaLnBrk="1" latinLnBrk="0" hangingPunct="1">
              <a:spcBef>
                <a:spcPct val="20000"/>
              </a:spcBef>
              <a:buFont typeface="Wingdings" panose="05000000000000000000" pitchFamily="2" charset="2"/>
              <a:buChar char="ü"/>
              <a:defRPr lang="en-US" sz="2400" kern="1200" dirty="0" smtClean="0">
                <a:solidFill>
                  <a:srgbClr val="1F384F"/>
                </a:solidFill>
                <a:latin typeface="+mn-lt"/>
                <a:ea typeface="+mn-ea"/>
                <a:cs typeface="+mn-cs"/>
              </a:defRPr>
            </a:lvl3pPr>
            <a:lvl4pPr>
              <a:defRPr sz="2400">
                <a:solidFill>
                  <a:srgbClr val="002060"/>
                </a:solidFill>
              </a:defRPr>
            </a:lvl4pPr>
            <a:lvl5pPr>
              <a:defRPr sz="2400">
                <a:solidFill>
                  <a:srgbClr val="002060"/>
                </a:solidFill>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p:txBody>
      </p:sp>
      <p:pic>
        <p:nvPicPr>
          <p:cNvPr id="13" name="Picture 12">
            <a:extLst>
              <a:ext uri="{FF2B5EF4-FFF2-40B4-BE49-F238E27FC236}">
                <a16:creationId xmlns:a16="http://schemas.microsoft.com/office/drawing/2014/main" id="{1D5DD791-FDC0-4A6E-AB51-7AE906335442}"/>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t="54427"/>
          <a:stretch/>
        </p:blipFill>
        <p:spPr>
          <a:xfrm>
            <a:off x="0" y="6021426"/>
            <a:ext cx="12192000" cy="836575"/>
          </a:xfrm>
          <a:prstGeom prst="rect">
            <a:avLst/>
          </a:prstGeom>
        </p:spPr>
      </p:pic>
      <p:sp>
        <p:nvSpPr>
          <p:cNvPr id="14" name="Rectangle 13">
            <a:extLst>
              <a:ext uri="{FF2B5EF4-FFF2-40B4-BE49-F238E27FC236}">
                <a16:creationId xmlns:a16="http://schemas.microsoft.com/office/drawing/2014/main" id="{103AB6A3-D86E-49F6-9956-ED7CB3950D22}"/>
              </a:ext>
            </a:extLst>
          </p:cNvPr>
          <p:cNvSpPr/>
          <p:nvPr userDrawn="1"/>
        </p:nvSpPr>
        <p:spPr>
          <a:xfrm>
            <a:off x="-1" y="5943479"/>
            <a:ext cx="12191999" cy="81279"/>
          </a:xfrm>
          <a:prstGeom prst="rect">
            <a:avLst/>
          </a:prstGeom>
          <a:solidFill>
            <a:srgbClr val="4374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5" name="Slide Number Placeholder 5">
            <a:extLst>
              <a:ext uri="{FF2B5EF4-FFF2-40B4-BE49-F238E27FC236}">
                <a16:creationId xmlns:a16="http://schemas.microsoft.com/office/drawing/2014/main" id="{6F9674AF-2281-4FB3-A786-DE003AF5E850}"/>
              </a:ext>
            </a:extLst>
          </p:cNvPr>
          <p:cNvSpPr txBox="1">
            <a:spLocks/>
          </p:cNvSpPr>
          <p:nvPr userDrawn="1"/>
        </p:nvSpPr>
        <p:spPr>
          <a:xfrm>
            <a:off x="11082032" y="6301661"/>
            <a:ext cx="711200" cy="259316"/>
          </a:xfrm>
          <a:prstGeom prst="rect">
            <a:avLst/>
          </a:prstGeom>
        </p:spPr>
        <p:txBody>
          <a:bodyPr vert="horz" lIns="121920" tIns="60960" rIns="121920" bIns="60960" rtlCol="0" anchor="ctr"/>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42887B0-FCD4-4866-A7DB-E793BE0C00E7}" type="slidenum">
              <a:rPr lang="en-US" sz="1333" smtClean="0">
                <a:solidFill>
                  <a:srgbClr val="1F384F"/>
                </a:solidFill>
              </a:rPr>
              <a:t>‹#›</a:t>
            </a:fld>
            <a:endParaRPr lang="en-US" sz="1333" dirty="0">
              <a:solidFill>
                <a:srgbClr val="1F384F"/>
              </a:solidFill>
            </a:endParaRPr>
          </a:p>
        </p:txBody>
      </p:sp>
      <p:sp>
        <p:nvSpPr>
          <p:cNvPr id="16" name="TextBox 15">
            <a:extLst>
              <a:ext uri="{FF2B5EF4-FFF2-40B4-BE49-F238E27FC236}">
                <a16:creationId xmlns:a16="http://schemas.microsoft.com/office/drawing/2014/main" id="{6ED80EB8-75FF-40DD-A0C2-C6E984D34C4B}"/>
              </a:ext>
            </a:extLst>
          </p:cNvPr>
          <p:cNvSpPr txBox="1"/>
          <p:nvPr userDrawn="1"/>
        </p:nvSpPr>
        <p:spPr>
          <a:xfrm>
            <a:off x="4465604" y="6339712"/>
            <a:ext cx="3307071" cy="221265"/>
          </a:xfrm>
          <a:prstGeom prst="rect">
            <a:avLst/>
          </a:prstGeom>
          <a:noFill/>
        </p:spPr>
        <p:txBody>
          <a:bodyPr wrap="square"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2133" b="0" i="1" u="none" strike="noStrike" kern="1200" baseline="30000" dirty="0">
                <a:solidFill>
                  <a:srgbClr val="1F384F"/>
                </a:solidFill>
                <a:latin typeface="+mn-lt"/>
                <a:ea typeface="+mn-ea"/>
                <a:cs typeface="+mn-cs"/>
              </a:rPr>
              <a:t>Saving Lives. Protecting Americans.</a:t>
            </a:r>
            <a:endParaRPr lang="en-US" sz="2400" dirty="0">
              <a:solidFill>
                <a:srgbClr val="1F384F"/>
              </a:solidFill>
            </a:endParaRPr>
          </a:p>
        </p:txBody>
      </p:sp>
      <p:grpSp>
        <p:nvGrpSpPr>
          <p:cNvPr id="17" name="Group 16">
            <a:extLst>
              <a:ext uri="{FF2B5EF4-FFF2-40B4-BE49-F238E27FC236}">
                <a16:creationId xmlns:a16="http://schemas.microsoft.com/office/drawing/2014/main" id="{DCB25804-8B51-4EEA-893F-013733650399}"/>
              </a:ext>
            </a:extLst>
          </p:cNvPr>
          <p:cNvGrpSpPr/>
          <p:nvPr userDrawn="1"/>
        </p:nvGrpSpPr>
        <p:grpSpPr>
          <a:xfrm>
            <a:off x="360861" y="6131741"/>
            <a:ext cx="2663017" cy="634352"/>
            <a:chOff x="5628124" y="6298703"/>
            <a:chExt cx="1997263" cy="475764"/>
          </a:xfrm>
        </p:grpSpPr>
        <p:pic>
          <p:nvPicPr>
            <p:cNvPr id="18" name="Picture 17">
              <a:extLst>
                <a:ext uri="{FF2B5EF4-FFF2-40B4-BE49-F238E27FC236}">
                  <a16:creationId xmlns:a16="http://schemas.microsoft.com/office/drawing/2014/main" id="{DF15BA24-23C1-469A-A38A-0338B16D28F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238104" y="6364180"/>
              <a:ext cx="777302" cy="344810"/>
            </a:xfrm>
            <a:prstGeom prst="rect">
              <a:avLst/>
            </a:prstGeom>
          </p:spPr>
        </p:pic>
        <p:pic>
          <p:nvPicPr>
            <p:cNvPr id="19" name="Picture 18">
              <a:extLst>
                <a:ext uri="{FF2B5EF4-FFF2-40B4-BE49-F238E27FC236}">
                  <a16:creationId xmlns:a16="http://schemas.microsoft.com/office/drawing/2014/main" id="{621A22CF-C076-42A7-BCEC-7C65099EBCB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628124" y="6298703"/>
              <a:ext cx="475764" cy="475764"/>
            </a:xfrm>
            <a:prstGeom prst="rect">
              <a:avLst/>
            </a:prstGeom>
          </p:spPr>
        </p:pic>
        <p:pic>
          <p:nvPicPr>
            <p:cNvPr id="20" name="Picture 19">
              <a:extLst>
                <a:ext uri="{FF2B5EF4-FFF2-40B4-BE49-F238E27FC236}">
                  <a16:creationId xmlns:a16="http://schemas.microsoft.com/office/drawing/2014/main" id="{A5A3B91F-AB50-4F17-BFE1-500CB2E4BA0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149623" y="6298797"/>
              <a:ext cx="475764" cy="475577"/>
            </a:xfrm>
            <a:prstGeom prst="rect">
              <a:avLst/>
            </a:prstGeom>
          </p:spPr>
        </p:pic>
      </p:grpSp>
      <p:sp>
        <p:nvSpPr>
          <p:cNvPr id="21" name="Rectangle 20">
            <a:extLst>
              <a:ext uri="{FF2B5EF4-FFF2-40B4-BE49-F238E27FC236}">
                <a16:creationId xmlns:a16="http://schemas.microsoft.com/office/drawing/2014/main" id="{3EF9E6EE-11DF-4F80-8FED-B0BFB2A59E75}"/>
              </a:ext>
            </a:extLst>
          </p:cNvPr>
          <p:cNvSpPr/>
          <p:nvPr userDrawn="1"/>
        </p:nvSpPr>
        <p:spPr>
          <a:xfrm>
            <a:off x="5226959" y="6039030"/>
            <a:ext cx="1673856" cy="338554"/>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B050"/>
                </a:solidFill>
                <a:effectLst/>
                <a:uLnTx/>
                <a:uFillTx/>
                <a:latin typeface="+mn-lt"/>
                <a:ea typeface="+mn-ea"/>
                <a:cs typeface="+mn-cs"/>
              </a:rPr>
              <a:t>UNCLASSIFIED</a:t>
            </a:r>
          </a:p>
        </p:txBody>
      </p:sp>
    </p:spTree>
    <p:extLst>
      <p:ext uri="{BB962C8B-B14F-4D97-AF65-F5344CB8AC3E}">
        <p14:creationId xmlns:p14="http://schemas.microsoft.com/office/powerpoint/2010/main" val="1538819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733" b="1">
                <a:solidFill>
                  <a:srgbClr val="1F384F"/>
                </a:solidFill>
              </a:defRPr>
            </a:lvl1pPr>
          </a:lstStyle>
          <a:p>
            <a:r>
              <a:rPr lang="en-US" dirty="0"/>
              <a:t>Different title per slide, Arial 28 </a:t>
            </a:r>
            <a:r>
              <a:rPr lang="en-US" dirty="0" err="1"/>
              <a:t>pt</a:t>
            </a:r>
            <a:endParaRPr lang="en-US" dirty="0"/>
          </a:p>
        </p:txBody>
      </p:sp>
      <p:pic>
        <p:nvPicPr>
          <p:cNvPr id="11" name="Picture 10">
            <a:extLst>
              <a:ext uri="{FF2B5EF4-FFF2-40B4-BE49-F238E27FC236}">
                <a16:creationId xmlns:a16="http://schemas.microsoft.com/office/drawing/2014/main" id="{3FEDAC3F-2E57-4668-B48B-53F3358AFC36}"/>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t="54427"/>
          <a:stretch/>
        </p:blipFill>
        <p:spPr>
          <a:xfrm>
            <a:off x="0" y="6021426"/>
            <a:ext cx="12192000" cy="836575"/>
          </a:xfrm>
          <a:prstGeom prst="rect">
            <a:avLst/>
          </a:prstGeom>
        </p:spPr>
      </p:pic>
      <p:sp>
        <p:nvSpPr>
          <p:cNvPr id="12" name="Rectangle 11">
            <a:extLst>
              <a:ext uri="{FF2B5EF4-FFF2-40B4-BE49-F238E27FC236}">
                <a16:creationId xmlns:a16="http://schemas.microsoft.com/office/drawing/2014/main" id="{394BD403-5A8D-43B4-803E-03248653C40B}"/>
              </a:ext>
            </a:extLst>
          </p:cNvPr>
          <p:cNvSpPr/>
          <p:nvPr userDrawn="1"/>
        </p:nvSpPr>
        <p:spPr>
          <a:xfrm>
            <a:off x="-1" y="5943479"/>
            <a:ext cx="12191999" cy="81279"/>
          </a:xfrm>
          <a:prstGeom prst="rect">
            <a:avLst/>
          </a:prstGeom>
          <a:solidFill>
            <a:srgbClr val="4374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3" name="Slide Number Placeholder 5">
            <a:extLst>
              <a:ext uri="{FF2B5EF4-FFF2-40B4-BE49-F238E27FC236}">
                <a16:creationId xmlns:a16="http://schemas.microsoft.com/office/drawing/2014/main" id="{A9E7254E-F137-4325-8F4A-E350B74494CF}"/>
              </a:ext>
            </a:extLst>
          </p:cNvPr>
          <p:cNvSpPr txBox="1">
            <a:spLocks/>
          </p:cNvSpPr>
          <p:nvPr userDrawn="1"/>
        </p:nvSpPr>
        <p:spPr>
          <a:xfrm>
            <a:off x="11082032" y="6301661"/>
            <a:ext cx="711200" cy="259316"/>
          </a:xfrm>
          <a:prstGeom prst="rect">
            <a:avLst/>
          </a:prstGeom>
        </p:spPr>
        <p:txBody>
          <a:bodyPr vert="horz" lIns="121920" tIns="60960" rIns="121920" bIns="60960" rtlCol="0" anchor="ctr"/>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42887B0-FCD4-4866-A7DB-E793BE0C00E7}" type="slidenum">
              <a:rPr lang="en-US" sz="1333" smtClean="0">
                <a:solidFill>
                  <a:srgbClr val="1F384F"/>
                </a:solidFill>
              </a:rPr>
              <a:t>‹#›</a:t>
            </a:fld>
            <a:endParaRPr lang="en-US" sz="1333" dirty="0">
              <a:solidFill>
                <a:srgbClr val="1F384F"/>
              </a:solidFill>
            </a:endParaRPr>
          </a:p>
        </p:txBody>
      </p:sp>
      <p:sp>
        <p:nvSpPr>
          <p:cNvPr id="14" name="TextBox 13">
            <a:extLst>
              <a:ext uri="{FF2B5EF4-FFF2-40B4-BE49-F238E27FC236}">
                <a16:creationId xmlns:a16="http://schemas.microsoft.com/office/drawing/2014/main" id="{01A3317F-9E19-4EBC-915C-C972028B371C}"/>
              </a:ext>
            </a:extLst>
          </p:cNvPr>
          <p:cNvSpPr txBox="1"/>
          <p:nvPr userDrawn="1"/>
        </p:nvSpPr>
        <p:spPr>
          <a:xfrm>
            <a:off x="4465604" y="6339712"/>
            <a:ext cx="3307071" cy="221265"/>
          </a:xfrm>
          <a:prstGeom prst="rect">
            <a:avLst/>
          </a:prstGeom>
          <a:noFill/>
        </p:spPr>
        <p:txBody>
          <a:bodyPr wrap="square"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2133" b="0" i="1" u="none" strike="noStrike" kern="1200" baseline="30000" dirty="0">
                <a:solidFill>
                  <a:srgbClr val="1F384F"/>
                </a:solidFill>
                <a:latin typeface="+mn-lt"/>
                <a:ea typeface="+mn-ea"/>
                <a:cs typeface="+mn-cs"/>
              </a:rPr>
              <a:t>Saving Lives. Protecting Americans.</a:t>
            </a:r>
            <a:endParaRPr lang="en-US" sz="2400" dirty="0">
              <a:solidFill>
                <a:srgbClr val="1F384F"/>
              </a:solidFill>
            </a:endParaRPr>
          </a:p>
        </p:txBody>
      </p:sp>
      <p:grpSp>
        <p:nvGrpSpPr>
          <p:cNvPr id="15" name="Group 14">
            <a:extLst>
              <a:ext uri="{FF2B5EF4-FFF2-40B4-BE49-F238E27FC236}">
                <a16:creationId xmlns:a16="http://schemas.microsoft.com/office/drawing/2014/main" id="{E6789AFD-B21B-4CD9-86FD-70831196B8E2}"/>
              </a:ext>
            </a:extLst>
          </p:cNvPr>
          <p:cNvGrpSpPr/>
          <p:nvPr userDrawn="1"/>
        </p:nvGrpSpPr>
        <p:grpSpPr>
          <a:xfrm>
            <a:off x="360861" y="6131741"/>
            <a:ext cx="2663017" cy="634352"/>
            <a:chOff x="5628124" y="6298703"/>
            <a:chExt cx="1997263" cy="475764"/>
          </a:xfrm>
        </p:grpSpPr>
        <p:pic>
          <p:nvPicPr>
            <p:cNvPr id="16" name="Picture 15">
              <a:extLst>
                <a:ext uri="{FF2B5EF4-FFF2-40B4-BE49-F238E27FC236}">
                  <a16:creationId xmlns:a16="http://schemas.microsoft.com/office/drawing/2014/main" id="{E1CBA060-40D8-4453-8F31-A085E508B6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238104" y="6364180"/>
              <a:ext cx="777302" cy="344810"/>
            </a:xfrm>
            <a:prstGeom prst="rect">
              <a:avLst/>
            </a:prstGeom>
          </p:spPr>
        </p:pic>
        <p:pic>
          <p:nvPicPr>
            <p:cNvPr id="17" name="Picture 16">
              <a:extLst>
                <a:ext uri="{FF2B5EF4-FFF2-40B4-BE49-F238E27FC236}">
                  <a16:creationId xmlns:a16="http://schemas.microsoft.com/office/drawing/2014/main" id="{6799FA46-ABF5-40BE-86AE-1DFDE553994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628124" y="6298703"/>
              <a:ext cx="475764" cy="475764"/>
            </a:xfrm>
            <a:prstGeom prst="rect">
              <a:avLst/>
            </a:prstGeom>
          </p:spPr>
        </p:pic>
        <p:pic>
          <p:nvPicPr>
            <p:cNvPr id="18" name="Picture 17">
              <a:extLst>
                <a:ext uri="{FF2B5EF4-FFF2-40B4-BE49-F238E27FC236}">
                  <a16:creationId xmlns:a16="http://schemas.microsoft.com/office/drawing/2014/main" id="{FE9A0FBF-427B-4D75-81A2-8402202576D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149623" y="6298797"/>
              <a:ext cx="475764" cy="475577"/>
            </a:xfrm>
            <a:prstGeom prst="rect">
              <a:avLst/>
            </a:prstGeom>
          </p:spPr>
        </p:pic>
      </p:grpSp>
      <p:sp>
        <p:nvSpPr>
          <p:cNvPr id="19" name="Rectangle 18">
            <a:extLst>
              <a:ext uri="{FF2B5EF4-FFF2-40B4-BE49-F238E27FC236}">
                <a16:creationId xmlns:a16="http://schemas.microsoft.com/office/drawing/2014/main" id="{3EF9E6EE-11DF-4F80-8FED-B0BFB2A59E75}"/>
              </a:ext>
            </a:extLst>
          </p:cNvPr>
          <p:cNvSpPr/>
          <p:nvPr userDrawn="1"/>
        </p:nvSpPr>
        <p:spPr>
          <a:xfrm>
            <a:off x="5226959" y="6039030"/>
            <a:ext cx="1673856" cy="338554"/>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B050"/>
                </a:solidFill>
                <a:effectLst/>
                <a:uLnTx/>
                <a:uFillTx/>
                <a:latin typeface="+mn-lt"/>
                <a:ea typeface="+mn-ea"/>
                <a:cs typeface="+mn-cs"/>
              </a:rPr>
              <a:t>UNCLASSIFIED</a:t>
            </a:r>
          </a:p>
        </p:txBody>
      </p:sp>
    </p:spTree>
    <p:extLst>
      <p:ext uri="{BB962C8B-B14F-4D97-AF65-F5344CB8AC3E}">
        <p14:creationId xmlns:p14="http://schemas.microsoft.com/office/powerpoint/2010/main" val="39007163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3B7AF1A-E94C-47E8-B035-EBC22D3C404E}"/>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t="54427"/>
          <a:stretch/>
        </p:blipFill>
        <p:spPr>
          <a:xfrm>
            <a:off x="0" y="6021426"/>
            <a:ext cx="12192000" cy="836575"/>
          </a:xfrm>
          <a:prstGeom prst="rect">
            <a:avLst/>
          </a:prstGeom>
        </p:spPr>
      </p:pic>
      <p:sp>
        <p:nvSpPr>
          <p:cNvPr id="11" name="Rectangle 10">
            <a:extLst>
              <a:ext uri="{FF2B5EF4-FFF2-40B4-BE49-F238E27FC236}">
                <a16:creationId xmlns:a16="http://schemas.microsoft.com/office/drawing/2014/main" id="{F96399F0-E02C-4218-AE76-89EBC6A29CCE}"/>
              </a:ext>
            </a:extLst>
          </p:cNvPr>
          <p:cNvSpPr/>
          <p:nvPr userDrawn="1"/>
        </p:nvSpPr>
        <p:spPr>
          <a:xfrm>
            <a:off x="-1" y="5943479"/>
            <a:ext cx="12191999" cy="81279"/>
          </a:xfrm>
          <a:prstGeom prst="rect">
            <a:avLst/>
          </a:prstGeom>
          <a:solidFill>
            <a:srgbClr val="4374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2" name="Slide Number Placeholder 5">
            <a:extLst>
              <a:ext uri="{FF2B5EF4-FFF2-40B4-BE49-F238E27FC236}">
                <a16:creationId xmlns:a16="http://schemas.microsoft.com/office/drawing/2014/main" id="{E837B0B9-03A7-4CCC-8D40-2973DE1AA228}"/>
              </a:ext>
            </a:extLst>
          </p:cNvPr>
          <p:cNvSpPr txBox="1">
            <a:spLocks/>
          </p:cNvSpPr>
          <p:nvPr userDrawn="1"/>
        </p:nvSpPr>
        <p:spPr>
          <a:xfrm>
            <a:off x="11082032" y="6301661"/>
            <a:ext cx="711200" cy="259316"/>
          </a:xfrm>
          <a:prstGeom prst="rect">
            <a:avLst/>
          </a:prstGeom>
        </p:spPr>
        <p:txBody>
          <a:bodyPr vert="horz" lIns="121920" tIns="60960" rIns="121920" bIns="60960" rtlCol="0" anchor="ctr"/>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42887B0-FCD4-4866-A7DB-E793BE0C00E7}" type="slidenum">
              <a:rPr lang="en-US" sz="1333" smtClean="0">
                <a:solidFill>
                  <a:srgbClr val="1F384F"/>
                </a:solidFill>
              </a:rPr>
              <a:t>‹#›</a:t>
            </a:fld>
            <a:endParaRPr lang="en-US" sz="1333" dirty="0">
              <a:solidFill>
                <a:srgbClr val="1F384F"/>
              </a:solidFill>
            </a:endParaRPr>
          </a:p>
        </p:txBody>
      </p:sp>
      <p:sp>
        <p:nvSpPr>
          <p:cNvPr id="13" name="TextBox 12">
            <a:extLst>
              <a:ext uri="{FF2B5EF4-FFF2-40B4-BE49-F238E27FC236}">
                <a16:creationId xmlns:a16="http://schemas.microsoft.com/office/drawing/2014/main" id="{7A5229C7-4135-44CB-9E3E-27AE05C83B51}"/>
              </a:ext>
            </a:extLst>
          </p:cNvPr>
          <p:cNvSpPr txBox="1"/>
          <p:nvPr userDrawn="1"/>
        </p:nvSpPr>
        <p:spPr>
          <a:xfrm>
            <a:off x="4465604" y="6339712"/>
            <a:ext cx="3307071" cy="221265"/>
          </a:xfrm>
          <a:prstGeom prst="rect">
            <a:avLst/>
          </a:prstGeom>
          <a:noFill/>
        </p:spPr>
        <p:txBody>
          <a:bodyPr wrap="square"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2133" b="0" i="1" u="none" strike="noStrike" kern="1200" baseline="30000" dirty="0">
                <a:solidFill>
                  <a:srgbClr val="1F384F"/>
                </a:solidFill>
                <a:latin typeface="+mn-lt"/>
                <a:ea typeface="+mn-ea"/>
                <a:cs typeface="+mn-cs"/>
              </a:rPr>
              <a:t>Saving Lives. Protecting Americans.</a:t>
            </a:r>
            <a:endParaRPr lang="en-US" sz="2400" dirty="0">
              <a:solidFill>
                <a:srgbClr val="1F384F"/>
              </a:solidFill>
            </a:endParaRPr>
          </a:p>
        </p:txBody>
      </p:sp>
      <p:grpSp>
        <p:nvGrpSpPr>
          <p:cNvPr id="14" name="Group 13">
            <a:extLst>
              <a:ext uri="{FF2B5EF4-FFF2-40B4-BE49-F238E27FC236}">
                <a16:creationId xmlns:a16="http://schemas.microsoft.com/office/drawing/2014/main" id="{F7A00FE3-59F3-4863-8964-69799F1A0F54}"/>
              </a:ext>
            </a:extLst>
          </p:cNvPr>
          <p:cNvGrpSpPr/>
          <p:nvPr userDrawn="1"/>
        </p:nvGrpSpPr>
        <p:grpSpPr>
          <a:xfrm>
            <a:off x="360861" y="6131741"/>
            <a:ext cx="2663017" cy="634352"/>
            <a:chOff x="5628124" y="6298703"/>
            <a:chExt cx="1997263" cy="475764"/>
          </a:xfrm>
        </p:grpSpPr>
        <p:pic>
          <p:nvPicPr>
            <p:cNvPr id="15" name="Picture 14">
              <a:extLst>
                <a:ext uri="{FF2B5EF4-FFF2-40B4-BE49-F238E27FC236}">
                  <a16:creationId xmlns:a16="http://schemas.microsoft.com/office/drawing/2014/main" id="{4A2FBB0D-691C-4955-AD1A-65F4751A68E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238104" y="6364180"/>
              <a:ext cx="777302" cy="344810"/>
            </a:xfrm>
            <a:prstGeom prst="rect">
              <a:avLst/>
            </a:prstGeom>
          </p:spPr>
        </p:pic>
        <p:pic>
          <p:nvPicPr>
            <p:cNvPr id="16" name="Picture 15">
              <a:extLst>
                <a:ext uri="{FF2B5EF4-FFF2-40B4-BE49-F238E27FC236}">
                  <a16:creationId xmlns:a16="http://schemas.microsoft.com/office/drawing/2014/main" id="{2D1C053F-8C5F-45BB-84C9-1BFEEB52F5C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628124" y="6298703"/>
              <a:ext cx="475764" cy="475764"/>
            </a:xfrm>
            <a:prstGeom prst="rect">
              <a:avLst/>
            </a:prstGeom>
          </p:spPr>
        </p:pic>
        <p:pic>
          <p:nvPicPr>
            <p:cNvPr id="17" name="Picture 16">
              <a:extLst>
                <a:ext uri="{FF2B5EF4-FFF2-40B4-BE49-F238E27FC236}">
                  <a16:creationId xmlns:a16="http://schemas.microsoft.com/office/drawing/2014/main" id="{16F115E2-5EE0-407B-80E5-5EBCA5DE713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149623" y="6298797"/>
              <a:ext cx="475764" cy="475577"/>
            </a:xfrm>
            <a:prstGeom prst="rect">
              <a:avLst/>
            </a:prstGeom>
          </p:spPr>
        </p:pic>
      </p:grpSp>
      <p:sp>
        <p:nvSpPr>
          <p:cNvPr id="18" name="Rectangle 17">
            <a:extLst>
              <a:ext uri="{FF2B5EF4-FFF2-40B4-BE49-F238E27FC236}">
                <a16:creationId xmlns:a16="http://schemas.microsoft.com/office/drawing/2014/main" id="{3EF9E6EE-11DF-4F80-8FED-B0BFB2A59E75}"/>
              </a:ext>
            </a:extLst>
          </p:cNvPr>
          <p:cNvSpPr/>
          <p:nvPr userDrawn="1"/>
        </p:nvSpPr>
        <p:spPr>
          <a:xfrm>
            <a:off x="5226959" y="6039030"/>
            <a:ext cx="1673856" cy="338554"/>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B050"/>
                </a:solidFill>
                <a:effectLst/>
                <a:uLnTx/>
                <a:uFillTx/>
                <a:latin typeface="+mn-lt"/>
                <a:ea typeface="+mn-ea"/>
                <a:cs typeface="+mn-cs"/>
              </a:rPr>
              <a:t>UNCLASSIFIED</a:t>
            </a:r>
          </a:p>
        </p:txBody>
      </p:sp>
    </p:spTree>
    <p:extLst>
      <p:ext uri="{BB962C8B-B14F-4D97-AF65-F5344CB8AC3E}">
        <p14:creationId xmlns:p14="http://schemas.microsoft.com/office/powerpoint/2010/main" val="39252034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umper Slide">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C53BF8-36EB-4AB1-9F26-08E88A331C8A}"/>
              </a:ext>
            </a:extLst>
          </p:cNvPr>
          <p:cNvSpPr/>
          <p:nvPr userDrawn="1"/>
        </p:nvSpPr>
        <p:spPr>
          <a:xfrm>
            <a:off x="-3" y="0"/>
            <a:ext cx="12192001" cy="6858000"/>
          </a:xfrm>
          <a:prstGeom prst="rect">
            <a:avLst/>
          </a:prstGeom>
          <a:gradFill>
            <a:gsLst>
              <a:gs pos="0">
                <a:srgbClr val="EDEDED"/>
              </a:gs>
              <a:gs pos="100000">
                <a:srgbClr val="FBFBFB"/>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16" name="Picture 15">
            <a:extLst>
              <a:ext uri="{FF2B5EF4-FFF2-40B4-BE49-F238E27FC236}">
                <a16:creationId xmlns:a16="http://schemas.microsoft.com/office/drawing/2014/main" id="{F6055F5B-5CC4-4CC9-9958-BAB75816F4D0}"/>
              </a:ext>
            </a:extLst>
          </p:cNvPr>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t="-10122" b="1"/>
          <a:stretch/>
        </p:blipFill>
        <p:spPr>
          <a:xfrm>
            <a:off x="0" y="4837789"/>
            <a:ext cx="12192000" cy="2021475"/>
          </a:xfrm>
          <a:prstGeom prst="rect">
            <a:avLst/>
          </a:prstGeom>
        </p:spPr>
      </p:pic>
      <p:sp>
        <p:nvSpPr>
          <p:cNvPr id="7" name="Title 1">
            <a:extLst>
              <a:ext uri="{FF2B5EF4-FFF2-40B4-BE49-F238E27FC236}">
                <a16:creationId xmlns:a16="http://schemas.microsoft.com/office/drawing/2014/main" id="{8007E78D-EF70-41CC-AB99-8DD4372094BB}"/>
              </a:ext>
            </a:extLst>
          </p:cNvPr>
          <p:cNvSpPr txBox="1">
            <a:spLocks/>
          </p:cNvSpPr>
          <p:nvPr userDrawn="1"/>
        </p:nvSpPr>
        <p:spPr>
          <a:xfrm>
            <a:off x="3843867" y="3514588"/>
            <a:ext cx="7929467" cy="697403"/>
          </a:xfrm>
          <a:prstGeom prst="rect">
            <a:avLst/>
          </a:prstGeom>
          <a:effectLst/>
        </p:spPr>
        <p:txBody>
          <a:bodyPr vert="horz" lIns="121920" tIns="60960" rIns="121920" bIns="60960" rtlCol="0" anchor="t">
            <a:noAutofit/>
          </a:bodyPr>
          <a:lstStyle>
            <a:lvl1pPr algn="r" defTabSz="914400" rtl="0" eaLnBrk="1" latinLnBrk="0" hangingPunct="1">
              <a:lnSpc>
                <a:spcPct val="90000"/>
              </a:lnSpc>
              <a:spcBef>
                <a:spcPct val="0"/>
              </a:spcBef>
              <a:buNone/>
              <a:defRPr sz="4000" b="1" kern="1200">
                <a:solidFill>
                  <a:schemeClr val="tx1"/>
                </a:solidFill>
                <a:latin typeface="Arial" panose="020B0604020202020204" pitchFamily="34" charset="0"/>
                <a:ea typeface="+mj-ea"/>
                <a:cs typeface="Arial" panose="020B0604020202020204" pitchFamily="34" charset="0"/>
              </a:defRPr>
            </a:lvl1pPr>
          </a:lstStyle>
          <a:p>
            <a:pPr algn="ctr"/>
            <a:r>
              <a:rPr lang="en-US" sz="3200" b="0" dirty="0">
                <a:solidFill>
                  <a:schemeClr val="tx1"/>
                </a:solidFill>
                <a:effectLst/>
              </a:rPr>
              <a:t>October 15-16, 2019</a:t>
            </a:r>
            <a:endParaRPr lang="en-US" sz="7200" b="0" dirty="0">
              <a:solidFill>
                <a:schemeClr val="tx1"/>
              </a:solidFill>
              <a:effectLst/>
            </a:endParaRPr>
          </a:p>
        </p:txBody>
      </p:sp>
      <p:grpSp>
        <p:nvGrpSpPr>
          <p:cNvPr id="8" name="Group 7">
            <a:extLst>
              <a:ext uri="{FF2B5EF4-FFF2-40B4-BE49-F238E27FC236}">
                <a16:creationId xmlns:a16="http://schemas.microsoft.com/office/drawing/2014/main" id="{943E8BC6-BEAC-4C97-BF54-A4DCA02955AB}"/>
              </a:ext>
            </a:extLst>
          </p:cNvPr>
          <p:cNvGrpSpPr/>
          <p:nvPr userDrawn="1"/>
        </p:nvGrpSpPr>
        <p:grpSpPr>
          <a:xfrm>
            <a:off x="3538472" y="5423565"/>
            <a:ext cx="5115056" cy="1218448"/>
            <a:chOff x="6378102" y="6299745"/>
            <a:chExt cx="1997263" cy="475764"/>
          </a:xfrm>
        </p:grpSpPr>
        <p:pic>
          <p:nvPicPr>
            <p:cNvPr id="9" name="Picture 8">
              <a:extLst>
                <a:ext uri="{FF2B5EF4-FFF2-40B4-BE49-F238E27FC236}">
                  <a16:creationId xmlns:a16="http://schemas.microsoft.com/office/drawing/2014/main" id="{4139DE61-B02D-45A4-839E-448036723B4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988082" y="6365222"/>
              <a:ext cx="777302" cy="344810"/>
            </a:xfrm>
            <a:prstGeom prst="rect">
              <a:avLst/>
            </a:prstGeom>
            <a:ln>
              <a:noFill/>
            </a:ln>
            <a:effectLst/>
          </p:spPr>
        </p:pic>
        <p:pic>
          <p:nvPicPr>
            <p:cNvPr id="10" name="Picture 9">
              <a:extLst>
                <a:ext uri="{FF2B5EF4-FFF2-40B4-BE49-F238E27FC236}">
                  <a16:creationId xmlns:a16="http://schemas.microsoft.com/office/drawing/2014/main" id="{BCCA437A-679C-4E90-87EE-46F67E8D7BA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378102" y="6299745"/>
              <a:ext cx="475764" cy="475764"/>
            </a:xfrm>
            <a:prstGeom prst="rect">
              <a:avLst/>
            </a:prstGeom>
            <a:ln>
              <a:noFill/>
            </a:ln>
            <a:effectLst/>
          </p:spPr>
        </p:pic>
        <p:pic>
          <p:nvPicPr>
            <p:cNvPr id="11" name="Picture 10">
              <a:extLst>
                <a:ext uri="{FF2B5EF4-FFF2-40B4-BE49-F238E27FC236}">
                  <a16:creationId xmlns:a16="http://schemas.microsoft.com/office/drawing/2014/main" id="{DB28C6A0-7113-41B0-AA39-8212B2C1929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899601" y="6299839"/>
              <a:ext cx="475764" cy="475577"/>
            </a:xfrm>
            <a:prstGeom prst="rect">
              <a:avLst/>
            </a:prstGeom>
            <a:ln>
              <a:noFill/>
            </a:ln>
            <a:effectLst/>
          </p:spPr>
        </p:pic>
      </p:grpSp>
      <p:grpSp>
        <p:nvGrpSpPr>
          <p:cNvPr id="12" name="Group 11">
            <a:extLst>
              <a:ext uri="{FF2B5EF4-FFF2-40B4-BE49-F238E27FC236}">
                <a16:creationId xmlns:a16="http://schemas.microsoft.com/office/drawing/2014/main" id="{919B33B7-AC7E-4FC8-B3F2-B534BFAD5519}"/>
              </a:ext>
            </a:extLst>
          </p:cNvPr>
          <p:cNvGrpSpPr/>
          <p:nvPr userDrawn="1"/>
        </p:nvGrpSpPr>
        <p:grpSpPr>
          <a:xfrm>
            <a:off x="-1" y="4156568"/>
            <a:ext cx="12192001" cy="1024469"/>
            <a:chOff x="-1" y="3441633"/>
            <a:chExt cx="9144001" cy="768352"/>
          </a:xfrm>
        </p:grpSpPr>
        <p:sp>
          <p:nvSpPr>
            <p:cNvPr id="13" name="Rectangle 12">
              <a:extLst>
                <a:ext uri="{FF2B5EF4-FFF2-40B4-BE49-F238E27FC236}">
                  <a16:creationId xmlns:a16="http://schemas.microsoft.com/office/drawing/2014/main" id="{8F9FBF2C-4A80-4970-A084-C6864BEF244A}"/>
                </a:ext>
              </a:extLst>
            </p:cNvPr>
            <p:cNvSpPr/>
            <p:nvPr userDrawn="1"/>
          </p:nvSpPr>
          <p:spPr>
            <a:xfrm>
              <a:off x="0" y="3442287"/>
              <a:ext cx="9144000" cy="767698"/>
            </a:xfrm>
            <a:prstGeom prst="rect">
              <a:avLst/>
            </a:prstGeom>
            <a:solidFill>
              <a:srgbClr val="20384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dirty="0">
                  <a:solidFill>
                    <a:schemeClr val="bg1"/>
                  </a:solidFill>
                  <a:effectLst/>
                  <a:latin typeface="Arial" panose="020B0604020202020204" pitchFamily="34" charset="0"/>
                  <a:cs typeface="Arial" panose="020B0604020202020204" pitchFamily="34" charset="0"/>
                </a:rPr>
                <a:t>Tagline Here</a:t>
              </a:r>
            </a:p>
          </p:txBody>
        </p:sp>
        <p:sp>
          <p:nvSpPr>
            <p:cNvPr id="14" name="Rectangle 13">
              <a:extLst>
                <a:ext uri="{FF2B5EF4-FFF2-40B4-BE49-F238E27FC236}">
                  <a16:creationId xmlns:a16="http://schemas.microsoft.com/office/drawing/2014/main" id="{49D7D7CF-783D-45D8-93CD-FA3AA8136F87}"/>
                </a:ext>
              </a:extLst>
            </p:cNvPr>
            <p:cNvSpPr/>
            <p:nvPr userDrawn="1"/>
          </p:nvSpPr>
          <p:spPr>
            <a:xfrm>
              <a:off x="-1" y="4145216"/>
              <a:ext cx="9143999" cy="60959"/>
            </a:xfrm>
            <a:prstGeom prst="rect">
              <a:avLst/>
            </a:prstGeom>
            <a:solidFill>
              <a:srgbClr val="4374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5" name="Rectangle 14">
              <a:extLst>
                <a:ext uri="{FF2B5EF4-FFF2-40B4-BE49-F238E27FC236}">
                  <a16:creationId xmlns:a16="http://schemas.microsoft.com/office/drawing/2014/main" id="{496630D2-B05F-4BCE-A7C7-E9D6A2DF87F0}"/>
                </a:ext>
              </a:extLst>
            </p:cNvPr>
            <p:cNvSpPr/>
            <p:nvPr userDrawn="1"/>
          </p:nvSpPr>
          <p:spPr>
            <a:xfrm>
              <a:off x="-1" y="3441633"/>
              <a:ext cx="9143999" cy="60959"/>
            </a:xfrm>
            <a:prstGeom prst="rect">
              <a:avLst/>
            </a:prstGeom>
            <a:solidFill>
              <a:srgbClr val="4374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pic>
        <p:nvPicPr>
          <p:cNvPr id="26" name="Picture 25">
            <a:extLst>
              <a:ext uri="{FF2B5EF4-FFF2-40B4-BE49-F238E27FC236}">
                <a16:creationId xmlns:a16="http://schemas.microsoft.com/office/drawing/2014/main" id="{5AC601ED-3033-4F25-944B-9C6C234A1E11}"/>
              </a:ext>
            </a:extLst>
          </p:cNvPr>
          <p:cNvPicPr>
            <a:picLocks noChangeAspect="1"/>
          </p:cNvPicPr>
          <p:nvPr userDrawn="1"/>
        </p:nvPicPr>
        <p:blipFill>
          <a:blip r:embed="rId6"/>
          <a:stretch>
            <a:fillRect/>
          </a:stretch>
        </p:blipFill>
        <p:spPr>
          <a:xfrm>
            <a:off x="339067" y="168717"/>
            <a:ext cx="3741864" cy="3685267"/>
          </a:xfrm>
          <a:prstGeom prst="rect">
            <a:avLst/>
          </a:prstGeom>
        </p:spPr>
      </p:pic>
      <p:sp>
        <p:nvSpPr>
          <p:cNvPr id="29" name="Freeform: Shape 28">
            <a:extLst>
              <a:ext uri="{FF2B5EF4-FFF2-40B4-BE49-F238E27FC236}">
                <a16:creationId xmlns:a16="http://schemas.microsoft.com/office/drawing/2014/main" id="{C17164C5-AAC2-458D-A8C5-044033C4BE88}"/>
              </a:ext>
            </a:extLst>
          </p:cNvPr>
          <p:cNvSpPr/>
          <p:nvPr userDrawn="1"/>
        </p:nvSpPr>
        <p:spPr>
          <a:xfrm>
            <a:off x="3843867" y="249957"/>
            <a:ext cx="7929467" cy="3179044"/>
          </a:xfrm>
          <a:custGeom>
            <a:avLst/>
            <a:gdLst>
              <a:gd name="connsiteX0" fmla="*/ 0 w 6072512"/>
              <a:gd name="connsiteY0" fmla="*/ 0 h 2586856"/>
              <a:gd name="connsiteX1" fmla="*/ 6072512 w 6072512"/>
              <a:gd name="connsiteY1" fmla="*/ 0 h 2586856"/>
              <a:gd name="connsiteX2" fmla="*/ 6072512 w 6072512"/>
              <a:gd name="connsiteY2" fmla="*/ 60959 h 2586856"/>
              <a:gd name="connsiteX3" fmla="*/ 6072510 w 6072512"/>
              <a:gd name="connsiteY3" fmla="*/ 60959 h 2586856"/>
              <a:gd name="connsiteX4" fmla="*/ 6072510 w 6072512"/>
              <a:gd name="connsiteY4" fmla="*/ 2525896 h 2586856"/>
              <a:gd name="connsiteX5" fmla="*/ 6072512 w 6072512"/>
              <a:gd name="connsiteY5" fmla="*/ 2525896 h 2586856"/>
              <a:gd name="connsiteX6" fmla="*/ 6072512 w 6072512"/>
              <a:gd name="connsiteY6" fmla="*/ 2586855 h 2586856"/>
              <a:gd name="connsiteX7" fmla="*/ 6072510 w 6072512"/>
              <a:gd name="connsiteY7" fmla="*/ 2586855 h 2586856"/>
              <a:gd name="connsiteX8" fmla="*/ 6072510 w 6072512"/>
              <a:gd name="connsiteY8" fmla="*/ 2586856 h 2586856"/>
              <a:gd name="connsiteX9" fmla="*/ 6011552 w 6072512"/>
              <a:gd name="connsiteY9" fmla="*/ 2586856 h 2586856"/>
              <a:gd name="connsiteX10" fmla="*/ 6011552 w 6072512"/>
              <a:gd name="connsiteY10" fmla="*/ 2586855 h 2586856"/>
              <a:gd name="connsiteX11" fmla="*/ 0 w 6072512"/>
              <a:gd name="connsiteY11" fmla="*/ 2586855 h 2586856"/>
              <a:gd name="connsiteX12" fmla="*/ 0 w 6072512"/>
              <a:gd name="connsiteY12" fmla="*/ 2525896 h 2586856"/>
              <a:gd name="connsiteX13" fmla="*/ 6011552 w 6072512"/>
              <a:gd name="connsiteY13" fmla="*/ 2525896 h 2586856"/>
              <a:gd name="connsiteX14" fmla="*/ 6011552 w 6072512"/>
              <a:gd name="connsiteY14" fmla="*/ 60959 h 2586856"/>
              <a:gd name="connsiteX15" fmla="*/ 0 w 6072512"/>
              <a:gd name="connsiteY15" fmla="*/ 60959 h 2586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72512" h="2586856">
                <a:moveTo>
                  <a:pt x="0" y="0"/>
                </a:moveTo>
                <a:lnTo>
                  <a:pt x="6072512" y="0"/>
                </a:lnTo>
                <a:lnTo>
                  <a:pt x="6072512" y="60959"/>
                </a:lnTo>
                <a:lnTo>
                  <a:pt x="6072510" y="60959"/>
                </a:lnTo>
                <a:lnTo>
                  <a:pt x="6072510" y="2525896"/>
                </a:lnTo>
                <a:lnTo>
                  <a:pt x="6072512" y="2525896"/>
                </a:lnTo>
                <a:lnTo>
                  <a:pt x="6072512" y="2586855"/>
                </a:lnTo>
                <a:lnTo>
                  <a:pt x="6072510" y="2586855"/>
                </a:lnTo>
                <a:lnTo>
                  <a:pt x="6072510" y="2586856"/>
                </a:lnTo>
                <a:lnTo>
                  <a:pt x="6011552" y="2586856"/>
                </a:lnTo>
                <a:lnTo>
                  <a:pt x="6011552" y="2586855"/>
                </a:lnTo>
                <a:lnTo>
                  <a:pt x="0" y="2586855"/>
                </a:lnTo>
                <a:lnTo>
                  <a:pt x="0" y="2525896"/>
                </a:lnTo>
                <a:lnTo>
                  <a:pt x="6011552" y="2525896"/>
                </a:lnTo>
                <a:lnTo>
                  <a:pt x="6011552" y="60959"/>
                </a:lnTo>
                <a:lnTo>
                  <a:pt x="0" y="60959"/>
                </a:lnTo>
                <a:close/>
              </a:path>
            </a:pathLst>
          </a:custGeom>
          <a:solidFill>
            <a:srgbClr val="2038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2" name="Graphic 1">
            <a:extLst>
              <a:ext uri="{FF2B5EF4-FFF2-40B4-BE49-F238E27FC236}">
                <a16:creationId xmlns:a16="http://schemas.microsoft.com/office/drawing/2014/main" id="{D9DBD540-1C42-499C-9228-25F7DFADBF22}"/>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381915" y="451481"/>
            <a:ext cx="7085779" cy="2780579"/>
          </a:xfrm>
          <a:prstGeom prst="rect">
            <a:avLst/>
          </a:prstGeom>
        </p:spPr>
      </p:pic>
    </p:spTree>
    <p:extLst>
      <p:ext uri="{BB962C8B-B14F-4D97-AF65-F5344CB8AC3E}">
        <p14:creationId xmlns:p14="http://schemas.microsoft.com/office/powerpoint/2010/main" val="17465316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365376"/>
            <a:ext cx="10363200" cy="1470025"/>
          </a:xfrm>
        </p:spPr>
        <p:txBody>
          <a:bodyPr>
            <a:normAutofit/>
          </a:bodyPr>
          <a:lstStyle>
            <a:lvl1pPr>
              <a:defRPr sz="4267" b="1">
                <a:solidFill>
                  <a:srgbClr val="102B62"/>
                </a:solidFill>
              </a:defRPr>
            </a:lvl1pPr>
          </a:lstStyle>
          <a:p>
            <a:r>
              <a:rPr lang="en-US" dirty="0"/>
              <a:t>Title, Arial Bold, 32 </a:t>
            </a:r>
            <a:r>
              <a:rPr lang="en-US" dirty="0" err="1"/>
              <a:t>pt</a:t>
            </a:r>
            <a:endParaRPr lang="en-US" dirty="0"/>
          </a:p>
        </p:txBody>
      </p:sp>
      <p:sp>
        <p:nvSpPr>
          <p:cNvPr id="3" name="Subtitle 2"/>
          <p:cNvSpPr>
            <a:spLocks noGrp="1"/>
          </p:cNvSpPr>
          <p:nvPr>
            <p:ph type="subTitle" idx="1" hasCustomPrompt="1"/>
          </p:nvPr>
        </p:nvSpPr>
        <p:spPr>
          <a:xfrm>
            <a:off x="1828800" y="4229101"/>
            <a:ext cx="8534400" cy="1536700"/>
          </a:xfrm>
        </p:spPr>
        <p:txBody>
          <a:bodyPr>
            <a:normAutofit/>
          </a:bodyPr>
          <a:lstStyle>
            <a:lvl1pPr marL="0" marR="0" indent="0" algn="ctr" defTabSz="1219170" rtl="0" eaLnBrk="1" fontAlgn="auto" latinLnBrk="0" hangingPunct="1">
              <a:lnSpc>
                <a:spcPct val="100000"/>
              </a:lnSpc>
              <a:spcBef>
                <a:spcPts val="0"/>
              </a:spcBef>
              <a:spcAft>
                <a:spcPts val="0"/>
              </a:spcAft>
              <a:buClrTx/>
              <a:buSzTx/>
              <a:buFontTx/>
              <a:buNone/>
              <a:tabLst/>
              <a:defRPr sz="3200" b="1" baseline="0">
                <a:solidFill>
                  <a:srgbClr val="102B6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Presenter Name</a:t>
            </a:r>
            <a:br>
              <a:rPr lang="en-US" dirty="0"/>
            </a:br>
            <a:r>
              <a:rPr lang="en-US" dirty="0"/>
              <a:t>Month DD, YYYY</a:t>
            </a:r>
            <a:br>
              <a:rPr lang="en-US" dirty="0"/>
            </a:br>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245601" y="397218"/>
            <a:ext cx="2624732" cy="1133132"/>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1803400"/>
          </a:xfrm>
          <a:prstGeom prst="rect">
            <a:avLst/>
          </a:prstGeom>
        </p:spPr>
      </p:pic>
      <p:pic>
        <p:nvPicPr>
          <p:cNvPr id="9" name="Picture 8" descr="Department of Health and Human Services logo"/>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04800" y="88900"/>
            <a:ext cx="1625600" cy="1625600"/>
          </a:xfrm>
          <a:prstGeom prst="rect">
            <a:avLst/>
          </a:prstGeom>
        </p:spPr>
      </p:pic>
      <p:pic>
        <p:nvPicPr>
          <p:cNvPr id="10" name="Picture 9" descr="Assistant Secretary for Preparedness and Response logo"/>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245601" y="584200"/>
            <a:ext cx="2624732" cy="655467"/>
          </a:xfrm>
          <a:prstGeom prst="rect">
            <a:avLst/>
          </a:prstGeom>
        </p:spPr>
      </p:pic>
      <p:sp>
        <p:nvSpPr>
          <p:cNvPr id="11" name="TextBox 10">
            <a:extLst>
              <a:ext uri="{FF2B5EF4-FFF2-40B4-BE49-F238E27FC236}">
                <a16:creationId xmlns:a16="http://schemas.microsoft.com/office/drawing/2014/main" id="{46796F16-CED0-49EE-9F7D-C89AD109D105}"/>
              </a:ext>
            </a:extLst>
          </p:cNvPr>
          <p:cNvSpPr txBox="1"/>
          <p:nvPr userDrawn="1"/>
        </p:nvSpPr>
        <p:spPr>
          <a:xfrm>
            <a:off x="5226959" y="6375400"/>
            <a:ext cx="1673856" cy="338554"/>
          </a:xfrm>
          <a:prstGeom prst="rect">
            <a:avLst/>
          </a:prstGeom>
          <a:noFill/>
        </p:spPr>
        <p:txBody>
          <a:bodyPr wrap="none" rtlCol="0">
            <a:spAutoFit/>
          </a:bodyPr>
          <a:lstStyle/>
          <a:p>
            <a:r>
              <a:rPr lang="en-US" sz="1600" dirty="0">
                <a:solidFill>
                  <a:srgbClr val="00B050"/>
                </a:solidFill>
              </a:rPr>
              <a:t>UNCLASSIFIED</a:t>
            </a:r>
          </a:p>
        </p:txBody>
      </p:sp>
      <p:sp>
        <p:nvSpPr>
          <p:cNvPr id="5" name="Text Placeholder 4">
            <a:extLst>
              <a:ext uri="{FF2B5EF4-FFF2-40B4-BE49-F238E27FC236}">
                <a16:creationId xmlns:a16="http://schemas.microsoft.com/office/drawing/2014/main" id="{ED2E9262-7DCA-4718-863D-6BEE5080DFC1}"/>
              </a:ext>
            </a:extLst>
          </p:cNvPr>
          <p:cNvSpPr>
            <a:spLocks noGrp="1"/>
          </p:cNvSpPr>
          <p:nvPr>
            <p:ph type="body" sz="quarter" idx="10" hasCustomPrompt="1"/>
          </p:nvPr>
        </p:nvSpPr>
        <p:spPr>
          <a:xfrm>
            <a:off x="1828800" y="5664200"/>
            <a:ext cx="8534400" cy="609600"/>
          </a:xfrm>
        </p:spPr>
        <p:txBody>
          <a:bodyPr>
            <a:normAutofit/>
          </a:bodyPr>
          <a:lstStyle>
            <a:lvl1pPr marL="0" indent="0" algn="ctr">
              <a:buNone/>
              <a:defRPr sz="2400"/>
            </a:lvl1pPr>
          </a:lstStyle>
          <a:p>
            <a:pPr lvl="0"/>
            <a:r>
              <a:rPr lang="en-US" dirty="0"/>
              <a:t>Conference Name, Location (if applicable)</a:t>
            </a:r>
          </a:p>
        </p:txBody>
      </p:sp>
    </p:spTree>
    <p:extLst>
      <p:ext uri="{BB962C8B-B14F-4D97-AF65-F5344CB8AC3E}">
        <p14:creationId xmlns:p14="http://schemas.microsoft.com/office/powerpoint/2010/main" val="1319488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733" b="1" baseline="0">
                <a:solidFill>
                  <a:srgbClr val="102B62"/>
                </a:solidFill>
              </a:defRPr>
            </a:lvl1pPr>
          </a:lstStyle>
          <a:p>
            <a:r>
              <a:rPr lang="en-US" dirty="0"/>
              <a:t>Different title per slide, Arial 28 </a:t>
            </a:r>
            <a:r>
              <a:rPr lang="en-US" dirty="0" err="1"/>
              <a:t>pt</a:t>
            </a:r>
            <a:endParaRPr lang="en-US" dirty="0"/>
          </a:p>
        </p:txBody>
      </p:sp>
      <p:sp>
        <p:nvSpPr>
          <p:cNvPr id="3" name="Content Placeholder 2"/>
          <p:cNvSpPr>
            <a:spLocks noGrp="1"/>
          </p:cNvSpPr>
          <p:nvPr>
            <p:ph idx="1" hasCustomPrompt="1"/>
          </p:nvPr>
        </p:nvSpPr>
        <p:spPr>
          <a:xfrm>
            <a:off x="609600" y="1498601"/>
            <a:ext cx="10972800" cy="4368799"/>
          </a:xfrm>
        </p:spPr>
        <p:txBody>
          <a:bodyPr/>
          <a:lstStyle>
            <a:lvl1pPr marL="457189" indent="-457189">
              <a:buSzPct val="125000"/>
              <a:buFont typeface="Arial" panose="020B0604020202020204" pitchFamily="34" charset="0"/>
              <a:buChar char="•"/>
              <a:defRPr sz="2933">
                <a:solidFill>
                  <a:srgbClr val="102B62"/>
                </a:solidFill>
              </a:defRPr>
            </a:lvl1pPr>
            <a:lvl2pPr marL="990575" indent="-380990">
              <a:buFont typeface="Wingdings" panose="05000000000000000000" pitchFamily="2" charset="2"/>
              <a:buChar char="§"/>
              <a:defRPr sz="2667">
                <a:solidFill>
                  <a:srgbClr val="102B62"/>
                </a:solidFill>
              </a:defRPr>
            </a:lvl2pPr>
            <a:lvl3pPr marL="1523962" indent="-304792">
              <a:buFont typeface="Wingdings" panose="05000000000000000000" pitchFamily="2" charset="2"/>
              <a:buChar char="ü"/>
              <a:defRPr sz="2400">
                <a:solidFill>
                  <a:srgbClr val="102B62"/>
                </a:solidFill>
              </a:defRPr>
            </a:lvl3pPr>
          </a:lstStyle>
          <a:p>
            <a:pPr lvl="0"/>
            <a:r>
              <a:rPr lang="en-US" dirty="0"/>
              <a:t>Click to edit Master text styles</a:t>
            </a:r>
          </a:p>
          <a:p>
            <a:pPr lvl="1"/>
            <a:r>
              <a:rPr lang="en-US" dirty="0"/>
              <a:t>Second level</a:t>
            </a:r>
          </a:p>
          <a:p>
            <a:pPr lvl="2"/>
            <a:r>
              <a:rPr lang="en-US" dirty="0"/>
              <a:t>Third level</a:t>
            </a:r>
          </a:p>
          <a:p>
            <a:pPr lvl="0"/>
            <a:endParaRPr lang="en-US" dirty="0"/>
          </a:p>
          <a:p>
            <a:pPr lvl="2"/>
            <a:endParaRPr lang="en-US" dirty="0"/>
          </a:p>
          <a:p>
            <a:pPr lvl="2"/>
            <a:endParaRPr lang="en-US" dirty="0"/>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070600"/>
            <a:ext cx="12192000" cy="812800"/>
          </a:xfrm>
          <a:prstGeom prst="rect">
            <a:avLst/>
          </a:prstGeom>
        </p:spPr>
      </p:pic>
      <p:sp>
        <p:nvSpPr>
          <p:cNvPr id="8" name="Slide Number Placeholder 5"/>
          <p:cNvSpPr txBox="1">
            <a:spLocks/>
          </p:cNvSpPr>
          <p:nvPr userDrawn="1"/>
        </p:nvSpPr>
        <p:spPr>
          <a:xfrm>
            <a:off x="10972800" y="6375401"/>
            <a:ext cx="711200" cy="259316"/>
          </a:xfrm>
          <a:prstGeom prst="rect">
            <a:avLst/>
          </a:prstGeom>
        </p:spPr>
        <p:txBody>
          <a:bodyPr vert="horz" lIns="121920" tIns="60960" rIns="121920" bIns="60960" rtlCol="0" anchor="ctr"/>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85E4B45-3C0D-4DB7-A4A8-89FEB5CAB5B2}" type="slidenum">
              <a:rPr lang="en-US" sz="1333" smtClean="0">
                <a:solidFill>
                  <a:schemeClr val="bg1"/>
                </a:solidFill>
              </a:rPr>
              <a:pPr/>
              <a:t>‹#›</a:t>
            </a:fld>
            <a:endParaRPr lang="en-US" sz="1333" dirty="0">
              <a:solidFill>
                <a:schemeClr val="bg1"/>
              </a:solidFill>
            </a:endParaRPr>
          </a:p>
        </p:txBody>
      </p:sp>
      <p:pic>
        <p:nvPicPr>
          <p:cNvPr id="10" name="Picture 9" descr="Assistant Secretary for Preparedness and Response logo"/>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06400" y="6273800"/>
            <a:ext cx="1627376" cy="406400"/>
          </a:xfrm>
          <a:prstGeom prst="rect">
            <a:avLst/>
          </a:prstGeom>
        </p:spPr>
      </p:pic>
      <p:sp>
        <p:nvSpPr>
          <p:cNvPr id="11" name="TextBox 10">
            <a:extLst>
              <a:ext uri="{FF2B5EF4-FFF2-40B4-BE49-F238E27FC236}">
                <a16:creationId xmlns:a16="http://schemas.microsoft.com/office/drawing/2014/main" id="{14C18255-AF23-473B-9B24-7E7214F4CFCF}"/>
              </a:ext>
            </a:extLst>
          </p:cNvPr>
          <p:cNvSpPr txBox="1"/>
          <p:nvPr userDrawn="1"/>
        </p:nvSpPr>
        <p:spPr>
          <a:xfrm>
            <a:off x="1625600" y="6445355"/>
            <a:ext cx="9038848" cy="680507"/>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2133" b="0" i="1" u="none" strike="noStrike" kern="1200" baseline="30000" dirty="0">
                <a:solidFill>
                  <a:schemeClr val="bg1"/>
                </a:solidFill>
                <a:latin typeface="+mn-lt"/>
                <a:ea typeface="+mn-ea"/>
                <a:cs typeface="+mn-cs"/>
              </a:rPr>
              <a:t>Saving Lives. Protecting Americans.</a:t>
            </a:r>
          </a:p>
          <a:p>
            <a:pPr algn="ctr"/>
            <a:endParaRPr lang="en-US" sz="2400" dirty="0">
              <a:solidFill>
                <a:schemeClr val="bg1"/>
              </a:solidFill>
            </a:endParaRPr>
          </a:p>
        </p:txBody>
      </p:sp>
      <p:sp>
        <p:nvSpPr>
          <p:cNvPr id="9" name="Rectangle 8">
            <a:extLst>
              <a:ext uri="{FF2B5EF4-FFF2-40B4-BE49-F238E27FC236}">
                <a16:creationId xmlns:a16="http://schemas.microsoft.com/office/drawing/2014/main" id="{3F33E168-9658-47C0-A9EA-34F687BDE87F}"/>
              </a:ext>
            </a:extLst>
          </p:cNvPr>
          <p:cNvSpPr/>
          <p:nvPr userDrawn="1"/>
        </p:nvSpPr>
        <p:spPr>
          <a:xfrm>
            <a:off x="5226959" y="6089134"/>
            <a:ext cx="1673856" cy="338554"/>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B050"/>
                </a:solidFill>
                <a:effectLst/>
                <a:uLnTx/>
                <a:uFillTx/>
                <a:latin typeface="+mn-lt"/>
                <a:ea typeface="+mn-ea"/>
                <a:cs typeface="+mn-cs"/>
              </a:rPr>
              <a:t>UNCLASSIFIED</a:t>
            </a:r>
          </a:p>
        </p:txBody>
      </p:sp>
    </p:spTree>
    <p:extLst>
      <p:ext uri="{BB962C8B-B14F-4D97-AF65-F5344CB8AC3E}">
        <p14:creationId xmlns:p14="http://schemas.microsoft.com/office/powerpoint/2010/main" val="35263150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070600"/>
            <a:ext cx="12192000" cy="812800"/>
          </a:xfrm>
          <a:prstGeom prst="rect">
            <a:avLst/>
          </a:prstGeom>
        </p:spPr>
      </p:pic>
      <p:sp>
        <p:nvSpPr>
          <p:cNvPr id="2" name="Title 1"/>
          <p:cNvSpPr>
            <a:spLocks noGrp="1"/>
          </p:cNvSpPr>
          <p:nvPr>
            <p:ph type="title" hasCustomPrompt="1"/>
          </p:nvPr>
        </p:nvSpPr>
        <p:spPr/>
        <p:txBody>
          <a:bodyPr>
            <a:normAutofit/>
          </a:bodyPr>
          <a:lstStyle>
            <a:lvl1pPr>
              <a:defRPr sz="3733" b="1">
                <a:solidFill>
                  <a:srgbClr val="102B62"/>
                </a:solidFill>
              </a:defRPr>
            </a:lvl1pPr>
          </a:lstStyle>
          <a:p>
            <a:r>
              <a:rPr lang="en-US" dirty="0"/>
              <a:t>Different title per slide, Arial 28 </a:t>
            </a:r>
            <a:r>
              <a:rPr lang="en-US" dirty="0" err="1"/>
              <a:t>pt</a:t>
            </a:r>
            <a:endParaRPr lang="en-US" dirty="0"/>
          </a:p>
        </p:txBody>
      </p:sp>
      <p:sp>
        <p:nvSpPr>
          <p:cNvPr id="3" name="Content Placeholder 2"/>
          <p:cNvSpPr>
            <a:spLocks noGrp="1"/>
          </p:cNvSpPr>
          <p:nvPr>
            <p:ph sz="half" idx="1"/>
          </p:nvPr>
        </p:nvSpPr>
        <p:spPr>
          <a:xfrm>
            <a:off x="609600" y="1498600"/>
            <a:ext cx="5384800" cy="4368800"/>
          </a:xfrm>
        </p:spPr>
        <p:txBody>
          <a:bodyPr/>
          <a:lstStyle>
            <a:lvl1pPr marL="457189" indent="-457189">
              <a:buFont typeface="Arial" panose="020B0604020202020204" pitchFamily="34" charset="0"/>
              <a:buChar char="•"/>
              <a:defRPr sz="2933">
                <a:solidFill>
                  <a:srgbClr val="102B62"/>
                </a:solidFill>
              </a:defRPr>
            </a:lvl1pPr>
            <a:lvl2pPr marL="990575" indent="-380990">
              <a:buFont typeface="Wingdings" panose="05000000000000000000" pitchFamily="2" charset="2"/>
              <a:buChar char="§"/>
              <a:defRPr sz="2667">
                <a:solidFill>
                  <a:srgbClr val="102B62"/>
                </a:solidFill>
              </a:defRPr>
            </a:lvl2pPr>
            <a:lvl3pPr marL="1523962" indent="-304792">
              <a:buFont typeface="Wingdings" panose="05000000000000000000" pitchFamily="2" charset="2"/>
              <a:buChar char="ü"/>
              <a:defRPr sz="2400">
                <a:solidFill>
                  <a:srgbClr val="102B62"/>
                </a:solidFill>
              </a:defRPr>
            </a:lvl3pPr>
            <a:lvl4pPr>
              <a:defRPr sz="2400">
                <a:solidFill>
                  <a:srgbClr val="002060"/>
                </a:solidFill>
              </a:defRPr>
            </a:lvl4pPr>
            <a:lvl5pPr>
              <a:defRPr sz="2400">
                <a:solidFill>
                  <a:srgbClr val="002060"/>
                </a:solidFill>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6197600" y="1498600"/>
            <a:ext cx="5384800" cy="4368800"/>
          </a:xfrm>
        </p:spPr>
        <p:txBody>
          <a:bodyPr>
            <a:normAutofit/>
          </a:bodyPr>
          <a:lstStyle>
            <a:lvl1pPr marL="457189" indent="-457189" algn="l" defTabSz="1219170" rtl="0" eaLnBrk="1" latinLnBrk="0" hangingPunct="1">
              <a:spcBef>
                <a:spcPct val="20000"/>
              </a:spcBef>
              <a:buFont typeface="Arial" panose="020B0604020202020204" pitchFamily="34" charset="0"/>
              <a:buChar char="•"/>
              <a:defRPr lang="en-US" sz="2933" kern="1200" dirty="0" smtClean="0">
                <a:solidFill>
                  <a:srgbClr val="102B62"/>
                </a:solidFill>
                <a:latin typeface="+mn-lt"/>
                <a:ea typeface="+mn-ea"/>
                <a:cs typeface="+mn-cs"/>
              </a:defRPr>
            </a:lvl1pPr>
            <a:lvl2pPr marL="1066773" indent="-457189" algn="l" defTabSz="1219170" rtl="0" eaLnBrk="1" latinLnBrk="0" hangingPunct="1">
              <a:spcBef>
                <a:spcPct val="20000"/>
              </a:spcBef>
              <a:buFont typeface="Wingdings" panose="05000000000000000000" pitchFamily="2" charset="2"/>
              <a:buChar char="§"/>
              <a:defRPr lang="en-US" sz="2667" kern="1200" dirty="0" smtClean="0">
                <a:solidFill>
                  <a:srgbClr val="102B62"/>
                </a:solidFill>
                <a:latin typeface="+mn-lt"/>
                <a:ea typeface="+mn-ea"/>
                <a:cs typeface="+mn-cs"/>
              </a:defRPr>
            </a:lvl2pPr>
            <a:lvl3pPr marL="1523962" indent="-304792" algn="l" defTabSz="1219170" rtl="0" eaLnBrk="1" latinLnBrk="0" hangingPunct="1">
              <a:spcBef>
                <a:spcPct val="20000"/>
              </a:spcBef>
              <a:buFont typeface="Wingdings" panose="05000000000000000000" pitchFamily="2" charset="2"/>
              <a:buChar char="ü"/>
              <a:defRPr lang="en-US" sz="2400" kern="1200" dirty="0" smtClean="0">
                <a:solidFill>
                  <a:srgbClr val="102B62"/>
                </a:solidFill>
                <a:latin typeface="+mn-lt"/>
                <a:ea typeface="+mn-ea"/>
                <a:cs typeface="+mn-cs"/>
              </a:defRPr>
            </a:lvl3pPr>
            <a:lvl4pPr>
              <a:defRPr sz="2400">
                <a:solidFill>
                  <a:srgbClr val="002060"/>
                </a:solidFill>
              </a:defRPr>
            </a:lvl4pPr>
            <a:lvl5pPr>
              <a:defRPr sz="2400">
                <a:solidFill>
                  <a:srgbClr val="002060"/>
                </a:solidFill>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p:txBody>
      </p:sp>
      <p:sp>
        <p:nvSpPr>
          <p:cNvPr id="9" name="Slide Number Placeholder 5"/>
          <p:cNvSpPr txBox="1">
            <a:spLocks/>
          </p:cNvSpPr>
          <p:nvPr userDrawn="1"/>
        </p:nvSpPr>
        <p:spPr>
          <a:xfrm>
            <a:off x="10972800" y="6375401"/>
            <a:ext cx="711200" cy="259316"/>
          </a:xfrm>
          <a:prstGeom prst="rect">
            <a:avLst/>
          </a:prstGeom>
        </p:spPr>
        <p:txBody>
          <a:bodyPr vert="horz" lIns="121920" tIns="60960" rIns="121920" bIns="60960" rtlCol="0" anchor="ctr"/>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85E4B45-3C0D-4DB7-A4A8-89FEB5CAB5B2}" type="slidenum">
              <a:rPr lang="en-US" sz="1333" smtClean="0">
                <a:solidFill>
                  <a:schemeClr val="bg1"/>
                </a:solidFill>
              </a:rPr>
              <a:pPr/>
              <a:t>‹#›</a:t>
            </a:fld>
            <a:endParaRPr lang="en-US" sz="1333" dirty="0">
              <a:solidFill>
                <a:schemeClr val="bg1"/>
              </a:solidFill>
            </a:endParaRPr>
          </a:p>
        </p:txBody>
      </p:sp>
      <p:pic>
        <p:nvPicPr>
          <p:cNvPr id="13" name="Picture 12" descr="Assistant Secretary for Preparedness and Response logo"/>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06400" y="6273800"/>
            <a:ext cx="1627376" cy="406400"/>
          </a:xfrm>
          <a:prstGeom prst="rect">
            <a:avLst/>
          </a:prstGeom>
        </p:spPr>
      </p:pic>
      <p:sp>
        <p:nvSpPr>
          <p:cNvPr id="14" name="TextBox 13">
            <a:extLst>
              <a:ext uri="{FF2B5EF4-FFF2-40B4-BE49-F238E27FC236}">
                <a16:creationId xmlns:a16="http://schemas.microsoft.com/office/drawing/2014/main" id="{59524643-77D2-47CD-9A7C-166B85105060}"/>
              </a:ext>
            </a:extLst>
          </p:cNvPr>
          <p:cNvSpPr txBox="1"/>
          <p:nvPr userDrawn="1"/>
        </p:nvSpPr>
        <p:spPr>
          <a:xfrm>
            <a:off x="1625600" y="6445355"/>
            <a:ext cx="9038848" cy="680507"/>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2133" b="0" i="1" u="none" strike="noStrike" kern="1200" baseline="30000" dirty="0">
                <a:solidFill>
                  <a:schemeClr val="bg1"/>
                </a:solidFill>
                <a:latin typeface="+mn-lt"/>
                <a:ea typeface="+mn-ea"/>
                <a:cs typeface="+mn-cs"/>
              </a:rPr>
              <a:t>Saving Lives. Protecting Americans.</a:t>
            </a:r>
          </a:p>
          <a:p>
            <a:pPr algn="ctr"/>
            <a:endParaRPr lang="en-US" sz="2400" dirty="0">
              <a:solidFill>
                <a:schemeClr val="bg1"/>
              </a:solidFill>
            </a:endParaRPr>
          </a:p>
        </p:txBody>
      </p:sp>
      <p:sp>
        <p:nvSpPr>
          <p:cNvPr id="10" name="Rectangle 9">
            <a:extLst>
              <a:ext uri="{FF2B5EF4-FFF2-40B4-BE49-F238E27FC236}">
                <a16:creationId xmlns:a16="http://schemas.microsoft.com/office/drawing/2014/main" id="{0C298C00-0DC9-4A13-8D2B-538A734470F8}"/>
              </a:ext>
            </a:extLst>
          </p:cNvPr>
          <p:cNvSpPr/>
          <p:nvPr userDrawn="1"/>
        </p:nvSpPr>
        <p:spPr>
          <a:xfrm>
            <a:off x="5226959" y="6089134"/>
            <a:ext cx="1673856" cy="338554"/>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B050"/>
                </a:solidFill>
                <a:effectLst/>
                <a:uLnTx/>
                <a:uFillTx/>
                <a:latin typeface="+mn-lt"/>
                <a:ea typeface="+mn-ea"/>
                <a:cs typeface="+mn-cs"/>
              </a:rPr>
              <a:t>UNCLASSIFIED</a:t>
            </a:r>
          </a:p>
        </p:txBody>
      </p:sp>
    </p:spTree>
    <p:extLst>
      <p:ext uri="{BB962C8B-B14F-4D97-AF65-F5344CB8AC3E}">
        <p14:creationId xmlns:p14="http://schemas.microsoft.com/office/powerpoint/2010/main" val="128285031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070600"/>
            <a:ext cx="12192000" cy="812800"/>
          </a:xfrm>
          <a:prstGeom prst="rect">
            <a:avLst/>
          </a:prstGeom>
        </p:spPr>
      </p:pic>
      <p:sp>
        <p:nvSpPr>
          <p:cNvPr id="2" name="Title 1"/>
          <p:cNvSpPr>
            <a:spLocks noGrp="1"/>
          </p:cNvSpPr>
          <p:nvPr>
            <p:ph type="title" hasCustomPrompt="1"/>
          </p:nvPr>
        </p:nvSpPr>
        <p:spPr/>
        <p:txBody>
          <a:bodyPr>
            <a:normAutofit/>
          </a:bodyPr>
          <a:lstStyle>
            <a:lvl1pPr>
              <a:defRPr sz="3733" b="1">
                <a:solidFill>
                  <a:srgbClr val="102B62"/>
                </a:solidFill>
              </a:defRPr>
            </a:lvl1pPr>
          </a:lstStyle>
          <a:p>
            <a:r>
              <a:rPr lang="en-US" dirty="0"/>
              <a:t>Different title per slide, Arial 28 </a:t>
            </a:r>
            <a:r>
              <a:rPr lang="en-US" dirty="0" err="1"/>
              <a:t>pt</a:t>
            </a:r>
            <a:endParaRPr lang="en-US" dirty="0"/>
          </a:p>
        </p:txBody>
      </p:sp>
      <p:sp>
        <p:nvSpPr>
          <p:cNvPr id="7" name="Slide Number Placeholder 5"/>
          <p:cNvSpPr txBox="1">
            <a:spLocks/>
          </p:cNvSpPr>
          <p:nvPr userDrawn="1"/>
        </p:nvSpPr>
        <p:spPr>
          <a:xfrm>
            <a:off x="10972800" y="6375401"/>
            <a:ext cx="711200" cy="259316"/>
          </a:xfrm>
          <a:prstGeom prst="rect">
            <a:avLst/>
          </a:prstGeom>
        </p:spPr>
        <p:txBody>
          <a:bodyPr vert="horz" lIns="121920" tIns="60960" rIns="121920" bIns="60960" rtlCol="0" anchor="ctr"/>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85E4B45-3C0D-4DB7-A4A8-89FEB5CAB5B2}" type="slidenum">
              <a:rPr lang="en-US" sz="1333" smtClean="0">
                <a:solidFill>
                  <a:schemeClr val="bg1"/>
                </a:solidFill>
              </a:rPr>
              <a:pPr/>
              <a:t>‹#›</a:t>
            </a:fld>
            <a:endParaRPr lang="en-US" sz="1333" dirty="0">
              <a:solidFill>
                <a:schemeClr val="bg1"/>
              </a:solidFill>
            </a:endParaRPr>
          </a:p>
        </p:txBody>
      </p:sp>
      <p:pic>
        <p:nvPicPr>
          <p:cNvPr id="11" name="Picture 10" descr="Assistant Secretary for Preparedness and Response logo"/>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06400" y="6273800"/>
            <a:ext cx="1627376" cy="406400"/>
          </a:xfrm>
          <a:prstGeom prst="rect">
            <a:avLst/>
          </a:prstGeom>
        </p:spPr>
      </p:pic>
      <p:sp>
        <p:nvSpPr>
          <p:cNvPr id="12" name="TextBox 11">
            <a:extLst>
              <a:ext uri="{FF2B5EF4-FFF2-40B4-BE49-F238E27FC236}">
                <a16:creationId xmlns:a16="http://schemas.microsoft.com/office/drawing/2014/main" id="{DE3F2B9F-A96D-4F4C-81A6-D009986AEA08}"/>
              </a:ext>
            </a:extLst>
          </p:cNvPr>
          <p:cNvSpPr txBox="1"/>
          <p:nvPr userDrawn="1"/>
        </p:nvSpPr>
        <p:spPr>
          <a:xfrm>
            <a:off x="1625600" y="6445355"/>
            <a:ext cx="9038848" cy="680507"/>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2133" b="0" i="1" u="none" strike="noStrike" kern="1200" baseline="30000" dirty="0">
                <a:solidFill>
                  <a:schemeClr val="bg1"/>
                </a:solidFill>
                <a:latin typeface="+mn-lt"/>
                <a:ea typeface="+mn-ea"/>
                <a:cs typeface="+mn-cs"/>
              </a:rPr>
              <a:t>Saving Lives. Protecting Americans.</a:t>
            </a:r>
          </a:p>
          <a:p>
            <a:pPr algn="ctr"/>
            <a:endParaRPr lang="en-US" sz="2400" dirty="0">
              <a:solidFill>
                <a:schemeClr val="bg1"/>
              </a:solidFill>
            </a:endParaRPr>
          </a:p>
        </p:txBody>
      </p:sp>
      <p:sp>
        <p:nvSpPr>
          <p:cNvPr id="8" name="Rectangle 7">
            <a:extLst>
              <a:ext uri="{FF2B5EF4-FFF2-40B4-BE49-F238E27FC236}">
                <a16:creationId xmlns:a16="http://schemas.microsoft.com/office/drawing/2014/main" id="{9392FFF8-F286-495D-B91F-CD5521A5EBB7}"/>
              </a:ext>
            </a:extLst>
          </p:cNvPr>
          <p:cNvSpPr/>
          <p:nvPr userDrawn="1"/>
        </p:nvSpPr>
        <p:spPr>
          <a:xfrm>
            <a:off x="5226959" y="6089134"/>
            <a:ext cx="1673856" cy="338554"/>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B050"/>
                </a:solidFill>
                <a:effectLst/>
                <a:uLnTx/>
                <a:uFillTx/>
                <a:latin typeface="+mn-lt"/>
                <a:ea typeface="+mn-ea"/>
                <a:cs typeface="+mn-cs"/>
              </a:rPr>
              <a:t>UNCLASSIFIED</a:t>
            </a:r>
          </a:p>
        </p:txBody>
      </p:sp>
    </p:spTree>
    <p:extLst>
      <p:ext uri="{BB962C8B-B14F-4D97-AF65-F5344CB8AC3E}">
        <p14:creationId xmlns:p14="http://schemas.microsoft.com/office/powerpoint/2010/main" val="40431810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058D4C-5825-4192-A09D-007965B672A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4FBBD83-D9A3-4227-B489-8EDE8E94657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2907728-EEBC-4795-AAC2-09EF5CF5A7FA}"/>
              </a:ext>
            </a:extLst>
          </p:cNvPr>
          <p:cNvSpPr>
            <a:spLocks noGrp="1"/>
          </p:cNvSpPr>
          <p:nvPr>
            <p:ph type="dt" sz="half" idx="10"/>
          </p:nvPr>
        </p:nvSpPr>
        <p:spPr/>
        <p:txBody>
          <a:bodyPr/>
          <a:lstStyle/>
          <a:p>
            <a:fld id="{F8DCCDCD-A7DC-4B27-943A-915CFED45C67}" type="datetime1">
              <a:rPr lang="en-US" smtClean="0"/>
              <a:t>3/24/2022</a:t>
            </a:fld>
            <a:endParaRPr lang="en-US"/>
          </a:p>
        </p:txBody>
      </p:sp>
      <p:sp>
        <p:nvSpPr>
          <p:cNvPr id="5" name="Footer Placeholder 4">
            <a:extLst>
              <a:ext uri="{FF2B5EF4-FFF2-40B4-BE49-F238E27FC236}">
                <a16:creationId xmlns:a16="http://schemas.microsoft.com/office/drawing/2014/main" id="{94F91A90-B22B-4124-9975-7E5ADC530D7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1C5BE3-45A0-4569-9D7C-2970D433F0CB}"/>
              </a:ext>
            </a:extLst>
          </p:cNvPr>
          <p:cNvSpPr>
            <a:spLocks noGrp="1"/>
          </p:cNvSpPr>
          <p:nvPr>
            <p:ph type="sldNum" sz="quarter" idx="12"/>
          </p:nvPr>
        </p:nvSpPr>
        <p:spPr/>
        <p:txBody>
          <a:bodyPr/>
          <a:lstStyle/>
          <a:p>
            <a:fld id="{4FA07702-9C82-4FBE-B98C-E58879511A7A}" type="slidenum">
              <a:rPr lang="en-US" smtClean="0"/>
              <a:t>‹#›</a:t>
            </a:fld>
            <a:endParaRPr lang="en-US"/>
          </a:p>
        </p:txBody>
      </p:sp>
    </p:spTree>
    <p:extLst>
      <p:ext uri="{BB962C8B-B14F-4D97-AF65-F5344CB8AC3E}">
        <p14:creationId xmlns:p14="http://schemas.microsoft.com/office/powerpoint/2010/main" val="6213033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6070600"/>
            <a:ext cx="12192000" cy="812800"/>
          </a:xfrm>
          <a:prstGeom prst="rect">
            <a:avLst/>
          </a:prstGeom>
        </p:spPr>
      </p:pic>
      <p:sp>
        <p:nvSpPr>
          <p:cNvPr id="6" name="Slide Number Placeholder 5"/>
          <p:cNvSpPr txBox="1">
            <a:spLocks/>
          </p:cNvSpPr>
          <p:nvPr userDrawn="1"/>
        </p:nvSpPr>
        <p:spPr>
          <a:xfrm>
            <a:off x="10972800" y="6375401"/>
            <a:ext cx="711200" cy="259316"/>
          </a:xfrm>
          <a:prstGeom prst="rect">
            <a:avLst/>
          </a:prstGeom>
        </p:spPr>
        <p:txBody>
          <a:bodyPr vert="horz" lIns="121920" tIns="60960" rIns="121920" bIns="60960" rtlCol="0" anchor="ctr"/>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85E4B45-3C0D-4DB7-A4A8-89FEB5CAB5B2}" type="slidenum">
              <a:rPr lang="en-US" sz="1333" smtClean="0">
                <a:solidFill>
                  <a:schemeClr val="bg1"/>
                </a:solidFill>
              </a:rPr>
              <a:pPr/>
              <a:t>‹#›</a:t>
            </a:fld>
            <a:endParaRPr lang="en-US" sz="1333" dirty="0">
              <a:solidFill>
                <a:schemeClr val="bg1"/>
              </a:solidFill>
            </a:endParaRPr>
          </a:p>
        </p:txBody>
      </p:sp>
      <p:pic>
        <p:nvPicPr>
          <p:cNvPr id="10" name="Picture 9" descr="Assistant Secretary for Preparedness and Response logo"/>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06400" y="6273800"/>
            <a:ext cx="1627376" cy="406400"/>
          </a:xfrm>
          <a:prstGeom prst="rect">
            <a:avLst/>
          </a:prstGeom>
        </p:spPr>
      </p:pic>
      <p:sp>
        <p:nvSpPr>
          <p:cNvPr id="11" name="TextBox 10">
            <a:extLst>
              <a:ext uri="{FF2B5EF4-FFF2-40B4-BE49-F238E27FC236}">
                <a16:creationId xmlns:a16="http://schemas.microsoft.com/office/drawing/2014/main" id="{1AB09E34-BE25-497F-BA37-3FB300823C4B}"/>
              </a:ext>
            </a:extLst>
          </p:cNvPr>
          <p:cNvSpPr txBox="1"/>
          <p:nvPr userDrawn="1"/>
        </p:nvSpPr>
        <p:spPr>
          <a:xfrm>
            <a:off x="1625600" y="6445355"/>
            <a:ext cx="9038848" cy="680507"/>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2133" b="0" i="1" u="none" strike="noStrike" kern="1200" baseline="30000" dirty="0">
                <a:solidFill>
                  <a:schemeClr val="bg1"/>
                </a:solidFill>
                <a:latin typeface="+mn-lt"/>
                <a:ea typeface="+mn-ea"/>
                <a:cs typeface="+mn-cs"/>
              </a:rPr>
              <a:t>Saving Lives. Protecting Americans.</a:t>
            </a:r>
          </a:p>
          <a:p>
            <a:pPr algn="ctr"/>
            <a:endParaRPr lang="en-US" sz="2400" dirty="0">
              <a:solidFill>
                <a:schemeClr val="bg1"/>
              </a:solidFill>
            </a:endParaRPr>
          </a:p>
        </p:txBody>
      </p:sp>
      <p:sp>
        <p:nvSpPr>
          <p:cNvPr id="7" name="Rectangle 6">
            <a:extLst>
              <a:ext uri="{FF2B5EF4-FFF2-40B4-BE49-F238E27FC236}">
                <a16:creationId xmlns:a16="http://schemas.microsoft.com/office/drawing/2014/main" id="{E1CA38B0-76F3-4707-9C39-23D0D1C1FD69}"/>
              </a:ext>
            </a:extLst>
          </p:cNvPr>
          <p:cNvSpPr/>
          <p:nvPr userDrawn="1"/>
        </p:nvSpPr>
        <p:spPr>
          <a:xfrm>
            <a:off x="5226959" y="6089134"/>
            <a:ext cx="1673856" cy="338554"/>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B050"/>
                </a:solidFill>
                <a:effectLst/>
                <a:uLnTx/>
                <a:uFillTx/>
                <a:latin typeface="+mn-lt"/>
                <a:ea typeface="+mn-ea"/>
                <a:cs typeface="+mn-cs"/>
              </a:rPr>
              <a:t>UNCLASSIFIED</a:t>
            </a:r>
          </a:p>
        </p:txBody>
      </p:sp>
    </p:spTree>
    <p:extLst>
      <p:ext uri="{BB962C8B-B14F-4D97-AF65-F5344CB8AC3E}">
        <p14:creationId xmlns:p14="http://schemas.microsoft.com/office/powerpoint/2010/main" val="11450380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179574-D3FA-4082-874E-7BBE74C0EEC3}"/>
              </a:ext>
            </a:extLst>
          </p:cNvPr>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C821E75D-D643-4925-BFC2-319368EB0AC0}"/>
              </a:ext>
            </a:extLst>
          </p:cNvPr>
          <p:cNvSpPr/>
          <p:nvPr userDrawn="1"/>
        </p:nvSpPr>
        <p:spPr>
          <a:xfrm>
            <a:off x="5226959" y="6089134"/>
            <a:ext cx="1673856" cy="338554"/>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B050"/>
                </a:solidFill>
                <a:effectLst/>
                <a:uLnTx/>
                <a:uFillTx/>
                <a:latin typeface="+mn-lt"/>
                <a:ea typeface="+mn-ea"/>
                <a:cs typeface="+mn-cs"/>
              </a:rPr>
              <a:t>UNCLASSIFIED</a:t>
            </a:r>
          </a:p>
        </p:txBody>
      </p:sp>
    </p:spTree>
    <p:extLst>
      <p:ext uri="{BB962C8B-B14F-4D97-AF65-F5344CB8AC3E}">
        <p14:creationId xmlns:p14="http://schemas.microsoft.com/office/powerpoint/2010/main" val="24657348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94731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D. Big statement green">
    <p:bg>
      <p:bgPr>
        <a:gradFill>
          <a:gsLst>
            <a:gs pos="0">
              <a:schemeClr val="accent1"/>
            </a:gs>
            <a:gs pos="100000">
              <a:schemeClr val="tx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105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1" y="6405036"/>
            <a:ext cx="1482051" cy="153888"/>
          </a:xfrm>
        </p:spPr>
        <p:txBody>
          <a:bodyPr/>
          <a:lstStyle>
            <a:lvl1pPr>
              <a:defRPr>
                <a:solidFill>
                  <a:schemeClr val="bg1"/>
                </a:solidFill>
                <a:latin typeface="+mn-lt"/>
                <a:ea typeface="+mn-ea"/>
                <a:cs typeface="+mn-cs"/>
                <a:sym typeface="+mn-lt"/>
              </a:defRPr>
            </a:lvl1pPr>
          </a:lstStyle>
          <a:p>
            <a:fld id="{A340547D-FB08-4968-ABB1-E9CDDA883562}" type="datetime1">
              <a:rPr lang="en-US" smtClean="0"/>
              <a:t>3/24/2022</a:t>
            </a:fld>
            <a:endParaRPr lang="en-US"/>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354"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354"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5"/>
            <a:ext cx="10933200" cy="1606551"/>
          </a:xfrm>
        </p:spPr>
        <p:txBody>
          <a:bodyPr anchor="b">
            <a:noAutofit/>
          </a:bodyPr>
          <a:lstStyle>
            <a:lvl1pPr marL="0" algn="l" defTabSz="914354"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71137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0CAA24-4B81-4C18-A6F1-BCF21E1D17E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11BB338-1A64-4835-BBF7-0C639BB7DC3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3738167-B51B-4093-8210-5B5F893080A3}"/>
              </a:ext>
            </a:extLst>
          </p:cNvPr>
          <p:cNvSpPr>
            <a:spLocks noGrp="1"/>
          </p:cNvSpPr>
          <p:nvPr>
            <p:ph type="dt" sz="half" idx="10"/>
          </p:nvPr>
        </p:nvSpPr>
        <p:spPr/>
        <p:txBody>
          <a:bodyPr/>
          <a:lstStyle/>
          <a:p>
            <a:fld id="{BBFAA094-BF74-4F00-BEB9-8DE5A2925BFC}" type="datetime1">
              <a:rPr lang="en-US" smtClean="0"/>
              <a:t>3/24/2022</a:t>
            </a:fld>
            <a:endParaRPr lang="en-US"/>
          </a:p>
        </p:txBody>
      </p:sp>
      <p:sp>
        <p:nvSpPr>
          <p:cNvPr id="5" name="Footer Placeholder 4">
            <a:extLst>
              <a:ext uri="{FF2B5EF4-FFF2-40B4-BE49-F238E27FC236}">
                <a16:creationId xmlns:a16="http://schemas.microsoft.com/office/drawing/2014/main" id="{5B9BD064-DAE0-4A22-80F8-56FF12D5C1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F7357D-1DBE-4FFD-8E9C-3AE804CB9EF9}"/>
              </a:ext>
            </a:extLst>
          </p:cNvPr>
          <p:cNvSpPr>
            <a:spLocks noGrp="1"/>
          </p:cNvSpPr>
          <p:nvPr>
            <p:ph type="sldNum" sz="quarter" idx="12"/>
          </p:nvPr>
        </p:nvSpPr>
        <p:spPr/>
        <p:txBody>
          <a:bodyPr/>
          <a:lstStyle/>
          <a:p>
            <a:fld id="{D1541BB9-6530-43D2-B7E0-33A89042A350}" type="slidenum">
              <a:rPr lang="en-US" smtClean="0"/>
              <a:t>‹#›</a:t>
            </a:fld>
            <a:endParaRPr lang="en-US"/>
          </a:p>
        </p:txBody>
      </p:sp>
    </p:spTree>
    <p:extLst>
      <p:ext uri="{BB962C8B-B14F-4D97-AF65-F5344CB8AC3E}">
        <p14:creationId xmlns:p14="http://schemas.microsoft.com/office/powerpoint/2010/main" val="28664008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E3388EF-F26A-46A5-8480-2952DF895722}"/>
              </a:ext>
            </a:extLst>
          </p:cNvPr>
          <p:cNvSpPr txBox="1"/>
          <p:nvPr userDrawn="1"/>
        </p:nvSpPr>
        <p:spPr>
          <a:xfrm>
            <a:off x="0" y="1071"/>
            <a:ext cx="12192000" cy="987973"/>
          </a:xfrm>
          <a:prstGeom prst="rect">
            <a:avLst/>
          </a:prstGeom>
          <a:solidFill>
            <a:srgbClr val="318AD0"/>
          </a:solidFill>
        </p:spPr>
        <p:txBody>
          <a:bodyPr wrap="square" rtlCol="0">
            <a:spAutoFit/>
          </a:bodyPr>
          <a:lstStyle/>
          <a:p>
            <a:endParaRPr lang="en-US" dirty="0"/>
          </a:p>
        </p:txBody>
      </p:sp>
      <p:sp>
        <p:nvSpPr>
          <p:cNvPr id="2" name="Title 1">
            <a:extLst>
              <a:ext uri="{FF2B5EF4-FFF2-40B4-BE49-F238E27FC236}">
                <a16:creationId xmlns:a16="http://schemas.microsoft.com/office/drawing/2014/main" id="{5216628D-D9F4-4A71-A170-BD86CF45E6F6}"/>
              </a:ext>
            </a:extLst>
          </p:cNvPr>
          <p:cNvSpPr>
            <a:spLocks noGrp="1"/>
          </p:cNvSpPr>
          <p:nvPr>
            <p:ph type="title"/>
          </p:nvPr>
        </p:nvSpPr>
        <p:spPr>
          <a:xfrm>
            <a:off x="558282" y="320366"/>
            <a:ext cx="10321212" cy="454075"/>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91C02DC7-642A-4BF5-B51A-418324ED0C11}"/>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2231AF46-A8EE-4F98-B108-E68C8F99126C}"/>
              </a:ext>
            </a:extLst>
          </p:cNvPr>
          <p:cNvSpPr>
            <a:spLocks noGrp="1"/>
          </p:cNvSpPr>
          <p:nvPr>
            <p:ph type="dt" sz="half" idx="10"/>
          </p:nvPr>
        </p:nvSpPr>
        <p:spPr/>
        <p:txBody>
          <a:bodyPr/>
          <a:lstStyle/>
          <a:p>
            <a:fld id="{47C00BC1-AF43-47F2-B24B-4BC4D5E86748}" type="datetime1">
              <a:rPr lang="en-US" smtClean="0"/>
              <a:t>3/24/2022</a:t>
            </a:fld>
            <a:endParaRPr lang="en-US"/>
          </a:p>
        </p:txBody>
      </p:sp>
      <p:sp>
        <p:nvSpPr>
          <p:cNvPr id="5" name="Footer Placeholder 4">
            <a:extLst>
              <a:ext uri="{FF2B5EF4-FFF2-40B4-BE49-F238E27FC236}">
                <a16:creationId xmlns:a16="http://schemas.microsoft.com/office/drawing/2014/main" id="{24E977E7-41A8-4963-8BCB-74CB9DB2349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AF695D0-FBED-4C8F-9655-BF41A4DBC26E}"/>
              </a:ext>
            </a:extLst>
          </p:cNvPr>
          <p:cNvSpPr>
            <a:spLocks noGrp="1"/>
          </p:cNvSpPr>
          <p:nvPr>
            <p:ph type="sldNum" sz="quarter" idx="12"/>
          </p:nvPr>
        </p:nvSpPr>
        <p:spPr/>
        <p:txBody>
          <a:bodyPr/>
          <a:lstStyle/>
          <a:p>
            <a:fld id="{D1541BB9-6530-43D2-B7E0-33A89042A350}" type="slidenum">
              <a:rPr lang="en-US" smtClean="0"/>
              <a:t>‹#›</a:t>
            </a:fld>
            <a:endParaRPr lang="en-US"/>
          </a:p>
        </p:txBody>
      </p:sp>
    </p:spTree>
    <p:extLst>
      <p:ext uri="{BB962C8B-B14F-4D97-AF65-F5344CB8AC3E}">
        <p14:creationId xmlns:p14="http://schemas.microsoft.com/office/powerpoint/2010/main" val="33847745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A8442D-1585-4153-B0C8-1B07E8FBCC9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9F478E4-EA54-4CC4-A9FF-E0746681AC1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BC88211-6CEA-4855-87ED-0CCA7DC875DE}"/>
              </a:ext>
            </a:extLst>
          </p:cNvPr>
          <p:cNvSpPr>
            <a:spLocks noGrp="1"/>
          </p:cNvSpPr>
          <p:nvPr>
            <p:ph type="dt" sz="half" idx="10"/>
          </p:nvPr>
        </p:nvSpPr>
        <p:spPr/>
        <p:txBody>
          <a:bodyPr/>
          <a:lstStyle/>
          <a:p>
            <a:fld id="{CCC475E0-91F5-4818-A650-E8EEB94FC08E}" type="datetime1">
              <a:rPr lang="en-US" smtClean="0"/>
              <a:t>3/24/2022</a:t>
            </a:fld>
            <a:endParaRPr lang="en-US"/>
          </a:p>
        </p:txBody>
      </p:sp>
      <p:sp>
        <p:nvSpPr>
          <p:cNvPr id="5" name="Footer Placeholder 4">
            <a:extLst>
              <a:ext uri="{FF2B5EF4-FFF2-40B4-BE49-F238E27FC236}">
                <a16:creationId xmlns:a16="http://schemas.microsoft.com/office/drawing/2014/main" id="{F5BB200F-A951-4298-9D97-CB0ED8CE29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05F5AA9-BA88-48B0-8137-9D6C4968C6E0}"/>
              </a:ext>
            </a:extLst>
          </p:cNvPr>
          <p:cNvSpPr>
            <a:spLocks noGrp="1"/>
          </p:cNvSpPr>
          <p:nvPr>
            <p:ph type="sldNum" sz="quarter" idx="12"/>
          </p:nvPr>
        </p:nvSpPr>
        <p:spPr/>
        <p:txBody>
          <a:bodyPr/>
          <a:lstStyle/>
          <a:p>
            <a:fld id="{D1541BB9-6530-43D2-B7E0-33A89042A350}" type="slidenum">
              <a:rPr lang="en-US" smtClean="0"/>
              <a:t>‹#›</a:t>
            </a:fld>
            <a:endParaRPr lang="en-US"/>
          </a:p>
        </p:txBody>
      </p:sp>
      <p:sp>
        <p:nvSpPr>
          <p:cNvPr id="7" name="TextBox 6">
            <a:extLst>
              <a:ext uri="{FF2B5EF4-FFF2-40B4-BE49-F238E27FC236}">
                <a16:creationId xmlns:a16="http://schemas.microsoft.com/office/drawing/2014/main" id="{E522B0BF-62B0-4984-888F-6FC21AEC19DC}"/>
              </a:ext>
            </a:extLst>
          </p:cNvPr>
          <p:cNvSpPr txBox="1"/>
          <p:nvPr userDrawn="1"/>
        </p:nvSpPr>
        <p:spPr>
          <a:xfrm>
            <a:off x="0" y="1071"/>
            <a:ext cx="12192000" cy="987973"/>
          </a:xfrm>
          <a:prstGeom prst="rect">
            <a:avLst/>
          </a:prstGeom>
          <a:solidFill>
            <a:srgbClr val="318AD0"/>
          </a:solidFill>
        </p:spPr>
        <p:txBody>
          <a:bodyPr wrap="square" rtlCol="0">
            <a:spAutoFit/>
          </a:bodyPr>
          <a:lstStyle/>
          <a:p>
            <a:endParaRPr lang="en-US" dirty="0"/>
          </a:p>
        </p:txBody>
      </p:sp>
    </p:spTree>
    <p:extLst>
      <p:ext uri="{BB962C8B-B14F-4D97-AF65-F5344CB8AC3E}">
        <p14:creationId xmlns:p14="http://schemas.microsoft.com/office/powerpoint/2010/main" val="271713380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65175C0-7603-4834-8A5B-12FB3BC3DFD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B817BCD-C2A6-4C1C-947A-977602431FE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5BD28F1-8314-4A92-B3CD-8938BE0B3092}"/>
              </a:ext>
            </a:extLst>
          </p:cNvPr>
          <p:cNvSpPr>
            <a:spLocks noGrp="1"/>
          </p:cNvSpPr>
          <p:nvPr>
            <p:ph type="dt" sz="half" idx="10"/>
          </p:nvPr>
        </p:nvSpPr>
        <p:spPr/>
        <p:txBody>
          <a:bodyPr/>
          <a:lstStyle/>
          <a:p>
            <a:fld id="{00B837B4-53AE-4F00-A20D-F5BA8A36047B}" type="datetime1">
              <a:rPr lang="en-US" smtClean="0"/>
              <a:t>3/24/2022</a:t>
            </a:fld>
            <a:endParaRPr lang="en-US"/>
          </a:p>
        </p:txBody>
      </p:sp>
      <p:sp>
        <p:nvSpPr>
          <p:cNvPr id="6" name="Footer Placeholder 5">
            <a:extLst>
              <a:ext uri="{FF2B5EF4-FFF2-40B4-BE49-F238E27FC236}">
                <a16:creationId xmlns:a16="http://schemas.microsoft.com/office/drawing/2014/main" id="{E25778B9-295A-4C2E-9100-C1473CF9C7F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10A064F-E300-4559-AEED-4B1A577F2D2B}"/>
              </a:ext>
            </a:extLst>
          </p:cNvPr>
          <p:cNvSpPr>
            <a:spLocks noGrp="1"/>
          </p:cNvSpPr>
          <p:nvPr>
            <p:ph type="sldNum" sz="quarter" idx="12"/>
          </p:nvPr>
        </p:nvSpPr>
        <p:spPr/>
        <p:txBody>
          <a:bodyPr/>
          <a:lstStyle/>
          <a:p>
            <a:fld id="{D1541BB9-6530-43D2-B7E0-33A89042A350}" type="slidenum">
              <a:rPr lang="en-US" smtClean="0"/>
              <a:t>‹#›</a:t>
            </a:fld>
            <a:endParaRPr lang="en-US"/>
          </a:p>
        </p:txBody>
      </p:sp>
      <p:sp>
        <p:nvSpPr>
          <p:cNvPr id="8" name="TextBox 7">
            <a:extLst>
              <a:ext uri="{FF2B5EF4-FFF2-40B4-BE49-F238E27FC236}">
                <a16:creationId xmlns:a16="http://schemas.microsoft.com/office/drawing/2014/main" id="{2079FD1A-FE4F-40FB-8A6A-5A4BE2879CEF}"/>
              </a:ext>
            </a:extLst>
          </p:cNvPr>
          <p:cNvSpPr txBox="1"/>
          <p:nvPr userDrawn="1"/>
        </p:nvSpPr>
        <p:spPr>
          <a:xfrm>
            <a:off x="0" y="1071"/>
            <a:ext cx="12192000" cy="987973"/>
          </a:xfrm>
          <a:prstGeom prst="rect">
            <a:avLst/>
          </a:prstGeom>
          <a:solidFill>
            <a:srgbClr val="318AD0"/>
          </a:solidFill>
        </p:spPr>
        <p:txBody>
          <a:bodyPr wrap="square" rtlCol="0">
            <a:spAutoFit/>
          </a:bodyPr>
          <a:lstStyle/>
          <a:p>
            <a:endParaRPr lang="en-US" dirty="0"/>
          </a:p>
        </p:txBody>
      </p:sp>
      <p:sp>
        <p:nvSpPr>
          <p:cNvPr id="2" name="Title 1">
            <a:extLst>
              <a:ext uri="{FF2B5EF4-FFF2-40B4-BE49-F238E27FC236}">
                <a16:creationId xmlns:a16="http://schemas.microsoft.com/office/drawing/2014/main" id="{D4DED806-0829-4389-B987-D225400A0281}"/>
              </a:ext>
            </a:extLst>
          </p:cNvPr>
          <p:cNvSpPr>
            <a:spLocks noGrp="1"/>
          </p:cNvSpPr>
          <p:nvPr>
            <p:ph type="title"/>
          </p:nvPr>
        </p:nvSpPr>
        <p:spPr>
          <a:xfrm>
            <a:off x="205273" y="183097"/>
            <a:ext cx="9552992" cy="623919"/>
          </a:xfrm>
        </p:spPr>
        <p:txBody>
          <a:bodyPr/>
          <a:lstStyle/>
          <a:p>
            <a:r>
              <a:rPr lang="en-US"/>
              <a:t>Click to edit Master title style</a:t>
            </a:r>
          </a:p>
        </p:txBody>
      </p:sp>
    </p:spTree>
    <p:extLst>
      <p:ext uri="{BB962C8B-B14F-4D97-AF65-F5344CB8AC3E}">
        <p14:creationId xmlns:p14="http://schemas.microsoft.com/office/powerpoint/2010/main" val="35344060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16844A9-9DB9-487F-BEFA-F0806022DA6E}"/>
              </a:ext>
            </a:extLst>
          </p:cNvPr>
          <p:cNvSpPr txBox="1"/>
          <p:nvPr userDrawn="1"/>
        </p:nvSpPr>
        <p:spPr>
          <a:xfrm>
            <a:off x="0" y="1071"/>
            <a:ext cx="12192000" cy="987973"/>
          </a:xfrm>
          <a:prstGeom prst="rect">
            <a:avLst/>
          </a:prstGeom>
          <a:solidFill>
            <a:srgbClr val="318AD0"/>
          </a:solidFill>
        </p:spPr>
        <p:txBody>
          <a:bodyPr wrap="square" rtlCol="0">
            <a:spAutoFit/>
          </a:bodyPr>
          <a:lstStyle/>
          <a:p>
            <a:endParaRPr lang="en-US" dirty="0"/>
          </a:p>
        </p:txBody>
      </p:sp>
      <p:sp>
        <p:nvSpPr>
          <p:cNvPr id="2" name="Title 1">
            <a:extLst>
              <a:ext uri="{FF2B5EF4-FFF2-40B4-BE49-F238E27FC236}">
                <a16:creationId xmlns:a16="http://schemas.microsoft.com/office/drawing/2014/main" id="{2D6DB51E-5CE1-49F1-B677-B0219EF03EAB}"/>
              </a:ext>
            </a:extLst>
          </p:cNvPr>
          <p:cNvSpPr>
            <a:spLocks noGrp="1"/>
          </p:cNvSpPr>
          <p:nvPr>
            <p:ph type="title"/>
          </p:nvPr>
        </p:nvSpPr>
        <p:spPr>
          <a:xfrm>
            <a:off x="401184" y="286617"/>
            <a:ext cx="10440988" cy="585641"/>
          </a:xfrm>
        </p:spPr>
        <p:txBody>
          <a:bodyPr/>
          <a:lstStyle/>
          <a:p>
            <a:r>
              <a:rPr lang="en-US"/>
              <a:t>Click to edit Master title style</a:t>
            </a:r>
          </a:p>
        </p:txBody>
      </p:sp>
      <p:sp>
        <p:nvSpPr>
          <p:cNvPr id="3" name="Text Placeholder 2">
            <a:extLst>
              <a:ext uri="{FF2B5EF4-FFF2-40B4-BE49-F238E27FC236}">
                <a16:creationId xmlns:a16="http://schemas.microsoft.com/office/drawing/2014/main" id="{92B6E210-2EA2-4FF7-9818-78087BBF910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72FEF25-76C0-49D0-9293-E1A677DD86B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4C82870-25A9-40A1-B22B-D4867C7F36C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ED79EEE-3A9E-4C80-A4BA-B22BAD3007E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AB9F911-1E2E-4A1B-BCE6-8739A91DD28D}"/>
              </a:ext>
            </a:extLst>
          </p:cNvPr>
          <p:cNvSpPr>
            <a:spLocks noGrp="1"/>
          </p:cNvSpPr>
          <p:nvPr>
            <p:ph type="dt" sz="half" idx="10"/>
          </p:nvPr>
        </p:nvSpPr>
        <p:spPr/>
        <p:txBody>
          <a:bodyPr/>
          <a:lstStyle/>
          <a:p>
            <a:fld id="{951AF090-004B-479C-ABB0-52354BA4BC7C}" type="datetime1">
              <a:rPr lang="en-US" smtClean="0"/>
              <a:t>3/24/2022</a:t>
            </a:fld>
            <a:endParaRPr lang="en-US"/>
          </a:p>
        </p:txBody>
      </p:sp>
      <p:sp>
        <p:nvSpPr>
          <p:cNvPr id="8" name="Footer Placeholder 7">
            <a:extLst>
              <a:ext uri="{FF2B5EF4-FFF2-40B4-BE49-F238E27FC236}">
                <a16:creationId xmlns:a16="http://schemas.microsoft.com/office/drawing/2014/main" id="{064C3941-D257-4790-9444-E86B2563464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9771B45-B304-4CDB-B17D-92A7F2488AB3}"/>
              </a:ext>
            </a:extLst>
          </p:cNvPr>
          <p:cNvSpPr>
            <a:spLocks noGrp="1"/>
          </p:cNvSpPr>
          <p:nvPr>
            <p:ph type="sldNum" sz="quarter" idx="12"/>
          </p:nvPr>
        </p:nvSpPr>
        <p:spPr/>
        <p:txBody>
          <a:bodyPr/>
          <a:lstStyle/>
          <a:p>
            <a:fld id="{D1541BB9-6530-43D2-B7E0-33A89042A350}" type="slidenum">
              <a:rPr lang="en-US" smtClean="0"/>
              <a:t>‹#›</a:t>
            </a:fld>
            <a:endParaRPr lang="en-US"/>
          </a:p>
        </p:txBody>
      </p:sp>
    </p:spTree>
    <p:extLst>
      <p:ext uri="{BB962C8B-B14F-4D97-AF65-F5344CB8AC3E}">
        <p14:creationId xmlns:p14="http://schemas.microsoft.com/office/powerpoint/2010/main" val="13144824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7AA64FD-9D4B-4584-B596-4601462D7512}"/>
              </a:ext>
            </a:extLst>
          </p:cNvPr>
          <p:cNvSpPr>
            <a:spLocks noGrp="1"/>
          </p:cNvSpPr>
          <p:nvPr>
            <p:ph type="dt" sz="half" idx="10"/>
          </p:nvPr>
        </p:nvSpPr>
        <p:spPr/>
        <p:txBody>
          <a:bodyPr/>
          <a:lstStyle/>
          <a:p>
            <a:fld id="{DF786A02-8466-439D-852B-404EA388D42A}" type="datetime1">
              <a:rPr lang="en-US" smtClean="0"/>
              <a:t>3/24/2022</a:t>
            </a:fld>
            <a:endParaRPr lang="en-US"/>
          </a:p>
        </p:txBody>
      </p:sp>
      <p:sp>
        <p:nvSpPr>
          <p:cNvPr id="4" name="Footer Placeholder 3">
            <a:extLst>
              <a:ext uri="{FF2B5EF4-FFF2-40B4-BE49-F238E27FC236}">
                <a16:creationId xmlns:a16="http://schemas.microsoft.com/office/drawing/2014/main" id="{DD248381-5087-4A46-B163-604360E19C1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CF5431C-34B1-4D39-AA1C-F91302E77998}"/>
              </a:ext>
            </a:extLst>
          </p:cNvPr>
          <p:cNvSpPr>
            <a:spLocks noGrp="1"/>
          </p:cNvSpPr>
          <p:nvPr>
            <p:ph type="sldNum" sz="quarter" idx="12"/>
          </p:nvPr>
        </p:nvSpPr>
        <p:spPr/>
        <p:txBody>
          <a:bodyPr/>
          <a:lstStyle/>
          <a:p>
            <a:fld id="{D1541BB9-6530-43D2-B7E0-33A89042A350}" type="slidenum">
              <a:rPr lang="en-US" smtClean="0"/>
              <a:t>‹#›</a:t>
            </a:fld>
            <a:endParaRPr lang="en-US"/>
          </a:p>
        </p:txBody>
      </p:sp>
      <p:sp>
        <p:nvSpPr>
          <p:cNvPr id="7" name="Right Triangle 6">
            <a:extLst>
              <a:ext uri="{FF2B5EF4-FFF2-40B4-BE49-F238E27FC236}">
                <a16:creationId xmlns:a16="http://schemas.microsoft.com/office/drawing/2014/main" id="{E1E71250-C58D-443F-86E4-D84F7BCA1A7D}"/>
              </a:ext>
            </a:extLst>
          </p:cNvPr>
          <p:cNvSpPr/>
          <p:nvPr userDrawn="1"/>
        </p:nvSpPr>
        <p:spPr>
          <a:xfrm rot="16200000">
            <a:off x="4044043" y="-1289955"/>
            <a:ext cx="6857999" cy="9437913"/>
          </a:xfrm>
          <a:prstGeom prst="rtTriangle">
            <a:avLst/>
          </a:prstGeom>
          <a:solidFill>
            <a:srgbClr val="318A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897B04B-6A3F-42A5-8064-C6AD13CF32BF}"/>
              </a:ext>
            </a:extLst>
          </p:cNvPr>
          <p:cNvSpPr>
            <a:spLocks noGrp="1"/>
          </p:cNvSpPr>
          <p:nvPr>
            <p:ph type="title"/>
          </p:nvPr>
        </p:nvSpPr>
        <p:spPr>
          <a:xfrm>
            <a:off x="193641" y="2695653"/>
            <a:ext cx="10515600" cy="1325563"/>
          </a:xfrm>
        </p:spPr>
        <p:txBody>
          <a:bodyPr/>
          <a:lstStyle/>
          <a:p>
            <a:r>
              <a:rPr lang="en-US" dirty="0"/>
              <a:t>Click to edit Master title style</a:t>
            </a:r>
          </a:p>
        </p:txBody>
      </p:sp>
    </p:spTree>
    <p:extLst>
      <p:ext uri="{BB962C8B-B14F-4D97-AF65-F5344CB8AC3E}">
        <p14:creationId xmlns:p14="http://schemas.microsoft.com/office/powerpoint/2010/main" val="22707285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BF2FA9-E9F3-41C3-983D-5BD82355CA8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3677A70-FD30-41C9-BC54-7984A4EE49E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21B5030-328B-44ED-A7C6-8E4DBF7517D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9A651DB-C70D-4EC1-8A60-90504C87B0C8}"/>
              </a:ext>
            </a:extLst>
          </p:cNvPr>
          <p:cNvSpPr>
            <a:spLocks noGrp="1"/>
          </p:cNvSpPr>
          <p:nvPr>
            <p:ph type="dt" sz="half" idx="10"/>
          </p:nvPr>
        </p:nvSpPr>
        <p:spPr/>
        <p:txBody>
          <a:bodyPr/>
          <a:lstStyle/>
          <a:p>
            <a:fld id="{266E5D82-3D29-4878-A7AC-633E4B52DE80}" type="datetime1">
              <a:rPr lang="en-US" smtClean="0"/>
              <a:t>3/24/2022</a:t>
            </a:fld>
            <a:endParaRPr lang="en-US"/>
          </a:p>
        </p:txBody>
      </p:sp>
      <p:sp>
        <p:nvSpPr>
          <p:cNvPr id="6" name="Footer Placeholder 5">
            <a:extLst>
              <a:ext uri="{FF2B5EF4-FFF2-40B4-BE49-F238E27FC236}">
                <a16:creationId xmlns:a16="http://schemas.microsoft.com/office/drawing/2014/main" id="{776CC2E0-5A3D-40F9-BBC9-90FB0523F81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E8C2780-D8BA-428A-A2CF-9271A1D0613C}"/>
              </a:ext>
            </a:extLst>
          </p:cNvPr>
          <p:cNvSpPr>
            <a:spLocks noGrp="1"/>
          </p:cNvSpPr>
          <p:nvPr>
            <p:ph type="sldNum" sz="quarter" idx="12"/>
          </p:nvPr>
        </p:nvSpPr>
        <p:spPr/>
        <p:txBody>
          <a:bodyPr/>
          <a:lstStyle/>
          <a:p>
            <a:fld id="{4FA07702-9C82-4FBE-B98C-E58879511A7A}" type="slidenum">
              <a:rPr lang="en-US" smtClean="0"/>
              <a:t>‹#›</a:t>
            </a:fld>
            <a:endParaRPr lang="en-US"/>
          </a:p>
        </p:txBody>
      </p:sp>
    </p:spTree>
    <p:extLst>
      <p:ext uri="{BB962C8B-B14F-4D97-AF65-F5344CB8AC3E}">
        <p14:creationId xmlns:p14="http://schemas.microsoft.com/office/powerpoint/2010/main" val="82928091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A729529-B7B1-4805-B4F5-8D9AE775E98B}"/>
              </a:ext>
            </a:extLst>
          </p:cNvPr>
          <p:cNvSpPr>
            <a:spLocks noGrp="1"/>
          </p:cNvSpPr>
          <p:nvPr>
            <p:ph type="dt" sz="half" idx="10"/>
          </p:nvPr>
        </p:nvSpPr>
        <p:spPr/>
        <p:txBody>
          <a:bodyPr/>
          <a:lstStyle/>
          <a:p>
            <a:fld id="{8BFC3185-5378-4F65-8B72-AF86ADC5B29F}" type="datetime1">
              <a:rPr lang="en-US" smtClean="0"/>
              <a:t>3/24/2022</a:t>
            </a:fld>
            <a:endParaRPr lang="en-US"/>
          </a:p>
        </p:txBody>
      </p:sp>
      <p:sp>
        <p:nvSpPr>
          <p:cNvPr id="3" name="Footer Placeholder 2">
            <a:extLst>
              <a:ext uri="{FF2B5EF4-FFF2-40B4-BE49-F238E27FC236}">
                <a16:creationId xmlns:a16="http://schemas.microsoft.com/office/drawing/2014/main" id="{D465E58E-2FA2-400A-AD4C-5FDCA83D51B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E9C4874-476F-40C2-9A92-0A39428DC0E3}"/>
              </a:ext>
            </a:extLst>
          </p:cNvPr>
          <p:cNvSpPr>
            <a:spLocks noGrp="1"/>
          </p:cNvSpPr>
          <p:nvPr>
            <p:ph type="sldNum" sz="quarter" idx="12"/>
          </p:nvPr>
        </p:nvSpPr>
        <p:spPr/>
        <p:txBody>
          <a:bodyPr/>
          <a:lstStyle/>
          <a:p>
            <a:fld id="{D1541BB9-6530-43D2-B7E0-33A89042A350}" type="slidenum">
              <a:rPr lang="en-US" smtClean="0"/>
              <a:t>‹#›</a:t>
            </a:fld>
            <a:endParaRPr lang="en-US"/>
          </a:p>
        </p:txBody>
      </p:sp>
      <p:sp>
        <p:nvSpPr>
          <p:cNvPr id="5" name="Right Triangle 4">
            <a:extLst>
              <a:ext uri="{FF2B5EF4-FFF2-40B4-BE49-F238E27FC236}">
                <a16:creationId xmlns:a16="http://schemas.microsoft.com/office/drawing/2014/main" id="{AB9D4F7E-6CC0-471E-ABAA-74782B849466}"/>
              </a:ext>
            </a:extLst>
          </p:cNvPr>
          <p:cNvSpPr/>
          <p:nvPr userDrawn="1"/>
        </p:nvSpPr>
        <p:spPr>
          <a:xfrm rot="16200000">
            <a:off x="4044043" y="-1289955"/>
            <a:ext cx="6857999" cy="9437913"/>
          </a:xfrm>
          <a:prstGeom prst="rtTriangle">
            <a:avLst/>
          </a:prstGeom>
          <a:solidFill>
            <a:srgbClr val="318A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033691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CDB82B-E34F-42B4-9049-42D51F22C36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D5B2A8C-FE8F-454E-8601-D681CD694E6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5DF8674-2668-47D5-8943-9F88D027842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C6BAEF8-6D29-4F79-B67A-C57CB527110F}"/>
              </a:ext>
            </a:extLst>
          </p:cNvPr>
          <p:cNvSpPr>
            <a:spLocks noGrp="1"/>
          </p:cNvSpPr>
          <p:nvPr>
            <p:ph type="dt" sz="half" idx="10"/>
          </p:nvPr>
        </p:nvSpPr>
        <p:spPr/>
        <p:txBody>
          <a:bodyPr/>
          <a:lstStyle/>
          <a:p>
            <a:fld id="{A58A16B2-AD0B-425F-9F9B-A88BC867773B}" type="datetime1">
              <a:rPr lang="en-US" smtClean="0"/>
              <a:t>3/24/2022</a:t>
            </a:fld>
            <a:endParaRPr lang="en-US"/>
          </a:p>
        </p:txBody>
      </p:sp>
      <p:sp>
        <p:nvSpPr>
          <p:cNvPr id="6" name="Footer Placeholder 5">
            <a:extLst>
              <a:ext uri="{FF2B5EF4-FFF2-40B4-BE49-F238E27FC236}">
                <a16:creationId xmlns:a16="http://schemas.microsoft.com/office/drawing/2014/main" id="{69110462-6785-4D48-94FF-EDB0CB7704E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5C6BDBC-682F-408E-845D-722A122B515A}"/>
              </a:ext>
            </a:extLst>
          </p:cNvPr>
          <p:cNvSpPr>
            <a:spLocks noGrp="1"/>
          </p:cNvSpPr>
          <p:nvPr>
            <p:ph type="sldNum" sz="quarter" idx="12"/>
          </p:nvPr>
        </p:nvSpPr>
        <p:spPr/>
        <p:txBody>
          <a:bodyPr/>
          <a:lstStyle/>
          <a:p>
            <a:fld id="{D1541BB9-6530-43D2-B7E0-33A89042A350}" type="slidenum">
              <a:rPr lang="en-US" smtClean="0"/>
              <a:t>‹#›</a:t>
            </a:fld>
            <a:endParaRPr lang="en-US"/>
          </a:p>
        </p:txBody>
      </p:sp>
    </p:spTree>
    <p:extLst>
      <p:ext uri="{BB962C8B-B14F-4D97-AF65-F5344CB8AC3E}">
        <p14:creationId xmlns:p14="http://schemas.microsoft.com/office/powerpoint/2010/main" val="486356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486CF3-D0FB-4FC0-8382-913C043FF4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30C0DF8-F343-4658-B860-BC735ACA6D6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B85A173-0F55-4A16-BD72-1251241B6A4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91AEA58-0CF6-4BBF-B38D-37B4C79CA91D}"/>
              </a:ext>
            </a:extLst>
          </p:cNvPr>
          <p:cNvSpPr>
            <a:spLocks noGrp="1"/>
          </p:cNvSpPr>
          <p:nvPr>
            <p:ph type="dt" sz="half" idx="10"/>
          </p:nvPr>
        </p:nvSpPr>
        <p:spPr/>
        <p:txBody>
          <a:bodyPr/>
          <a:lstStyle/>
          <a:p>
            <a:fld id="{81DA2DF1-F7AB-4E9E-86A4-46D71E228B79}" type="datetime1">
              <a:rPr lang="en-US" smtClean="0"/>
              <a:t>3/24/2022</a:t>
            </a:fld>
            <a:endParaRPr lang="en-US"/>
          </a:p>
        </p:txBody>
      </p:sp>
      <p:sp>
        <p:nvSpPr>
          <p:cNvPr id="6" name="Footer Placeholder 5">
            <a:extLst>
              <a:ext uri="{FF2B5EF4-FFF2-40B4-BE49-F238E27FC236}">
                <a16:creationId xmlns:a16="http://schemas.microsoft.com/office/drawing/2014/main" id="{03E68552-B61A-44FB-928D-A892D695795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DA2E9B-51B0-44FD-852B-E51AC16AEF18}"/>
              </a:ext>
            </a:extLst>
          </p:cNvPr>
          <p:cNvSpPr>
            <a:spLocks noGrp="1"/>
          </p:cNvSpPr>
          <p:nvPr>
            <p:ph type="sldNum" sz="quarter" idx="12"/>
          </p:nvPr>
        </p:nvSpPr>
        <p:spPr/>
        <p:txBody>
          <a:bodyPr/>
          <a:lstStyle/>
          <a:p>
            <a:fld id="{D1541BB9-6530-43D2-B7E0-33A89042A350}" type="slidenum">
              <a:rPr lang="en-US" smtClean="0"/>
              <a:t>‹#›</a:t>
            </a:fld>
            <a:endParaRPr lang="en-US"/>
          </a:p>
        </p:txBody>
      </p:sp>
    </p:spTree>
    <p:extLst>
      <p:ext uri="{BB962C8B-B14F-4D97-AF65-F5344CB8AC3E}">
        <p14:creationId xmlns:p14="http://schemas.microsoft.com/office/powerpoint/2010/main" val="70617849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36457-E966-4DAB-8CE7-08B7EDFA580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66D8CC8-84C8-45D3-934C-4FC17CD5750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DA64E6B-62C6-4857-B3BC-640299DD12E8}"/>
              </a:ext>
            </a:extLst>
          </p:cNvPr>
          <p:cNvSpPr>
            <a:spLocks noGrp="1"/>
          </p:cNvSpPr>
          <p:nvPr>
            <p:ph type="dt" sz="half" idx="10"/>
          </p:nvPr>
        </p:nvSpPr>
        <p:spPr/>
        <p:txBody>
          <a:bodyPr/>
          <a:lstStyle/>
          <a:p>
            <a:fld id="{878617D3-D9EF-4277-ADB6-33DF20778F9B}" type="datetime1">
              <a:rPr lang="en-US" smtClean="0"/>
              <a:t>3/24/2022</a:t>
            </a:fld>
            <a:endParaRPr lang="en-US"/>
          </a:p>
        </p:txBody>
      </p:sp>
      <p:sp>
        <p:nvSpPr>
          <p:cNvPr id="5" name="Footer Placeholder 4">
            <a:extLst>
              <a:ext uri="{FF2B5EF4-FFF2-40B4-BE49-F238E27FC236}">
                <a16:creationId xmlns:a16="http://schemas.microsoft.com/office/drawing/2014/main" id="{451F9A6B-40EF-471C-87C8-ABA8AB76D4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07C63C9-A03A-457F-8B1D-1A178C2D6AE3}"/>
              </a:ext>
            </a:extLst>
          </p:cNvPr>
          <p:cNvSpPr>
            <a:spLocks noGrp="1"/>
          </p:cNvSpPr>
          <p:nvPr>
            <p:ph type="sldNum" sz="quarter" idx="12"/>
          </p:nvPr>
        </p:nvSpPr>
        <p:spPr/>
        <p:txBody>
          <a:bodyPr/>
          <a:lstStyle/>
          <a:p>
            <a:fld id="{D1541BB9-6530-43D2-B7E0-33A89042A350}" type="slidenum">
              <a:rPr lang="en-US" smtClean="0"/>
              <a:t>‹#›</a:t>
            </a:fld>
            <a:endParaRPr lang="en-US"/>
          </a:p>
        </p:txBody>
      </p:sp>
    </p:spTree>
    <p:extLst>
      <p:ext uri="{BB962C8B-B14F-4D97-AF65-F5344CB8AC3E}">
        <p14:creationId xmlns:p14="http://schemas.microsoft.com/office/powerpoint/2010/main" val="63284917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0A910D8-656C-4B27-BA6E-3F22590C394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E5FAEC0-0E47-4A6E-9096-9D731CD2F1F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EB9D4A-5086-4FE9-9CC3-2643A9CECF34}"/>
              </a:ext>
            </a:extLst>
          </p:cNvPr>
          <p:cNvSpPr>
            <a:spLocks noGrp="1"/>
          </p:cNvSpPr>
          <p:nvPr>
            <p:ph type="dt" sz="half" idx="10"/>
          </p:nvPr>
        </p:nvSpPr>
        <p:spPr/>
        <p:txBody>
          <a:bodyPr/>
          <a:lstStyle/>
          <a:p>
            <a:fld id="{76F7C409-1427-4D9A-9780-26569422551E}" type="datetime1">
              <a:rPr lang="en-US" smtClean="0"/>
              <a:t>3/24/2022</a:t>
            </a:fld>
            <a:endParaRPr lang="en-US"/>
          </a:p>
        </p:txBody>
      </p:sp>
      <p:sp>
        <p:nvSpPr>
          <p:cNvPr id="5" name="Footer Placeholder 4">
            <a:extLst>
              <a:ext uri="{FF2B5EF4-FFF2-40B4-BE49-F238E27FC236}">
                <a16:creationId xmlns:a16="http://schemas.microsoft.com/office/drawing/2014/main" id="{172E917B-1882-4FD0-9AB7-70022691A97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30420A-F872-4E28-BB7C-8C96AA6268A9}"/>
              </a:ext>
            </a:extLst>
          </p:cNvPr>
          <p:cNvSpPr>
            <a:spLocks noGrp="1"/>
          </p:cNvSpPr>
          <p:nvPr>
            <p:ph type="sldNum" sz="quarter" idx="12"/>
          </p:nvPr>
        </p:nvSpPr>
        <p:spPr/>
        <p:txBody>
          <a:bodyPr/>
          <a:lstStyle/>
          <a:p>
            <a:fld id="{D1541BB9-6530-43D2-B7E0-33A89042A350}" type="slidenum">
              <a:rPr lang="en-US" smtClean="0"/>
              <a:t>‹#›</a:t>
            </a:fld>
            <a:endParaRPr lang="en-US"/>
          </a:p>
        </p:txBody>
      </p:sp>
    </p:spTree>
    <p:extLst>
      <p:ext uri="{BB962C8B-B14F-4D97-AF65-F5344CB8AC3E}">
        <p14:creationId xmlns:p14="http://schemas.microsoft.com/office/powerpoint/2010/main" val="148335165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22"/>
        <p:cNvGrpSpPr/>
        <p:nvPr/>
      </p:nvGrpSpPr>
      <p:grpSpPr>
        <a:xfrm>
          <a:off x="0" y="0"/>
          <a:ext cx="0" cy="0"/>
          <a:chOff x="0" y="0"/>
          <a:chExt cx="0" cy="0"/>
        </a:xfrm>
      </p:grpSpPr>
      <p:sp>
        <p:nvSpPr>
          <p:cNvPr id="23" name="Google Shape;23;p38"/>
          <p:cNvSpPr txBox="1">
            <a:spLocks noGrp="1"/>
          </p:cNvSpPr>
          <p:nvPr>
            <p:ph type="title"/>
          </p:nvPr>
        </p:nvSpPr>
        <p:spPr>
          <a:xfrm>
            <a:off x="1090991" y="295103"/>
            <a:ext cx="10010000" cy="332399"/>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lt1"/>
              </a:buClr>
              <a:buSzPts val="700"/>
              <a:buFont typeface="Arial"/>
              <a:buNone/>
              <a:defRPr sz="2400" b="1" i="0">
                <a:solidFill>
                  <a:schemeClr val="lt1"/>
                </a:solidFill>
                <a:latin typeface="Arial"/>
                <a:ea typeface="Arial"/>
                <a:cs typeface="Arial"/>
                <a:sym typeface="Arial"/>
              </a:defRPr>
            </a:lvl1pPr>
            <a:lvl2pPr lvl="1">
              <a:spcBef>
                <a:spcPts val="0"/>
              </a:spcBef>
              <a:spcAft>
                <a:spcPts val="0"/>
              </a:spcAft>
              <a:buSzPts val="700"/>
              <a:buNone/>
              <a:defRPr/>
            </a:lvl2pPr>
            <a:lvl3pPr lvl="2">
              <a:spcBef>
                <a:spcPts val="0"/>
              </a:spcBef>
              <a:spcAft>
                <a:spcPts val="0"/>
              </a:spcAft>
              <a:buSzPts val="700"/>
              <a:buNone/>
              <a:defRPr/>
            </a:lvl3pPr>
            <a:lvl4pPr lvl="3">
              <a:spcBef>
                <a:spcPts val="0"/>
              </a:spcBef>
              <a:spcAft>
                <a:spcPts val="0"/>
              </a:spcAft>
              <a:buSzPts val="700"/>
              <a:buNone/>
              <a:defRPr/>
            </a:lvl4pPr>
            <a:lvl5pPr lvl="4">
              <a:spcBef>
                <a:spcPts val="0"/>
              </a:spcBef>
              <a:spcAft>
                <a:spcPts val="0"/>
              </a:spcAft>
              <a:buSzPts val="700"/>
              <a:buNone/>
              <a:defRPr/>
            </a:lvl5pPr>
            <a:lvl6pPr lvl="5">
              <a:spcBef>
                <a:spcPts val="0"/>
              </a:spcBef>
              <a:spcAft>
                <a:spcPts val="0"/>
              </a:spcAft>
              <a:buSzPts val="700"/>
              <a:buNone/>
              <a:defRPr/>
            </a:lvl6pPr>
            <a:lvl7pPr lvl="6">
              <a:spcBef>
                <a:spcPts val="0"/>
              </a:spcBef>
              <a:spcAft>
                <a:spcPts val="0"/>
              </a:spcAft>
              <a:buSzPts val="700"/>
              <a:buNone/>
              <a:defRPr/>
            </a:lvl7pPr>
            <a:lvl8pPr lvl="7">
              <a:spcBef>
                <a:spcPts val="0"/>
              </a:spcBef>
              <a:spcAft>
                <a:spcPts val="0"/>
              </a:spcAft>
              <a:buSzPts val="700"/>
              <a:buNone/>
              <a:defRPr/>
            </a:lvl8pPr>
            <a:lvl9pPr lvl="8">
              <a:spcBef>
                <a:spcPts val="0"/>
              </a:spcBef>
              <a:spcAft>
                <a:spcPts val="0"/>
              </a:spcAft>
              <a:buSzPts val="700"/>
              <a:buNone/>
              <a:defRPr/>
            </a:lvl9pPr>
          </a:lstStyle>
          <a:p>
            <a:endParaRPr/>
          </a:p>
        </p:txBody>
      </p:sp>
      <p:sp>
        <p:nvSpPr>
          <p:cNvPr id="24" name="Google Shape;24;p38"/>
          <p:cNvSpPr txBox="1">
            <a:spLocks noGrp="1"/>
          </p:cNvSpPr>
          <p:nvPr>
            <p:ph type="ftr" idx="11"/>
          </p:nvPr>
        </p:nvSpPr>
        <p:spPr>
          <a:xfrm>
            <a:off x="4145280" y="6377940"/>
            <a:ext cx="3901200" cy="184666"/>
          </a:xfrm>
          <a:prstGeom prst="rect">
            <a:avLst/>
          </a:prstGeom>
          <a:noFill/>
          <a:ln>
            <a:noFill/>
          </a:ln>
        </p:spPr>
        <p:txBody>
          <a:bodyPr spcFirstLastPara="1" wrap="square" lIns="0" tIns="0" rIns="0" bIns="0" anchor="t" anchorCtr="0">
            <a:spAutoFit/>
          </a:bodyPr>
          <a:lstStyle>
            <a:lvl1pPr lvl="0" algn="ctr">
              <a:spcBef>
                <a:spcPts val="0"/>
              </a:spcBef>
              <a:spcAft>
                <a:spcPts val="0"/>
              </a:spcAft>
              <a:buClr>
                <a:srgbClr val="888888"/>
              </a:buClr>
              <a:buSzPts val="700"/>
              <a:buFont typeface="Calibri"/>
              <a:buNone/>
              <a:defRPr>
                <a:solidFill>
                  <a:srgbClr val="888888"/>
                </a:solidFill>
              </a:defRPr>
            </a:lvl1pPr>
            <a:lvl2pPr lvl="1" algn="l">
              <a:spcBef>
                <a:spcPts val="0"/>
              </a:spcBef>
              <a:spcAft>
                <a:spcPts val="0"/>
              </a:spcAft>
              <a:buClr>
                <a:schemeClr val="dk1"/>
              </a:buClr>
              <a:buSzPts val="700"/>
              <a:buFont typeface="Calibri"/>
              <a:buNone/>
              <a:defRPr/>
            </a:lvl2pPr>
            <a:lvl3pPr lvl="2" algn="l">
              <a:spcBef>
                <a:spcPts val="0"/>
              </a:spcBef>
              <a:spcAft>
                <a:spcPts val="0"/>
              </a:spcAft>
              <a:buClr>
                <a:schemeClr val="dk1"/>
              </a:buClr>
              <a:buSzPts val="700"/>
              <a:buFont typeface="Calibri"/>
              <a:buNone/>
              <a:defRPr/>
            </a:lvl3pPr>
            <a:lvl4pPr lvl="3" algn="l">
              <a:spcBef>
                <a:spcPts val="0"/>
              </a:spcBef>
              <a:spcAft>
                <a:spcPts val="0"/>
              </a:spcAft>
              <a:buClr>
                <a:schemeClr val="dk1"/>
              </a:buClr>
              <a:buSzPts val="700"/>
              <a:buFont typeface="Calibri"/>
              <a:buNone/>
              <a:defRPr/>
            </a:lvl4pPr>
            <a:lvl5pPr lvl="4" algn="l">
              <a:spcBef>
                <a:spcPts val="0"/>
              </a:spcBef>
              <a:spcAft>
                <a:spcPts val="0"/>
              </a:spcAft>
              <a:buClr>
                <a:schemeClr val="dk1"/>
              </a:buClr>
              <a:buSzPts val="700"/>
              <a:buFont typeface="Calibri"/>
              <a:buNone/>
              <a:defRPr/>
            </a:lvl5pPr>
            <a:lvl6pPr lvl="5" algn="l">
              <a:spcBef>
                <a:spcPts val="0"/>
              </a:spcBef>
              <a:spcAft>
                <a:spcPts val="0"/>
              </a:spcAft>
              <a:buClr>
                <a:schemeClr val="dk1"/>
              </a:buClr>
              <a:buSzPts val="700"/>
              <a:buFont typeface="Calibri"/>
              <a:buNone/>
              <a:defRPr/>
            </a:lvl6pPr>
            <a:lvl7pPr lvl="6" algn="l">
              <a:spcBef>
                <a:spcPts val="0"/>
              </a:spcBef>
              <a:spcAft>
                <a:spcPts val="0"/>
              </a:spcAft>
              <a:buClr>
                <a:schemeClr val="dk1"/>
              </a:buClr>
              <a:buSzPts val="700"/>
              <a:buFont typeface="Calibri"/>
              <a:buNone/>
              <a:defRPr/>
            </a:lvl7pPr>
            <a:lvl8pPr lvl="7" algn="l">
              <a:spcBef>
                <a:spcPts val="0"/>
              </a:spcBef>
              <a:spcAft>
                <a:spcPts val="0"/>
              </a:spcAft>
              <a:buClr>
                <a:schemeClr val="dk1"/>
              </a:buClr>
              <a:buSzPts val="700"/>
              <a:buFont typeface="Calibri"/>
              <a:buNone/>
              <a:defRPr/>
            </a:lvl8pPr>
            <a:lvl9pPr lvl="8" algn="l">
              <a:spcBef>
                <a:spcPts val="0"/>
              </a:spcBef>
              <a:spcAft>
                <a:spcPts val="0"/>
              </a:spcAft>
              <a:buClr>
                <a:schemeClr val="dk1"/>
              </a:buClr>
              <a:buSzPts val="700"/>
              <a:buFont typeface="Calibri"/>
              <a:buNone/>
              <a:defRPr/>
            </a:lvl9pPr>
          </a:lstStyle>
          <a:p>
            <a:endParaRPr/>
          </a:p>
        </p:txBody>
      </p:sp>
      <p:sp>
        <p:nvSpPr>
          <p:cNvPr id="25" name="Google Shape;25;p38"/>
          <p:cNvSpPr txBox="1">
            <a:spLocks noGrp="1"/>
          </p:cNvSpPr>
          <p:nvPr>
            <p:ph type="dt" idx="10"/>
          </p:nvPr>
        </p:nvSpPr>
        <p:spPr>
          <a:xfrm>
            <a:off x="609600" y="6377940"/>
            <a:ext cx="2804000" cy="184666"/>
          </a:xfrm>
          <a:prstGeom prst="rect">
            <a:avLst/>
          </a:prstGeom>
          <a:noFill/>
          <a:ln>
            <a:noFill/>
          </a:ln>
        </p:spPr>
        <p:txBody>
          <a:bodyPr spcFirstLastPara="1" wrap="square" lIns="0" tIns="0" rIns="0" bIns="0" anchor="t" anchorCtr="0">
            <a:spAutoFit/>
          </a:bodyPr>
          <a:lstStyle>
            <a:lvl1pPr lvl="0" algn="l">
              <a:spcBef>
                <a:spcPts val="0"/>
              </a:spcBef>
              <a:spcAft>
                <a:spcPts val="0"/>
              </a:spcAft>
              <a:buClr>
                <a:srgbClr val="888888"/>
              </a:buClr>
              <a:buSzPts val="700"/>
              <a:buFont typeface="Calibri"/>
              <a:buNone/>
              <a:defRPr>
                <a:solidFill>
                  <a:srgbClr val="888888"/>
                </a:solidFill>
              </a:defRPr>
            </a:lvl1pPr>
            <a:lvl2pPr lvl="1" algn="l">
              <a:spcBef>
                <a:spcPts val="0"/>
              </a:spcBef>
              <a:spcAft>
                <a:spcPts val="0"/>
              </a:spcAft>
              <a:buClr>
                <a:schemeClr val="dk1"/>
              </a:buClr>
              <a:buSzPts val="700"/>
              <a:buFont typeface="Calibri"/>
              <a:buNone/>
              <a:defRPr/>
            </a:lvl2pPr>
            <a:lvl3pPr lvl="2" algn="l">
              <a:spcBef>
                <a:spcPts val="0"/>
              </a:spcBef>
              <a:spcAft>
                <a:spcPts val="0"/>
              </a:spcAft>
              <a:buClr>
                <a:schemeClr val="dk1"/>
              </a:buClr>
              <a:buSzPts val="700"/>
              <a:buFont typeface="Calibri"/>
              <a:buNone/>
              <a:defRPr/>
            </a:lvl3pPr>
            <a:lvl4pPr lvl="3" algn="l">
              <a:spcBef>
                <a:spcPts val="0"/>
              </a:spcBef>
              <a:spcAft>
                <a:spcPts val="0"/>
              </a:spcAft>
              <a:buClr>
                <a:schemeClr val="dk1"/>
              </a:buClr>
              <a:buSzPts val="700"/>
              <a:buFont typeface="Calibri"/>
              <a:buNone/>
              <a:defRPr/>
            </a:lvl4pPr>
            <a:lvl5pPr lvl="4" algn="l">
              <a:spcBef>
                <a:spcPts val="0"/>
              </a:spcBef>
              <a:spcAft>
                <a:spcPts val="0"/>
              </a:spcAft>
              <a:buClr>
                <a:schemeClr val="dk1"/>
              </a:buClr>
              <a:buSzPts val="700"/>
              <a:buFont typeface="Calibri"/>
              <a:buNone/>
              <a:defRPr/>
            </a:lvl5pPr>
            <a:lvl6pPr lvl="5" algn="l">
              <a:spcBef>
                <a:spcPts val="0"/>
              </a:spcBef>
              <a:spcAft>
                <a:spcPts val="0"/>
              </a:spcAft>
              <a:buClr>
                <a:schemeClr val="dk1"/>
              </a:buClr>
              <a:buSzPts val="700"/>
              <a:buFont typeface="Calibri"/>
              <a:buNone/>
              <a:defRPr/>
            </a:lvl6pPr>
            <a:lvl7pPr lvl="6" algn="l">
              <a:spcBef>
                <a:spcPts val="0"/>
              </a:spcBef>
              <a:spcAft>
                <a:spcPts val="0"/>
              </a:spcAft>
              <a:buClr>
                <a:schemeClr val="dk1"/>
              </a:buClr>
              <a:buSzPts val="700"/>
              <a:buFont typeface="Calibri"/>
              <a:buNone/>
              <a:defRPr/>
            </a:lvl7pPr>
            <a:lvl8pPr lvl="7" algn="l">
              <a:spcBef>
                <a:spcPts val="0"/>
              </a:spcBef>
              <a:spcAft>
                <a:spcPts val="0"/>
              </a:spcAft>
              <a:buClr>
                <a:schemeClr val="dk1"/>
              </a:buClr>
              <a:buSzPts val="700"/>
              <a:buFont typeface="Calibri"/>
              <a:buNone/>
              <a:defRPr/>
            </a:lvl8pPr>
            <a:lvl9pPr lvl="8" algn="l">
              <a:spcBef>
                <a:spcPts val="0"/>
              </a:spcBef>
              <a:spcAft>
                <a:spcPts val="0"/>
              </a:spcAft>
              <a:buClr>
                <a:schemeClr val="dk1"/>
              </a:buClr>
              <a:buSzPts val="700"/>
              <a:buFont typeface="Calibri"/>
              <a:buNone/>
              <a:defRPr/>
            </a:lvl9pPr>
          </a:lstStyle>
          <a:p>
            <a:fld id="{9FDA9CA2-2351-4693-A599-E88F9E4D7EE6}" type="datetime1">
              <a:rPr lang="en-US" smtClean="0"/>
              <a:t>3/24/2022</a:t>
            </a:fld>
            <a:endParaRPr/>
          </a:p>
        </p:txBody>
      </p:sp>
      <p:sp>
        <p:nvSpPr>
          <p:cNvPr id="26" name="Google Shape;26;p38"/>
          <p:cNvSpPr txBox="1">
            <a:spLocks noGrp="1"/>
          </p:cNvSpPr>
          <p:nvPr>
            <p:ph type="sldNum" idx="12"/>
          </p:nvPr>
        </p:nvSpPr>
        <p:spPr>
          <a:xfrm>
            <a:off x="9220425" y="6287181"/>
            <a:ext cx="2743200" cy="366183"/>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933">
                <a:solidFill>
                  <a:srgbClr val="888888"/>
                </a:solidFill>
                <a:latin typeface="Arial"/>
                <a:ea typeface="Arial"/>
                <a:cs typeface="Arial"/>
                <a:sym typeface="Arial"/>
              </a:defRPr>
            </a:lvl1pPr>
            <a:lvl2pPr marL="0" lvl="1" indent="0" algn="r">
              <a:spcBef>
                <a:spcPts val="0"/>
              </a:spcBef>
              <a:buNone/>
              <a:defRPr sz="933">
                <a:solidFill>
                  <a:srgbClr val="888888"/>
                </a:solidFill>
                <a:latin typeface="Arial"/>
                <a:ea typeface="Arial"/>
                <a:cs typeface="Arial"/>
                <a:sym typeface="Arial"/>
              </a:defRPr>
            </a:lvl2pPr>
            <a:lvl3pPr marL="0" lvl="2" indent="0" algn="r">
              <a:spcBef>
                <a:spcPts val="0"/>
              </a:spcBef>
              <a:buNone/>
              <a:defRPr sz="933">
                <a:solidFill>
                  <a:srgbClr val="888888"/>
                </a:solidFill>
                <a:latin typeface="Arial"/>
                <a:ea typeface="Arial"/>
                <a:cs typeface="Arial"/>
                <a:sym typeface="Arial"/>
              </a:defRPr>
            </a:lvl3pPr>
            <a:lvl4pPr marL="0" lvl="3" indent="0" algn="r">
              <a:spcBef>
                <a:spcPts val="0"/>
              </a:spcBef>
              <a:buNone/>
              <a:defRPr sz="933">
                <a:solidFill>
                  <a:srgbClr val="888888"/>
                </a:solidFill>
                <a:latin typeface="Arial"/>
                <a:ea typeface="Arial"/>
                <a:cs typeface="Arial"/>
                <a:sym typeface="Arial"/>
              </a:defRPr>
            </a:lvl4pPr>
            <a:lvl5pPr marL="0" lvl="4" indent="0" algn="r">
              <a:spcBef>
                <a:spcPts val="0"/>
              </a:spcBef>
              <a:buNone/>
              <a:defRPr sz="933">
                <a:solidFill>
                  <a:srgbClr val="888888"/>
                </a:solidFill>
                <a:latin typeface="Arial"/>
                <a:ea typeface="Arial"/>
                <a:cs typeface="Arial"/>
                <a:sym typeface="Arial"/>
              </a:defRPr>
            </a:lvl5pPr>
            <a:lvl6pPr marL="0" lvl="5" indent="0" algn="r">
              <a:spcBef>
                <a:spcPts val="0"/>
              </a:spcBef>
              <a:buNone/>
              <a:defRPr sz="933">
                <a:solidFill>
                  <a:srgbClr val="888888"/>
                </a:solidFill>
                <a:latin typeface="Arial"/>
                <a:ea typeface="Arial"/>
                <a:cs typeface="Arial"/>
                <a:sym typeface="Arial"/>
              </a:defRPr>
            </a:lvl6pPr>
            <a:lvl7pPr marL="0" lvl="6" indent="0" algn="r">
              <a:spcBef>
                <a:spcPts val="0"/>
              </a:spcBef>
              <a:buNone/>
              <a:defRPr sz="933">
                <a:solidFill>
                  <a:srgbClr val="888888"/>
                </a:solidFill>
                <a:latin typeface="Arial"/>
                <a:ea typeface="Arial"/>
                <a:cs typeface="Arial"/>
                <a:sym typeface="Arial"/>
              </a:defRPr>
            </a:lvl7pPr>
            <a:lvl8pPr marL="0" lvl="7" indent="0" algn="r">
              <a:spcBef>
                <a:spcPts val="0"/>
              </a:spcBef>
              <a:buNone/>
              <a:defRPr sz="933">
                <a:solidFill>
                  <a:srgbClr val="888888"/>
                </a:solidFill>
                <a:latin typeface="Arial"/>
                <a:ea typeface="Arial"/>
                <a:cs typeface="Arial"/>
                <a:sym typeface="Arial"/>
              </a:defRPr>
            </a:lvl8pPr>
            <a:lvl9pPr marL="0" lvl="8" indent="0" algn="r">
              <a:spcBef>
                <a:spcPts val="0"/>
              </a:spcBef>
              <a:buNone/>
              <a:defRPr sz="933">
                <a:solidFill>
                  <a:srgbClr val="88888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03578845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Slide Number Placeholder 5"/>
          <p:cNvSpPr>
            <a:spLocks noGrp="1"/>
          </p:cNvSpPr>
          <p:nvPr>
            <p:ph type="sldNum" sz="quarter" idx="12"/>
          </p:nvPr>
        </p:nvSpPr>
        <p:spPr/>
        <p:txBody>
          <a:bodyPr/>
          <a:lstStyle/>
          <a:p>
            <a:fld id="{4DE38BC6-D6A2-2D49-94ED-9FBA0C8D5700}" type="slidenum">
              <a:rPr lang="en-US" smtClean="0"/>
              <a:t>‹#›</a:t>
            </a:fld>
            <a:endParaRPr lang="en-US" dirty="0"/>
          </a:p>
        </p:txBody>
      </p:sp>
    </p:spTree>
    <p:extLst>
      <p:ext uri="{BB962C8B-B14F-4D97-AF65-F5344CB8AC3E}">
        <p14:creationId xmlns:p14="http://schemas.microsoft.com/office/powerpoint/2010/main" val="300596464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Network">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4DE38BC6-D6A2-2D49-94ED-9FBA0C8D5700}" type="slidenum">
              <a:rPr lang="en-US" smtClean="0"/>
              <a:t>‹#›</a:t>
            </a:fld>
            <a:endParaRPr lang="en-US"/>
          </a:p>
        </p:txBody>
      </p:sp>
      <p:grpSp>
        <p:nvGrpSpPr>
          <p:cNvPr id="17" name="Group 16"/>
          <p:cNvGrpSpPr/>
          <p:nvPr userDrawn="1"/>
        </p:nvGrpSpPr>
        <p:grpSpPr>
          <a:xfrm>
            <a:off x="570590" y="6260052"/>
            <a:ext cx="11012715" cy="254405"/>
            <a:chOff x="570441" y="6260051"/>
            <a:chExt cx="11009847" cy="254405"/>
          </a:xfrm>
        </p:grpSpPr>
        <p:sp>
          <p:nvSpPr>
            <p:cNvPr id="19" name="TextBox 18"/>
            <p:cNvSpPr txBox="1"/>
            <p:nvPr userDrawn="1"/>
          </p:nvSpPr>
          <p:spPr>
            <a:xfrm>
              <a:off x="570441" y="6260051"/>
              <a:ext cx="928159" cy="250816"/>
            </a:xfrm>
            <a:prstGeom prst="rect">
              <a:avLst/>
            </a:prstGeom>
            <a:solidFill>
              <a:srgbClr val="318AD0"/>
            </a:solidFill>
          </p:spPr>
          <p:txBody>
            <a:bodyPr wrap="square" lIns="0" tIns="0" rIns="0" bIns="0" rtlCol="0" anchor="t" anchorCtr="0">
              <a:noAutofit/>
            </a:bodyPr>
            <a:lstStyle/>
            <a:p>
              <a:pPr algn="ctr"/>
              <a:r>
                <a:rPr lang="en-US" sz="1500" kern="0" spc="0" dirty="0">
                  <a:solidFill>
                    <a:srgbClr val="FFFFFF"/>
                  </a:solidFill>
                  <a:latin typeface="Noto Sans Mono Bold"/>
                  <a:cs typeface="Noto Sans Mono Bold"/>
                </a:rPr>
                <a:t>NETWORK</a:t>
              </a:r>
            </a:p>
          </p:txBody>
        </p:sp>
        <p:sp>
          <p:nvSpPr>
            <p:cNvPr id="20" name="TextBox 19"/>
            <p:cNvSpPr txBox="1"/>
            <p:nvPr userDrawn="1"/>
          </p:nvSpPr>
          <p:spPr>
            <a:xfrm>
              <a:off x="2622550" y="6263640"/>
              <a:ext cx="611717" cy="250816"/>
            </a:xfrm>
            <a:prstGeom prst="rect">
              <a:avLst/>
            </a:prstGeom>
            <a:solidFill>
              <a:srgbClr val="318AD0"/>
            </a:solidFill>
          </p:spPr>
          <p:txBody>
            <a:bodyPr wrap="square" lIns="0" tIns="0" rIns="0" bIns="0" rtlCol="0" anchor="t" anchorCtr="0">
              <a:noAutofit/>
            </a:bodyPr>
            <a:lstStyle/>
            <a:p>
              <a:pPr algn="ctr"/>
              <a:r>
                <a:rPr lang="en-US" sz="1500" kern="0" spc="0" dirty="0">
                  <a:solidFill>
                    <a:srgbClr val="FFFFFF">
                      <a:alpha val="50000"/>
                    </a:srgbClr>
                  </a:solidFill>
                  <a:latin typeface="Noto Sans Mono Bold"/>
                  <a:cs typeface="Noto Sans Mono Bold"/>
                </a:rPr>
                <a:t>DATA</a:t>
              </a:r>
            </a:p>
          </p:txBody>
        </p:sp>
        <p:sp>
          <p:nvSpPr>
            <p:cNvPr id="21" name="TextBox 20"/>
            <p:cNvSpPr txBox="1"/>
            <p:nvPr userDrawn="1"/>
          </p:nvSpPr>
          <p:spPr>
            <a:xfrm>
              <a:off x="4347633" y="6263640"/>
              <a:ext cx="749300" cy="250816"/>
            </a:xfrm>
            <a:prstGeom prst="rect">
              <a:avLst/>
            </a:prstGeom>
            <a:solidFill>
              <a:srgbClr val="318AD0"/>
            </a:solidFill>
          </p:spPr>
          <p:txBody>
            <a:bodyPr wrap="square" lIns="0" tIns="0" rIns="0" bIns="0" rtlCol="0" anchor="t" anchorCtr="0">
              <a:noAutofit/>
            </a:bodyPr>
            <a:lstStyle/>
            <a:p>
              <a:pPr algn="ctr"/>
              <a:r>
                <a:rPr lang="en-US" sz="1500" kern="0" spc="0" dirty="0">
                  <a:solidFill>
                    <a:srgbClr val="FFFFFF">
                      <a:alpha val="50000"/>
                    </a:srgbClr>
                  </a:solidFill>
                  <a:latin typeface="Noto Sans Mono Bold"/>
                  <a:cs typeface="Noto Sans Mono Bold"/>
                </a:rPr>
                <a:t>USERS</a:t>
              </a:r>
            </a:p>
          </p:txBody>
        </p:sp>
        <p:sp>
          <p:nvSpPr>
            <p:cNvPr id="22" name="TextBox 21"/>
            <p:cNvSpPr txBox="1"/>
            <p:nvPr userDrawn="1"/>
          </p:nvSpPr>
          <p:spPr>
            <a:xfrm>
              <a:off x="6210301" y="6263640"/>
              <a:ext cx="1227666" cy="250816"/>
            </a:xfrm>
            <a:prstGeom prst="rect">
              <a:avLst/>
            </a:prstGeom>
            <a:solidFill>
              <a:srgbClr val="318AD0"/>
            </a:solidFill>
          </p:spPr>
          <p:txBody>
            <a:bodyPr wrap="square" lIns="0" tIns="0" rIns="0" bIns="0" rtlCol="0" anchor="t" anchorCtr="0">
              <a:noAutofit/>
            </a:bodyPr>
            <a:lstStyle/>
            <a:p>
              <a:pPr algn="ctr"/>
              <a:r>
                <a:rPr lang="en-US" sz="1500" kern="0" spc="0" dirty="0">
                  <a:solidFill>
                    <a:srgbClr val="FFFFFF">
                      <a:alpha val="50000"/>
                    </a:srgbClr>
                  </a:solidFill>
                  <a:latin typeface="Noto Sans Mono Bold"/>
                  <a:cs typeface="Noto Sans Mono Bold"/>
                </a:rPr>
                <a:t>ANALYTICS</a:t>
              </a:r>
            </a:p>
          </p:txBody>
        </p:sp>
        <p:sp>
          <p:nvSpPr>
            <p:cNvPr id="23" name="TextBox 22"/>
            <p:cNvSpPr txBox="1"/>
            <p:nvPr userDrawn="1"/>
          </p:nvSpPr>
          <p:spPr>
            <a:xfrm>
              <a:off x="8496300" y="6263640"/>
              <a:ext cx="1000125" cy="250816"/>
            </a:xfrm>
            <a:prstGeom prst="rect">
              <a:avLst/>
            </a:prstGeom>
            <a:solidFill>
              <a:srgbClr val="318AD0"/>
            </a:solidFill>
          </p:spPr>
          <p:txBody>
            <a:bodyPr wrap="square" lIns="0" tIns="0" rIns="0" bIns="0" rtlCol="0" anchor="t" anchorCtr="0">
              <a:noAutofit/>
            </a:bodyPr>
            <a:lstStyle/>
            <a:p>
              <a:pPr algn="ctr"/>
              <a:r>
                <a:rPr lang="en-US" sz="1500" kern="0" spc="0" dirty="0">
                  <a:solidFill>
                    <a:srgbClr val="FFFFFF">
                      <a:alpha val="50000"/>
                    </a:srgbClr>
                  </a:solidFill>
                  <a:latin typeface="Noto Sans Mono Bold"/>
                  <a:cs typeface="Noto Sans Mono Bold"/>
                </a:rPr>
                <a:t>INSIGHTS</a:t>
              </a:r>
            </a:p>
          </p:txBody>
        </p:sp>
        <p:sp>
          <p:nvSpPr>
            <p:cNvPr id="24" name="TextBox 23"/>
            <p:cNvSpPr txBox="1"/>
            <p:nvPr userDrawn="1"/>
          </p:nvSpPr>
          <p:spPr>
            <a:xfrm>
              <a:off x="10608736" y="6263640"/>
              <a:ext cx="971552" cy="250816"/>
            </a:xfrm>
            <a:prstGeom prst="rect">
              <a:avLst/>
            </a:prstGeom>
            <a:noFill/>
          </p:spPr>
          <p:txBody>
            <a:bodyPr wrap="square" lIns="0" tIns="0" rIns="0" bIns="0" rtlCol="0" anchor="t" anchorCtr="0">
              <a:noAutofit/>
            </a:bodyPr>
            <a:lstStyle/>
            <a:p>
              <a:pPr algn="ctr"/>
              <a:r>
                <a:rPr lang="en-US" sz="1500" kern="0" spc="0" dirty="0">
                  <a:solidFill>
                    <a:srgbClr val="FFFFFF">
                      <a:alpha val="50000"/>
                    </a:srgbClr>
                  </a:solidFill>
                  <a:latin typeface="Noto Sans Mono Bold"/>
                  <a:cs typeface="Noto Sans Mono Bold"/>
                </a:rPr>
                <a:t>ACTIONS</a:t>
              </a:r>
            </a:p>
          </p:txBody>
        </p:sp>
      </p:grpSp>
      <p:grpSp>
        <p:nvGrpSpPr>
          <p:cNvPr id="13" name="Group 12"/>
          <p:cNvGrpSpPr/>
          <p:nvPr userDrawn="1"/>
        </p:nvGrpSpPr>
        <p:grpSpPr>
          <a:xfrm>
            <a:off x="1549804" y="6382512"/>
            <a:ext cx="9061696" cy="0"/>
            <a:chOff x="1549400" y="6382512"/>
            <a:chExt cx="9059336" cy="0"/>
          </a:xfrm>
        </p:grpSpPr>
        <p:cxnSp>
          <p:nvCxnSpPr>
            <p:cNvPr id="14" name="Straight Connector 13"/>
            <p:cNvCxnSpPr/>
            <p:nvPr userDrawn="1"/>
          </p:nvCxnSpPr>
          <p:spPr>
            <a:xfrm>
              <a:off x="1549400" y="6382512"/>
              <a:ext cx="1042416" cy="0"/>
            </a:xfrm>
            <a:prstGeom prst="line">
              <a:avLst/>
            </a:prstGeom>
            <a:ln w="27940" cap="rnd">
              <a:solidFill>
                <a:schemeClr val="bg1">
                  <a:alpha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3282950" y="6382512"/>
              <a:ext cx="1042416" cy="0"/>
            </a:xfrm>
            <a:prstGeom prst="line">
              <a:avLst/>
            </a:prstGeom>
            <a:ln w="27940" cap="rnd">
              <a:solidFill>
                <a:schemeClr val="bg1">
                  <a:alpha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5137150" y="6382512"/>
              <a:ext cx="1042416" cy="0"/>
            </a:xfrm>
            <a:prstGeom prst="line">
              <a:avLst/>
            </a:prstGeom>
            <a:ln w="27940" cap="rnd">
              <a:solidFill>
                <a:schemeClr val="bg1">
                  <a:alpha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450709" y="6382512"/>
              <a:ext cx="1042416" cy="0"/>
            </a:xfrm>
            <a:prstGeom prst="line">
              <a:avLst/>
            </a:prstGeom>
            <a:ln w="27940" cap="rnd">
              <a:solidFill>
                <a:schemeClr val="bg1">
                  <a:alpha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9566320" y="6382512"/>
              <a:ext cx="1042416" cy="0"/>
            </a:xfrm>
            <a:prstGeom prst="line">
              <a:avLst/>
            </a:prstGeom>
            <a:ln w="27940" cap="rnd">
              <a:solidFill>
                <a:schemeClr val="bg1">
                  <a:alpha val="50000"/>
                </a:schemeClr>
              </a:solidFill>
              <a:prstDash val="sysDot"/>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92205410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Data">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4DE38BC6-D6A2-2D49-94ED-9FBA0C8D5700}" type="slidenum">
              <a:rPr lang="en-US" smtClean="0"/>
              <a:t>‹#›</a:t>
            </a:fld>
            <a:endParaRPr lang="en-US"/>
          </a:p>
        </p:txBody>
      </p:sp>
      <p:grpSp>
        <p:nvGrpSpPr>
          <p:cNvPr id="17" name="Group 16"/>
          <p:cNvGrpSpPr/>
          <p:nvPr userDrawn="1"/>
        </p:nvGrpSpPr>
        <p:grpSpPr>
          <a:xfrm>
            <a:off x="570590" y="6260052"/>
            <a:ext cx="11012715" cy="254405"/>
            <a:chOff x="570441" y="6260051"/>
            <a:chExt cx="11009847" cy="254405"/>
          </a:xfrm>
        </p:grpSpPr>
        <p:sp>
          <p:nvSpPr>
            <p:cNvPr id="19" name="TextBox 18"/>
            <p:cNvSpPr txBox="1"/>
            <p:nvPr userDrawn="1"/>
          </p:nvSpPr>
          <p:spPr>
            <a:xfrm>
              <a:off x="570441" y="6260051"/>
              <a:ext cx="928159" cy="250816"/>
            </a:xfrm>
            <a:prstGeom prst="rect">
              <a:avLst/>
            </a:prstGeom>
            <a:solidFill>
              <a:srgbClr val="318AD0"/>
            </a:solidFill>
          </p:spPr>
          <p:txBody>
            <a:bodyPr wrap="square" lIns="0" tIns="0" rIns="0" bIns="0" rtlCol="0" anchor="t" anchorCtr="0">
              <a:noAutofit/>
            </a:bodyPr>
            <a:lstStyle/>
            <a:p>
              <a:pPr algn="ctr"/>
              <a:r>
                <a:rPr lang="en-US" sz="1500" kern="0" spc="0" dirty="0">
                  <a:solidFill>
                    <a:srgbClr val="FFFFFF">
                      <a:alpha val="50000"/>
                    </a:srgbClr>
                  </a:solidFill>
                  <a:latin typeface="Noto Sans Mono Bold"/>
                  <a:cs typeface="Noto Sans Mono Bold"/>
                </a:rPr>
                <a:t>NETWORK</a:t>
              </a:r>
            </a:p>
          </p:txBody>
        </p:sp>
        <p:sp>
          <p:nvSpPr>
            <p:cNvPr id="20" name="TextBox 19"/>
            <p:cNvSpPr txBox="1"/>
            <p:nvPr userDrawn="1"/>
          </p:nvSpPr>
          <p:spPr>
            <a:xfrm>
              <a:off x="2622550" y="6263640"/>
              <a:ext cx="611717" cy="250816"/>
            </a:xfrm>
            <a:prstGeom prst="rect">
              <a:avLst/>
            </a:prstGeom>
            <a:solidFill>
              <a:srgbClr val="318AD0"/>
            </a:solidFill>
          </p:spPr>
          <p:txBody>
            <a:bodyPr wrap="square" lIns="0" tIns="0" rIns="0" bIns="0" rtlCol="0" anchor="t" anchorCtr="0">
              <a:noAutofit/>
            </a:bodyPr>
            <a:lstStyle/>
            <a:p>
              <a:pPr algn="ctr"/>
              <a:r>
                <a:rPr lang="en-US" sz="1500" kern="0" spc="0" dirty="0">
                  <a:solidFill>
                    <a:srgbClr val="FFFFFF"/>
                  </a:solidFill>
                  <a:latin typeface="Noto Sans Mono Bold"/>
                  <a:cs typeface="Noto Sans Mono Bold"/>
                </a:rPr>
                <a:t>DATA</a:t>
              </a:r>
            </a:p>
          </p:txBody>
        </p:sp>
        <p:sp>
          <p:nvSpPr>
            <p:cNvPr id="21" name="TextBox 20"/>
            <p:cNvSpPr txBox="1"/>
            <p:nvPr userDrawn="1"/>
          </p:nvSpPr>
          <p:spPr>
            <a:xfrm>
              <a:off x="4347633" y="6263640"/>
              <a:ext cx="749300" cy="250816"/>
            </a:xfrm>
            <a:prstGeom prst="rect">
              <a:avLst/>
            </a:prstGeom>
            <a:solidFill>
              <a:srgbClr val="318AD0"/>
            </a:solidFill>
          </p:spPr>
          <p:txBody>
            <a:bodyPr wrap="square" lIns="0" tIns="0" rIns="0" bIns="0" rtlCol="0" anchor="t" anchorCtr="0">
              <a:noAutofit/>
            </a:bodyPr>
            <a:lstStyle/>
            <a:p>
              <a:pPr algn="ctr"/>
              <a:r>
                <a:rPr lang="en-US" sz="1500" kern="0" spc="0" dirty="0">
                  <a:solidFill>
                    <a:srgbClr val="FFFFFF">
                      <a:alpha val="50000"/>
                    </a:srgbClr>
                  </a:solidFill>
                  <a:latin typeface="Noto Sans Mono Bold"/>
                  <a:cs typeface="Noto Sans Mono Bold"/>
                </a:rPr>
                <a:t>USERS</a:t>
              </a:r>
            </a:p>
          </p:txBody>
        </p:sp>
        <p:sp>
          <p:nvSpPr>
            <p:cNvPr id="22" name="TextBox 21"/>
            <p:cNvSpPr txBox="1"/>
            <p:nvPr userDrawn="1"/>
          </p:nvSpPr>
          <p:spPr>
            <a:xfrm>
              <a:off x="6210301" y="6263640"/>
              <a:ext cx="1227666" cy="250816"/>
            </a:xfrm>
            <a:prstGeom prst="rect">
              <a:avLst/>
            </a:prstGeom>
            <a:solidFill>
              <a:srgbClr val="318AD0"/>
            </a:solidFill>
          </p:spPr>
          <p:txBody>
            <a:bodyPr wrap="square" lIns="0" tIns="0" rIns="0" bIns="0" rtlCol="0" anchor="t" anchorCtr="0">
              <a:noAutofit/>
            </a:bodyPr>
            <a:lstStyle/>
            <a:p>
              <a:pPr algn="ctr"/>
              <a:r>
                <a:rPr lang="en-US" sz="1500" kern="0" spc="0" dirty="0">
                  <a:solidFill>
                    <a:srgbClr val="FFFFFF">
                      <a:alpha val="50000"/>
                    </a:srgbClr>
                  </a:solidFill>
                  <a:latin typeface="Noto Sans Mono Bold"/>
                  <a:cs typeface="Noto Sans Mono Bold"/>
                </a:rPr>
                <a:t>ANALYTICS</a:t>
              </a:r>
            </a:p>
          </p:txBody>
        </p:sp>
        <p:sp>
          <p:nvSpPr>
            <p:cNvPr id="23" name="TextBox 22"/>
            <p:cNvSpPr txBox="1"/>
            <p:nvPr userDrawn="1"/>
          </p:nvSpPr>
          <p:spPr>
            <a:xfrm>
              <a:off x="8496300" y="6263640"/>
              <a:ext cx="1000125" cy="250816"/>
            </a:xfrm>
            <a:prstGeom prst="rect">
              <a:avLst/>
            </a:prstGeom>
            <a:solidFill>
              <a:srgbClr val="318AD0"/>
            </a:solidFill>
          </p:spPr>
          <p:txBody>
            <a:bodyPr wrap="square" lIns="0" tIns="0" rIns="0" bIns="0" rtlCol="0" anchor="t" anchorCtr="0">
              <a:noAutofit/>
            </a:bodyPr>
            <a:lstStyle/>
            <a:p>
              <a:pPr algn="ctr"/>
              <a:r>
                <a:rPr lang="en-US" sz="1500" kern="0" spc="0" dirty="0">
                  <a:solidFill>
                    <a:srgbClr val="FFFFFF">
                      <a:alpha val="50000"/>
                    </a:srgbClr>
                  </a:solidFill>
                  <a:latin typeface="Noto Sans Mono Bold"/>
                  <a:cs typeface="Noto Sans Mono Bold"/>
                </a:rPr>
                <a:t>INSIGHTS</a:t>
              </a:r>
            </a:p>
          </p:txBody>
        </p:sp>
        <p:sp>
          <p:nvSpPr>
            <p:cNvPr id="24" name="TextBox 23"/>
            <p:cNvSpPr txBox="1"/>
            <p:nvPr userDrawn="1"/>
          </p:nvSpPr>
          <p:spPr>
            <a:xfrm>
              <a:off x="10608736" y="6263640"/>
              <a:ext cx="971552" cy="250816"/>
            </a:xfrm>
            <a:prstGeom prst="rect">
              <a:avLst/>
            </a:prstGeom>
            <a:noFill/>
          </p:spPr>
          <p:txBody>
            <a:bodyPr wrap="square" lIns="0" tIns="0" rIns="0" bIns="0" rtlCol="0" anchor="t" anchorCtr="0">
              <a:noAutofit/>
            </a:bodyPr>
            <a:lstStyle/>
            <a:p>
              <a:pPr algn="ctr"/>
              <a:r>
                <a:rPr lang="en-US" sz="1500" kern="0" spc="0" dirty="0">
                  <a:solidFill>
                    <a:srgbClr val="FFFFFF">
                      <a:alpha val="50000"/>
                    </a:srgbClr>
                  </a:solidFill>
                  <a:latin typeface="Noto Sans Mono Bold"/>
                  <a:cs typeface="Noto Sans Mono Bold"/>
                </a:rPr>
                <a:t>ACTIONS</a:t>
              </a:r>
            </a:p>
          </p:txBody>
        </p:sp>
      </p:grpSp>
      <p:grpSp>
        <p:nvGrpSpPr>
          <p:cNvPr id="13" name="Group 12"/>
          <p:cNvGrpSpPr/>
          <p:nvPr userDrawn="1"/>
        </p:nvGrpSpPr>
        <p:grpSpPr>
          <a:xfrm>
            <a:off x="1549804" y="6382512"/>
            <a:ext cx="9061696" cy="0"/>
            <a:chOff x="1549400" y="6382512"/>
            <a:chExt cx="9059336" cy="0"/>
          </a:xfrm>
        </p:grpSpPr>
        <p:cxnSp>
          <p:nvCxnSpPr>
            <p:cNvPr id="14" name="Straight Connector 13"/>
            <p:cNvCxnSpPr/>
            <p:nvPr userDrawn="1"/>
          </p:nvCxnSpPr>
          <p:spPr>
            <a:xfrm>
              <a:off x="1549400" y="6382512"/>
              <a:ext cx="1042416" cy="0"/>
            </a:xfrm>
            <a:prstGeom prst="line">
              <a:avLst/>
            </a:prstGeom>
            <a:ln w="27940" cap="rnd">
              <a:solidFill>
                <a:schemeClr val="bg1">
                  <a:alpha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3282950" y="6382512"/>
              <a:ext cx="1042416" cy="0"/>
            </a:xfrm>
            <a:prstGeom prst="line">
              <a:avLst/>
            </a:prstGeom>
            <a:ln w="27940" cap="rnd">
              <a:solidFill>
                <a:schemeClr val="bg1">
                  <a:alpha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5137150" y="6382512"/>
              <a:ext cx="1042416" cy="0"/>
            </a:xfrm>
            <a:prstGeom prst="line">
              <a:avLst/>
            </a:prstGeom>
            <a:ln w="27940" cap="rnd">
              <a:solidFill>
                <a:schemeClr val="bg1">
                  <a:alpha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450709" y="6382512"/>
              <a:ext cx="1042416" cy="0"/>
            </a:xfrm>
            <a:prstGeom prst="line">
              <a:avLst/>
            </a:prstGeom>
            <a:ln w="27940" cap="rnd">
              <a:solidFill>
                <a:schemeClr val="bg1">
                  <a:alpha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9566320" y="6382512"/>
              <a:ext cx="1042416" cy="0"/>
            </a:xfrm>
            <a:prstGeom prst="line">
              <a:avLst/>
            </a:prstGeom>
            <a:ln w="27940" cap="rnd">
              <a:solidFill>
                <a:schemeClr val="bg1">
                  <a:alpha val="50000"/>
                </a:schemeClr>
              </a:solidFill>
              <a:prstDash val="sysDot"/>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77176495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Users">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4DE38BC6-D6A2-2D49-94ED-9FBA0C8D5700}" type="slidenum">
              <a:rPr lang="en-US" smtClean="0"/>
              <a:t>‹#›</a:t>
            </a:fld>
            <a:endParaRPr lang="en-US"/>
          </a:p>
        </p:txBody>
      </p:sp>
      <p:grpSp>
        <p:nvGrpSpPr>
          <p:cNvPr id="17" name="Group 16"/>
          <p:cNvGrpSpPr/>
          <p:nvPr userDrawn="1"/>
        </p:nvGrpSpPr>
        <p:grpSpPr>
          <a:xfrm>
            <a:off x="570590" y="6260052"/>
            <a:ext cx="11012715" cy="254405"/>
            <a:chOff x="570441" y="6260051"/>
            <a:chExt cx="11009847" cy="254405"/>
          </a:xfrm>
        </p:grpSpPr>
        <p:sp>
          <p:nvSpPr>
            <p:cNvPr id="19" name="TextBox 18"/>
            <p:cNvSpPr txBox="1"/>
            <p:nvPr userDrawn="1"/>
          </p:nvSpPr>
          <p:spPr>
            <a:xfrm>
              <a:off x="570441" y="6260051"/>
              <a:ext cx="928159" cy="250816"/>
            </a:xfrm>
            <a:prstGeom prst="rect">
              <a:avLst/>
            </a:prstGeom>
            <a:solidFill>
              <a:srgbClr val="318AD0"/>
            </a:solidFill>
          </p:spPr>
          <p:txBody>
            <a:bodyPr wrap="square" lIns="0" tIns="0" rIns="0" bIns="0" rtlCol="0" anchor="t" anchorCtr="0">
              <a:noAutofit/>
            </a:bodyPr>
            <a:lstStyle/>
            <a:p>
              <a:pPr algn="ctr"/>
              <a:r>
                <a:rPr lang="en-US" sz="1500" kern="0" spc="0" dirty="0">
                  <a:solidFill>
                    <a:srgbClr val="FFFFFF">
                      <a:alpha val="50000"/>
                    </a:srgbClr>
                  </a:solidFill>
                  <a:latin typeface="Noto Sans Mono Bold"/>
                  <a:cs typeface="Noto Sans Mono Bold"/>
                </a:rPr>
                <a:t>NETWORK</a:t>
              </a:r>
            </a:p>
          </p:txBody>
        </p:sp>
        <p:sp>
          <p:nvSpPr>
            <p:cNvPr id="20" name="TextBox 19"/>
            <p:cNvSpPr txBox="1"/>
            <p:nvPr userDrawn="1"/>
          </p:nvSpPr>
          <p:spPr>
            <a:xfrm>
              <a:off x="2622550" y="6263640"/>
              <a:ext cx="611717" cy="250816"/>
            </a:xfrm>
            <a:prstGeom prst="rect">
              <a:avLst/>
            </a:prstGeom>
            <a:solidFill>
              <a:srgbClr val="318AD0"/>
            </a:solidFill>
          </p:spPr>
          <p:txBody>
            <a:bodyPr wrap="square" lIns="0" tIns="0" rIns="0" bIns="0" rtlCol="0" anchor="t" anchorCtr="0">
              <a:noAutofit/>
            </a:bodyPr>
            <a:lstStyle/>
            <a:p>
              <a:pPr algn="ctr"/>
              <a:r>
                <a:rPr lang="en-US" sz="1500" kern="0" spc="0" dirty="0">
                  <a:solidFill>
                    <a:srgbClr val="FFFFFF">
                      <a:alpha val="50000"/>
                    </a:srgbClr>
                  </a:solidFill>
                  <a:latin typeface="Noto Sans Mono Bold"/>
                  <a:cs typeface="Noto Sans Mono Bold"/>
                </a:rPr>
                <a:t>DATA</a:t>
              </a:r>
            </a:p>
          </p:txBody>
        </p:sp>
        <p:sp>
          <p:nvSpPr>
            <p:cNvPr id="21" name="TextBox 20"/>
            <p:cNvSpPr txBox="1"/>
            <p:nvPr userDrawn="1"/>
          </p:nvSpPr>
          <p:spPr>
            <a:xfrm>
              <a:off x="4347633" y="6263640"/>
              <a:ext cx="749300" cy="250816"/>
            </a:xfrm>
            <a:prstGeom prst="rect">
              <a:avLst/>
            </a:prstGeom>
            <a:solidFill>
              <a:srgbClr val="318AD0"/>
            </a:solidFill>
          </p:spPr>
          <p:txBody>
            <a:bodyPr wrap="square" lIns="0" tIns="0" rIns="0" bIns="0" rtlCol="0" anchor="t" anchorCtr="0">
              <a:noAutofit/>
            </a:bodyPr>
            <a:lstStyle/>
            <a:p>
              <a:pPr algn="ctr"/>
              <a:r>
                <a:rPr lang="en-US" sz="1500" kern="0" spc="0" dirty="0">
                  <a:solidFill>
                    <a:srgbClr val="FFFFFF"/>
                  </a:solidFill>
                  <a:latin typeface="Noto Sans Mono Bold"/>
                  <a:cs typeface="Noto Sans Mono Bold"/>
                </a:rPr>
                <a:t>USERS</a:t>
              </a:r>
            </a:p>
          </p:txBody>
        </p:sp>
        <p:sp>
          <p:nvSpPr>
            <p:cNvPr id="22" name="TextBox 21"/>
            <p:cNvSpPr txBox="1"/>
            <p:nvPr userDrawn="1"/>
          </p:nvSpPr>
          <p:spPr>
            <a:xfrm>
              <a:off x="6210301" y="6263640"/>
              <a:ext cx="1227666" cy="250816"/>
            </a:xfrm>
            <a:prstGeom prst="rect">
              <a:avLst/>
            </a:prstGeom>
            <a:solidFill>
              <a:srgbClr val="318AD0"/>
            </a:solidFill>
          </p:spPr>
          <p:txBody>
            <a:bodyPr wrap="square" lIns="0" tIns="0" rIns="0" bIns="0" rtlCol="0" anchor="t" anchorCtr="0">
              <a:noAutofit/>
            </a:bodyPr>
            <a:lstStyle/>
            <a:p>
              <a:pPr algn="ctr"/>
              <a:r>
                <a:rPr lang="en-US" sz="1500" kern="0" spc="0" dirty="0">
                  <a:solidFill>
                    <a:srgbClr val="FFFFFF">
                      <a:alpha val="50000"/>
                    </a:srgbClr>
                  </a:solidFill>
                  <a:latin typeface="Noto Sans Mono Bold"/>
                  <a:cs typeface="Noto Sans Mono Bold"/>
                </a:rPr>
                <a:t>ANALYTICS</a:t>
              </a:r>
            </a:p>
          </p:txBody>
        </p:sp>
        <p:sp>
          <p:nvSpPr>
            <p:cNvPr id="23" name="TextBox 22"/>
            <p:cNvSpPr txBox="1"/>
            <p:nvPr userDrawn="1"/>
          </p:nvSpPr>
          <p:spPr>
            <a:xfrm>
              <a:off x="8496300" y="6263640"/>
              <a:ext cx="1000125" cy="250816"/>
            </a:xfrm>
            <a:prstGeom prst="rect">
              <a:avLst/>
            </a:prstGeom>
            <a:solidFill>
              <a:srgbClr val="318AD0"/>
            </a:solidFill>
          </p:spPr>
          <p:txBody>
            <a:bodyPr wrap="square" lIns="0" tIns="0" rIns="0" bIns="0" rtlCol="0" anchor="t" anchorCtr="0">
              <a:noAutofit/>
            </a:bodyPr>
            <a:lstStyle/>
            <a:p>
              <a:pPr algn="ctr"/>
              <a:r>
                <a:rPr lang="en-US" sz="1500" kern="0" spc="0" dirty="0">
                  <a:solidFill>
                    <a:srgbClr val="FFFFFF">
                      <a:alpha val="50000"/>
                    </a:srgbClr>
                  </a:solidFill>
                  <a:latin typeface="Noto Sans Mono Bold"/>
                  <a:cs typeface="Noto Sans Mono Bold"/>
                </a:rPr>
                <a:t>INSIGHTS</a:t>
              </a:r>
            </a:p>
          </p:txBody>
        </p:sp>
        <p:sp>
          <p:nvSpPr>
            <p:cNvPr id="24" name="TextBox 23"/>
            <p:cNvSpPr txBox="1"/>
            <p:nvPr userDrawn="1"/>
          </p:nvSpPr>
          <p:spPr>
            <a:xfrm>
              <a:off x="10608736" y="6263640"/>
              <a:ext cx="971552" cy="250816"/>
            </a:xfrm>
            <a:prstGeom prst="rect">
              <a:avLst/>
            </a:prstGeom>
            <a:noFill/>
          </p:spPr>
          <p:txBody>
            <a:bodyPr wrap="square" lIns="0" tIns="0" rIns="0" bIns="0" rtlCol="0" anchor="t" anchorCtr="0">
              <a:noAutofit/>
            </a:bodyPr>
            <a:lstStyle/>
            <a:p>
              <a:pPr algn="ctr"/>
              <a:r>
                <a:rPr lang="en-US" sz="1500" kern="0" spc="0" dirty="0">
                  <a:solidFill>
                    <a:srgbClr val="FFFFFF">
                      <a:alpha val="50000"/>
                    </a:srgbClr>
                  </a:solidFill>
                  <a:latin typeface="Noto Sans Mono Bold"/>
                  <a:cs typeface="Noto Sans Mono Bold"/>
                </a:rPr>
                <a:t>ACTIONS</a:t>
              </a:r>
            </a:p>
          </p:txBody>
        </p:sp>
      </p:grpSp>
      <p:grpSp>
        <p:nvGrpSpPr>
          <p:cNvPr id="13" name="Group 12"/>
          <p:cNvGrpSpPr/>
          <p:nvPr userDrawn="1"/>
        </p:nvGrpSpPr>
        <p:grpSpPr>
          <a:xfrm>
            <a:off x="1549804" y="6382512"/>
            <a:ext cx="9061696" cy="0"/>
            <a:chOff x="1549400" y="6382512"/>
            <a:chExt cx="9059336" cy="0"/>
          </a:xfrm>
        </p:grpSpPr>
        <p:cxnSp>
          <p:nvCxnSpPr>
            <p:cNvPr id="14" name="Straight Connector 13"/>
            <p:cNvCxnSpPr/>
            <p:nvPr userDrawn="1"/>
          </p:nvCxnSpPr>
          <p:spPr>
            <a:xfrm>
              <a:off x="1549400" y="6382512"/>
              <a:ext cx="1042416" cy="0"/>
            </a:xfrm>
            <a:prstGeom prst="line">
              <a:avLst/>
            </a:prstGeom>
            <a:ln w="27940" cap="rnd">
              <a:solidFill>
                <a:schemeClr val="bg1">
                  <a:alpha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3282950" y="6382512"/>
              <a:ext cx="1042416" cy="0"/>
            </a:xfrm>
            <a:prstGeom prst="line">
              <a:avLst/>
            </a:prstGeom>
            <a:ln w="27940" cap="rnd">
              <a:solidFill>
                <a:schemeClr val="bg1">
                  <a:alpha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5137150" y="6382512"/>
              <a:ext cx="1042416" cy="0"/>
            </a:xfrm>
            <a:prstGeom prst="line">
              <a:avLst/>
            </a:prstGeom>
            <a:ln w="27940" cap="rnd">
              <a:solidFill>
                <a:schemeClr val="bg1">
                  <a:alpha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450709" y="6382512"/>
              <a:ext cx="1042416" cy="0"/>
            </a:xfrm>
            <a:prstGeom prst="line">
              <a:avLst/>
            </a:prstGeom>
            <a:ln w="27940" cap="rnd">
              <a:solidFill>
                <a:schemeClr val="bg1">
                  <a:alpha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9566320" y="6382512"/>
              <a:ext cx="1042416" cy="0"/>
            </a:xfrm>
            <a:prstGeom prst="line">
              <a:avLst/>
            </a:prstGeom>
            <a:ln w="27940" cap="rnd">
              <a:solidFill>
                <a:schemeClr val="bg1">
                  <a:alpha val="50000"/>
                </a:schemeClr>
              </a:solidFill>
              <a:prstDash val="sysDot"/>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8954221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5725D-17D3-4053-AF9D-26162C889F3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175EB6D-1BD2-4C47-B381-A74D1B28BFF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D1BEE29-91E6-4339-8DB2-E2BA0429B3F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834C7DC-56C5-4D03-A205-2A9E1F77A81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3B7662D-832D-4AD4-A742-6780B0ECCA1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D55F9F3-AD4F-40B9-93BE-3804C2679778}"/>
              </a:ext>
            </a:extLst>
          </p:cNvPr>
          <p:cNvSpPr>
            <a:spLocks noGrp="1"/>
          </p:cNvSpPr>
          <p:nvPr>
            <p:ph type="dt" sz="half" idx="10"/>
          </p:nvPr>
        </p:nvSpPr>
        <p:spPr/>
        <p:txBody>
          <a:bodyPr/>
          <a:lstStyle/>
          <a:p>
            <a:fld id="{B165B00F-4CE2-44FB-B6DF-A9D6DCF947F0}" type="datetime1">
              <a:rPr lang="en-US" smtClean="0"/>
              <a:t>3/24/2022</a:t>
            </a:fld>
            <a:endParaRPr lang="en-US"/>
          </a:p>
        </p:txBody>
      </p:sp>
      <p:sp>
        <p:nvSpPr>
          <p:cNvPr id="8" name="Footer Placeholder 7">
            <a:extLst>
              <a:ext uri="{FF2B5EF4-FFF2-40B4-BE49-F238E27FC236}">
                <a16:creationId xmlns:a16="http://schemas.microsoft.com/office/drawing/2014/main" id="{FEAC67E4-B591-4DAA-BC21-AF4A2BF78C5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9DC38C5-2DB8-4A16-AF2E-196061663FAB}"/>
              </a:ext>
            </a:extLst>
          </p:cNvPr>
          <p:cNvSpPr>
            <a:spLocks noGrp="1"/>
          </p:cNvSpPr>
          <p:nvPr>
            <p:ph type="sldNum" sz="quarter" idx="12"/>
          </p:nvPr>
        </p:nvSpPr>
        <p:spPr/>
        <p:txBody>
          <a:bodyPr/>
          <a:lstStyle/>
          <a:p>
            <a:fld id="{4FA07702-9C82-4FBE-B98C-E58879511A7A}" type="slidenum">
              <a:rPr lang="en-US" smtClean="0"/>
              <a:t>‹#›</a:t>
            </a:fld>
            <a:endParaRPr lang="en-US"/>
          </a:p>
        </p:txBody>
      </p:sp>
    </p:spTree>
    <p:extLst>
      <p:ext uri="{BB962C8B-B14F-4D97-AF65-F5344CB8AC3E}">
        <p14:creationId xmlns:p14="http://schemas.microsoft.com/office/powerpoint/2010/main" val="36449666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Analytics">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4DE38BC6-D6A2-2D49-94ED-9FBA0C8D5700}" type="slidenum">
              <a:rPr lang="en-US" smtClean="0"/>
              <a:t>‹#›</a:t>
            </a:fld>
            <a:endParaRPr lang="en-US"/>
          </a:p>
        </p:txBody>
      </p:sp>
      <p:grpSp>
        <p:nvGrpSpPr>
          <p:cNvPr id="17" name="Group 16"/>
          <p:cNvGrpSpPr/>
          <p:nvPr userDrawn="1"/>
        </p:nvGrpSpPr>
        <p:grpSpPr>
          <a:xfrm>
            <a:off x="570590" y="6260052"/>
            <a:ext cx="11012715" cy="254405"/>
            <a:chOff x="570441" y="6260051"/>
            <a:chExt cx="11009847" cy="254405"/>
          </a:xfrm>
        </p:grpSpPr>
        <p:sp>
          <p:nvSpPr>
            <p:cNvPr id="19" name="TextBox 18"/>
            <p:cNvSpPr txBox="1"/>
            <p:nvPr userDrawn="1"/>
          </p:nvSpPr>
          <p:spPr>
            <a:xfrm>
              <a:off x="570441" y="6260051"/>
              <a:ext cx="928159" cy="250816"/>
            </a:xfrm>
            <a:prstGeom prst="rect">
              <a:avLst/>
            </a:prstGeom>
            <a:solidFill>
              <a:srgbClr val="318AD0"/>
            </a:solidFill>
          </p:spPr>
          <p:txBody>
            <a:bodyPr wrap="square" lIns="0" tIns="0" rIns="0" bIns="0" rtlCol="0" anchor="t" anchorCtr="0">
              <a:noAutofit/>
            </a:bodyPr>
            <a:lstStyle/>
            <a:p>
              <a:pPr algn="ctr"/>
              <a:r>
                <a:rPr lang="en-US" sz="1500" kern="0" spc="0" dirty="0">
                  <a:solidFill>
                    <a:srgbClr val="FFFFFF">
                      <a:alpha val="50000"/>
                    </a:srgbClr>
                  </a:solidFill>
                  <a:latin typeface="Noto Sans Mono Bold"/>
                  <a:cs typeface="Noto Sans Mono Bold"/>
                </a:rPr>
                <a:t>NETWORK</a:t>
              </a:r>
            </a:p>
          </p:txBody>
        </p:sp>
        <p:sp>
          <p:nvSpPr>
            <p:cNvPr id="20" name="TextBox 19"/>
            <p:cNvSpPr txBox="1"/>
            <p:nvPr userDrawn="1"/>
          </p:nvSpPr>
          <p:spPr>
            <a:xfrm>
              <a:off x="2622550" y="6263640"/>
              <a:ext cx="611717" cy="250816"/>
            </a:xfrm>
            <a:prstGeom prst="rect">
              <a:avLst/>
            </a:prstGeom>
            <a:solidFill>
              <a:srgbClr val="318AD0"/>
            </a:solidFill>
          </p:spPr>
          <p:txBody>
            <a:bodyPr wrap="square" lIns="0" tIns="0" rIns="0" bIns="0" rtlCol="0" anchor="t" anchorCtr="0">
              <a:noAutofit/>
            </a:bodyPr>
            <a:lstStyle/>
            <a:p>
              <a:pPr algn="ctr"/>
              <a:r>
                <a:rPr lang="en-US" sz="1500" kern="0" spc="0" dirty="0">
                  <a:solidFill>
                    <a:srgbClr val="FFFFFF">
                      <a:alpha val="50000"/>
                    </a:srgbClr>
                  </a:solidFill>
                  <a:latin typeface="Noto Sans Mono Bold"/>
                  <a:cs typeface="Noto Sans Mono Bold"/>
                </a:rPr>
                <a:t>DATA</a:t>
              </a:r>
            </a:p>
          </p:txBody>
        </p:sp>
        <p:sp>
          <p:nvSpPr>
            <p:cNvPr id="21" name="TextBox 20"/>
            <p:cNvSpPr txBox="1"/>
            <p:nvPr userDrawn="1"/>
          </p:nvSpPr>
          <p:spPr>
            <a:xfrm>
              <a:off x="4347633" y="6263640"/>
              <a:ext cx="749300" cy="250816"/>
            </a:xfrm>
            <a:prstGeom prst="rect">
              <a:avLst/>
            </a:prstGeom>
            <a:solidFill>
              <a:srgbClr val="318AD0"/>
            </a:solidFill>
          </p:spPr>
          <p:txBody>
            <a:bodyPr wrap="square" lIns="0" tIns="0" rIns="0" bIns="0" rtlCol="0" anchor="t" anchorCtr="0">
              <a:noAutofit/>
            </a:bodyPr>
            <a:lstStyle/>
            <a:p>
              <a:pPr algn="ctr"/>
              <a:r>
                <a:rPr lang="en-US" sz="1500" kern="0" spc="0" dirty="0">
                  <a:solidFill>
                    <a:srgbClr val="FFFFFF">
                      <a:alpha val="50000"/>
                    </a:srgbClr>
                  </a:solidFill>
                  <a:latin typeface="Noto Sans Mono Bold"/>
                  <a:cs typeface="Noto Sans Mono Bold"/>
                </a:rPr>
                <a:t>USERS</a:t>
              </a:r>
            </a:p>
          </p:txBody>
        </p:sp>
        <p:sp>
          <p:nvSpPr>
            <p:cNvPr id="22" name="TextBox 21"/>
            <p:cNvSpPr txBox="1"/>
            <p:nvPr userDrawn="1"/>
          </p:nvSpPr>
          <p:spPr>
            <a:xfrm>
              <a:off x="6210301" y="6263640"/>
              <a:ext cx="1227666" cy="250816"/>
            </a:xfrm>
            <a:prstGeom prst="rect">
              <a:avLst/>
            </a:prstGeom>
            <a:solidFill>
              <a:srgbClr val="318AD0"/>
            </a:solidFill>
          </p:spPr>
          <p:txBody>
            <a:bodyPr wrap="square" lIns="0" tIns="0" rIns="0" bIns="0" rtlCol="0" anchor="t" anchorCtr="0">
              <a:noAutofit/>
            </a:bodyPr>
            <a:lstStyle/>
            <a:p>
              <a:pPr algn="ctr"/>
              <a:r>
                <a:rPr lang="en-US" sz="1500" kern="0" spc="0" dirty="0">
                  <a:solidFill>
                    <a:srgbClr val="FFFFFF"/>
                  </a:solidFill>
                  <a:latin typeface="Noto Sans Mono Bold"/>
                  <a:cs typeface="Noto Sans Mono Bold"/>
                </a:rPr>
                <a:t>ANALYTICS</a:t>
              </a:r>
            </a:p>
          </p:txBody>
        </p:sp>
        <p:sp>
          <p:nvSpPr>
            <p:cNvPr id="23" name="TextBox 22"/>
            <p:cNvSpPr txBox="1"/>
            <p:nvPr userDrawn="1"/>
          </p:nvSpPr>
          <p:spPr>
            <a:xfrm>
              <a:off x="8496300" y="6263640"/>
              <a:ext cx="1000125" cy="250816"/>
            </a:xfrm>
            <a:prstGeom prst="rect">
              <a:avLst/>
            </a:prstGeom>
            <a:solidFill>
              <a:srgbClr val="318AD0"/>
            </a:solidFill>
          </p:spPr>
          <p:txBody>
            <a:bodyPr wrap="square" lIns="0" tIns="0" rIns="0" bIns="0" rtlCol="0" anchor="t" anchorCtr="0">
              <a:noAutofit/>
            </a:bodyPr>
            <a:lstStyle/>
            <a:p>
              <a:pPr algn="ctr"/>
              <a:r>
                <a:rPr lang="en-US" sz="1500" kern="0" spc="0" dirty="0">
                  <a:solidFill>
                    <a:srgbClr val="FFFFFF">
                      <a:alpha val="50000"/>
                    </a:srgbClr>
                  </a:solidFill>
                  <a:latin typeface="Noto Sans Mono Bold"/>
                  <a:cs typeface="Noto Sans Mono Bold"/>
                </a:rPr>
                <a:t>INSIGHTS</a:t>
              </a:r>
            </a:p>
          </p:txBody>
        </p:sp>
        <p:sp>
          <p:nvSpPr>
            <p:cNvPr id="24" name="TextBox 23"/>
            <p:cNvSpPr txBox="1"/>
            <p:nvPr userDrawn="1"/>
          </p:nvSpPr>
          <p:spPr>
            <a:xfrm>
              <a:off x="10608736" y="6263640"/>
              <a:ext cx="971552" cy="250816"/>
            </a:xfrm>
            <a:prstGeom prst="rect">
              <a:avLst/>
            </a:prstGeom>
            <a:noFill/>
          </p:spPr>
          <p:txBody>
            <a:bodyPr wrap="square" lIns="0" tIns="0" rIns="0" bIns="0" rtlCol="0" anchor="t" anchorCtr="0">
              <a:noAutofit/>
            </a:bodyPr>
            <a:lstStyle/>
            <a:p>
              <a:pPr algn="ctr"/>
              <a:r>
                <a:rPr lang="en-US" sz="1500" kern="0" spc="0" dirty="0">
                  <a:solidFill>
                    <a:srgbClr val="FFFFFF">
                      <a:alpha val="50000"/>
                    </a:srgbClr>
                  </a:solidFill>
                  <a:latin typeface="Noto Sans Mono Bold"/>
                  <a:cs typeface="Noto Sans Mono Bold"/>
                </a:rPr>
                <a:t>ACTIONS</a:t>
              </a:r>
            </a:p>
          </p:txBody>
        </p:sp>
      </p:grpSp>
      <p:grpSp>
        <p:nvGrpSpPr>
          <p:cNvPr id="13" name="Group 12"/>
          <p:cNvGrpSpPr/>
          <p:nvPr userDrawn="1"/>
        </p:nvGrpSpPr>
        <p:grpSpPr>
          <a:xfrm>
            <a:off x="1549804" y="6382512"/>
            <a:ext cx="9061696" cy="0"/>
            <a:chOff x="1549400" y="6382512"/>
            <a:chExt cx="9059336" cy="0"/>
          </a:xfrm>
        </p:grpSpPr>
        <p:cxnSp>
          <p:nvCxnSpPr>
            <p:cNvPr id="14" name="Straight Connector 13"/>
            <p:cNvCxnSpPr/>
            <p:nvPr userDrawn="1"/>
          </p:nvCxnSpPr>
          <p:spPr>
            <a:xfrm>
              <a:off x="1549400" y="6382512"/>
              <a:ext cx="1042416" cy="0"/>
            </a:xfrm>
            <a:prstGeom prst="line">
              <a:avLst/>
            </a:prstGeom>
            <a:ln w="27940" cap="rnd">
              <a:solidFill>
                <a:schemeClr val="bg1">
                  <a:alpha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3282950" y="6382512"/>
              <a:ext cx="1042416" cy="0"/>
            </a:xfrm>
            <a:prstGeom prst="line">
              <a:avLst/>
            </a:prstGeom>
            <a:ln w="27940" cap="rnd">
              <a:solidFill>
                <a:schemeClr val="bg1">
                  <a:alpha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5137150" y="6382512"/>
              <a:ext cx="1042416" cy="0"/>
            </a:xfrm>
            <a:prstGeom prst="line">
              <a:avLst/>
            </a:prstGeom>
            <a:ln w="27940" cap="rnd">
              <a:solidFill>
                <a:schemeClr val="bg1">
                  <a:alpha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450709" y="6382512"/>
              <a:ext cx="1042416" cy="0"/>
            </a:xfrm>
            <a:prstGeom prst="line">
              <a:avLst/>
            </a:prstGeom>
            <a:ln w="27940" cap="rnd">
              <a:solidFill>
                <a:schemeClr val="bg1">
                  <a:alpha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9566320" y="6382512"/>
              <a:ext cx="1042416" cy="0"/>
            </a:xfrm>
            <a:prstGeom prst="line">
              <a:avLst/>
            </a:prstGeom>
            <a:ln w="27940" cap="rnd">
              <a:solidFill>
                <a:schemeClr val="bg1">
                  <a:alpha val="50000"/>
                </a:schemeClr>
              </a:solidFill>
              <a:prstDash val="sysDot"/>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13269915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Insights">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4DE38BC6-D6A2-2D49-94ED-9FBA0C8D5700}" type="slidenum">
              <a:rPr lang="en-US" smtClean="0"/>
              <a:t>‹#›</a:t>
            </a:fld>
            <a:endParaRPr lang="en-US"/>
          </a:p>
        </p:txBody>
      </p:sp>
      <p:grpSp>
        <p:nvGrpSpPr>
          <p:cNvPr id="17" name="Group 16"/>
          <p:cNvGrpSpPr/>
          <p:nvPr userDrawn="1"/>
        </p:nvGrpSpPr>
        <p:grpSpPr>
          <a:xfrm>
            <a:off x="570590" y="6260052"/>
            <a:ext cx="11012715" cy="254405"/>
            <a:chOff x="570441" y="6260051"/>
            <a:chExt cx="11009847" cy="254405"/>
          </a:xfrm>
        </p:grpSpPr>
        <p:sp>
          <p:nvSpPr>
            <p:cNvPr id="19" name="TextBox 18"/>
            <p:cNvSpPr txBox="1"/>
            <p:nvPr userDrawn="1"/>
          </p:nvSpPr>
          <p:spPr>
            <a:xfrm>
              <a:off x="570441" y="6260051"/>
              <a:ext cx="928159" cy="250816"/>
            </a:xfrm>
            <a:prstGeom prst="rect">
              <a:avLst/>
            </a:prstGeom>
            <a:solidFill>
              <a:srgbClr val="318AD0"/>
            </a:solidFill>
          </p:spPr>
          <p:txBody>
            <a:bodyPr wrap="square" lIns="0" tIns="0" rIns="0" bIns="0" rtlCol="0" anchor="t" anchorCtr="0">
              <a:noAutofit/>
            </a:bodyPr>
            <a:lstStyle/>
            <a:p>
              <a:pPr algn="ctr"/>
              <a:r>
                <a:rPr lang="en-US" sz="1500" kern="0" spc="0" dirty="0">
                  <a:solidFill>
                    <a:srgbClr val="FFFFFF">
                      <a:alpha val="50000"/>
                    </a:srgbClr>
                  </a:solidFill>
                  <a:latin typeface="Noto Sans Mono Bold"/>
                  <a:cs typeface="Noto Sans Mono Bold"/>
                </a:rPr>
                <a:t>NETWORK</a:t>
              </a:r>
            </a:p>
          </p:txBody>
        </p:sp>
        <p:sp>
          <p:nvSpPr>
            <p:cNvPr id="20" name="TextBox 19"/>
            <p:cNvSpPr txBox="1"/>
            <p:nvPr userDrawn="1"/>
          </p:nvSpPr>
          <p:spPr>
            <a:xfrm>
              <a:off x="2622550" y="6263640"/>
              <a:ext cx="611717" cy="250816"/>
            </a:xfrm>
            <a:prstGeom prst="rect">
              <a:avLst/>
            </a:prstGeom>
            <a:solidFill>
              <a:srgbClr val="318AD0"/>
            </a:solidFill>
          </p:spPr>
          <p:txBody>
            <a:bodyPr wrap="square" lIns="0" tIns="0" rIns="0" bIns="0" rtlCol="0" anchor="t" anchorCtr="0">
              <a:noAutofit/>
            </a:bodyPr>
            <a:lstStyle/>
            <a:p>
              <a:pPr algn="ctr"/>
              <a:r>
                <a:rPr lang="en-US" sz="1500" kern="0" spc="0" dirty="0">
                  <a:solidFill>
                    <a:srgbClr val="FFFFFF">
                      <a:alpha val="50000"/>
                    </a:srgbClr>
                  </a:solidFill>
                  <a:latin typeface="Noto Sans Mono Bold"/>
                  <a:cs typeface="Noto Sans Mono Bold"/>
                </a:rPr>
                <a:t>DATA</a:t>
              </a:r>
            </a:p>
          </p:txBody>
        </p:sp>
        <p:sp>
          <p:nvSpPr>
            <p:cNvPr id="21" name="TextBox 20"/>
            <p:cNvSpPr txBox="1"/>
            <p:nvPr userDrawn="1"/>
          </p:nvSpPr>
          <p:spPr>
            <a:xfrm>
              <a:off x="4347633" y="6263640"/>
              <a:ext cx="749300" cy="250816"/>
            </a:xfrm>
            <a:prstGeom prst="rect">
              <a:avLst/>
            </a:prstGeom>
            <a:solidFill>
              <a:srgbClr val="318AD0"/>
            </a:solidFill>
          </p:spPr>
          <p:txBody>
            <a:bodyPr wrap="square" lIns="0" tIns="0" rIns="0" bIns="0" rtlCol="0" anchor="t" anchorCtr="0">
              <a:noAutofit/>
            </a:bodyPr>
            <a:lstStyle/>
            <a:p>
              <a:pPr algn="ctr"/>
              <a:r>
                <a:rPr lang="en-US" sz="1500" kern="0" spc="0" dirty="0">
                  <a:solidFill>
                    <a:srgbClr val="FFFFFF">
                      <a:alpha val="50000"/>
                    </a:srgbClr>
                  </a:solidFill>
                  <a:latin typeface="Noto Sans Mono Bold"/>
                  <a:cs typeface="Noto Sans Mono Bold"/>
                </a:rPr>
                <a:t>USERS</a:t>
              </a:r>
            </a:p>
          </p:txBody>
        </p:sp>
        <p:sp>
          <p:nvSpPr>
            <p:cNvPr id="22" name="TextBox 21"/>
            <p:cNvSpPr txBox="1"/>
            <p:nvPr userDrawn="1"/>
          </p:nvSpPr>
          <p:spPr>
            <a:xfrm>
              <a:off x="6210301" y="6263640"/>
              <a:ext cx="1227666" cy="250816"/>
            </a:xfrm>
            <a:prstGeom prst="rect">
              <a:avLst/>
            </a:prstGeom>
            <a:solidFill>
              <a:srgbClr val="318AD0"/>
            </a:solidFill>
          </p:spPr>
          <p:txBody>
            <a:bodyPr wrap="square" lIns="0" tIns="0" rIns="0" bIns="0" rtlCol="0" anchor="t" anchorCtr="0">
              <a:noAutofit/>
            </a:bodyPr>
            <a:lstStyle/>
            <a:p>
              <a:pPr algn="ctr"/>
              <a:r>
                <a:rPr lang="en-US" sz="1500" kern="0" spc="0" dirty="0">
                  <a:solidFill>
                    <a:srgbClr val="FFFFFF">
                      <a:alpha val="50000"/>
                    </a:srgbClr>
                  </a:solidFill>
                  <a:latin typeface="Noto Sans Mono Bold"/>
                  <a:cs typeface="Noto Sans Mono Bold"/>
                </a:rPr>
                <a:t>ANALYTICS</a:t>
              </a:r>
            </a:p>
          </p:txBody>
        </p:sp>
        <p:sp>
          <p:nvSpPr>
            <p:cNvPr id="23" name="TextBox 22"/>
            <p:cNvSpPr txBox="1"/>
            <p:nvPr userDrawn="1"/>
          </p:nvSpPr>
          <p:spPr>
            <a:xfrm>
              <a:off x="8496300" y="6263640"/>
              <a:ext cx="1000125" cy="250816"/>
            </a:xfrm>
            <a:prstGeom prst="rect">
              <a:avLst/>
            </a:prstGeom>
            <a:solidFill>
              <a:srgbClr val="318AD0"/>
            </a:solidFill>
          </p:spPr>
          <p:txBody>
            <a:bodyPr wrap="square" lIns="0" tIns="0" rIns="0" bIns="0" rtlCol="0" anchor="t" anchorCtr="0">
              <a:noAutofit/>
            </a:bodyPr>
            <a:lstStyle/>
            <a:p>
              <a:pPr algn="ctr"/>
              <a:r>
                <a:rPr lang="en-US" sz="1500" kern="0" spc="0" dirty="0">
                  <a:solidFill>
                    <a:srgbClr val="FFFFFF"/>
                  </a:solidFill>
                  <a:latin typeface="Noto Sans Mono Bold"/>
                  <a:cs typeface="Noto Sans Mono Bold"/>
                </a:rPr>
                <a:t>INSIGHTS</a:t>
              </a:r>
            </a:p>
          </p:txBody>
        </p:sp>
        <p:sp>
          <p:nvSpPr>
            <p:cNvPr id="24" name="TextBox 23"/>
            <p:cNvSpPr txBox="1"/>
            <p:nvPr userDrawn="1"/>
          </p:nvSpPr>
          <p:spPr>
            <a:xfrm>
              <a:off x="10608736" y="6263640"/>
              <a:ext cx="971552" cy="250816"/>
            </a:xfrm>
            <a:prstGeom prst="rect">
              <a:avLst/>
            </a:prstGeom>
            <a:noFill/>
          </p:spPr>
          <p:txBody>
            <a:bodyPr wrap="square" lIns="0" tIns="0" rIns="0" bIns="0" rtlCol="0" anchor="t" anchorCtr="0">
              <a:noAutofit/>
            </a:bodyPr>
            <a:lstStyle/>
            <a:p>
              <a:pPr algn="ctr"/>
              <a:r>
                <a:rPr lang="en-US" sz="1500" kern="0" spc="0" dirty="0">
                  <a:solidFill>
                    <a:srgbClr val="FFFFFF">
                      <a:alpha val="50000"/>
                    </a:srgbClr>
                  </a:solidFill>
                  <a:latin typeface="Noto Sans Mono Bold"/>
                  <a:cs typeface="Noto Sans Mono Bold"/>
                </a:rPr>
                <a:t>ACTIONS</a:t>
              </a:r>
            </a:p>
          </p:txBody>
        </p:sp>
      </p:grpSp>
      <p:grpSp>
        <p:nvGrpSpPr>
          <p:cNvPr id="13" name="Group 12"/>
          <p:cNvGrpSpPr/>
          <p:nvPr userDrawn="1"/>
        </p:nvGrpSpPr>
        <p:grpSpPr>
          <a:xfrm>
            <a:off x="1549804" y="6382512"/>
            <a:ext cx="9061696" cy="0"/>
            <a:chOff x="1549400" y="6382512"/>
            <a:chExt cx="9059336" cy="0"/>
          </a:xfrm>
        </p:grpSpPr>
        <p:cxnSp>
          <p:nvCxnSpPr>
            <p:cNvPr id="14" name="Straight Connector 13"/>
            <p:cNvCxnSpPr/>
            <p:nvPr userDrawn="1"/>
          </p:nvCxnSpPr>
          <p:spPr>
            <a:xfrm>
              <a:off x="1549400" y="6382512"/>
              <a:ext cx="1042416" cy="0"/>
            </a:xfrm>
            <a:prstGeom prst="line">
              <a:avLst/>
            </a:prstGeom>
            <a:ln w="27940" cap="rnd">
              <a:solidFill>
                <a:schemeClr val="bg1">
                  <a:alpha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3282950" y="6382512"/>
              <a:ext cx="1042416" cy="0"/>
            </a:xfrm>
            <a:prstGeom prst="line">
              <a:avLst/>
            </a:prstGeom>
            <a:ln w="27940" cap="rnd">
              <a:solidFill>
                <a:schemeClr val="bg1">
                  <a:alpha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5137150" y="6382512"/>
              <a:ext cx="1042416" cy="0"/>
            </a:xfrm>
            <a:prstGeom prst="line">
              <a:avLst/>
            </a:prstGeom>
            <a:ln w="27940" cap="rnd">
              <a:solidFill>
                <a:schemeClr val="bg1">
                  <a:alpha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450709" y="6382512"/>
              <a:ext cx="1042416" cy="0"/>
            </a:xfrm>
            <a:prstGeom prst="line">
              <a:avLst/>
            </a:prstGeom>
            <a:ln w="27940" cap="rnd">
              <a:solidFill>
                <a:schemeClr val="bg1">
                  <a:alpha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9566320" y="6382512"/>
              <a:ext cx="1042416" cy="0"/>
            </a:xfrm>
            <a:prstGeom prst="line">
              <a:avLst/>
            </a:prstGeom>
            <a:ln w="27940" cap="rnd">
              <a:solidFill>
                <a:schemeClr val="bg1">
                  <a:alpha val="50000"/>
                </a:schemeClr>
              </a:solidFill>
              <a:prstDash val="sysDot"/>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66935934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Actions">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4DE38BC6-D6A2-2D49-94ED-9FBA0C8D5700}" type="slidenum">
              <a:rPr lang="en-US" smtClean="0"/>
              <a:t>‹#›</a:t>
            </a:fld>
            <a:endParaRPr lang="en-US"/>
          </a:p>
        </p:txBody>
      </p:sp>
      <p:grpSp>
        <p:nvGrpSpPr>
          <p:cNvPr id="19" name="Group 18"/>
          <p:cNvGrpSpPr/>
          <p:nvPr userDrawn="1"/>
        </p:nvGrpSpPr>
        <p:grpSpPr>
          <a:xfrm>
            <a:off x="570590" y="6260052"/>
            <a:ext cx="11012715" cy="254405"/>
            <a:chOff x="570441" y="6260051"/>
            <a:chExt cx="11009847" cy="254405"/>
          </a:xfrm>
        </p:grpSpPr>
        <p:sp>
          <p:nvSpPr>
            <p:cNvPr id="21" name="TextBox 20"/>
            <p:cNvSpPr txBox="1"/>
            <p:nvPr userDrawn="1"/>
          </p:nvSpPr>
          <p:spPr>
            <a:xfrm>
              <a:off x="570441" y="6260051"/>
              <a:ext cx="928159" cy="250816"/>
            </a:xfrm>
            <a:prstGeom prst="rect">
              <a:avLst/>
            </a:prstGeom>
            <a:solidFill>
              <a:srgbClr val="318AD0"/>
            </a:solidFill>
          </p:spPr>
          <p:txBody>
            <a:bodyPr wrap="square" lIns="0" tIns="0" rIns="0" bIns="0" rtlCol="0" anchor="t" anchorCtr="0">
              <a:noAutofit/>
            </a:bodyPr>
            <a:lstStyle/>
            <a:p>
              <a:pPr algn="ctr"/>
              <a:r>
                <a:rPr lang="en-US" sz="1500" kern="0" spc="0" dirty="0">
                  <a:solidFill>
                    <a:srgbClr val="FFFFFF">
                      <a:alpha val="50000"/>
                    </a:srgbClr>
                  </a:solidFill>
                  <a:latin typeface="Noto Sans Mono Bold"/>
                  <a:cs typeface="Noto Sans Mono Bold"/>
                </a:rPr>
                <a:t>NETWORK</a:t>
              </a:r>
            </a:p>
          </p:txBody>
        </p:sp>
        <p:sp>
          <p:nvSpPr>
            <p:cNvPr id="22" name="TextBox 21"/>
            <p:cNvSpPr txBox="1"/>
            <p:nvPr userDrawn="1"/>
          </p:nvSpPr>
          <p:spPr>
            <a:xfrm>
              <a:off x="2622550" y="6263640"/>
              <a:ext cx="611717" cy="250816"/>
            </a:xfrm>
            <a:prstGeom prst="rect">
              <a:avLst/>
            </a:prstGeom>
            <a:solidFill>
              <a:srgbClr val="318AD0"/>
            </a:solidFill>
          </p:spPr>
          <p:txBody>
            <a:bodyPr wrap="square" lIns="0" tIns="0" rIns="0" bIns="0" rtlCol="0" anchor="t" anchorCtr="0">
              <a:noAutofit/>
            </a:bodyPr>
            <a:lstStyle/>
            <a:p>
              <a:pPr algn="ctr"/>
              <a:r>
                <a:rPr lang="en-US" sz="1500" kern="0" spc="0" dirty="0">
                  <a:solidFill>
                    <a:srgbClr val="FFFFFF">
                      <a:alpha val="50000"/>
                    </a:srgbClr>
                  </a:solidFill>
                  <a:latin typeface="Noto Sans Mono Bold"/>
                  <a:cs typeface="Noto Sans Mono Bold"/>
                </a:rPr>
                <a:t>DATA</a:t>
              </a:r>
            </a:p>
          </p:txBody>
        </p:sp>
        <p:sp>
          <p:nvSpPr>
            <p:cNvPr id="23" name="TextBox 22"/>
            <p:cNvSpPr txBox="1"/>
            <p:nvPr userDrawn="1"/>
          </p:nvSpPr>
          <p:spPr>
            <a:xfrm>
              <a:off x="4347633" y="6263640"/>
              <a:ext cx="749300" cy="250816"/>
            </a:xfrm>
            <a:prstGeom prst="rect">
              <a:avLst/>
            </a:prstGeom>
            <a:solidFill>
              <a:srgbClr val="318AD0"/>
            </a:solidFill>
          </p:spPr>
          <p:txBody>
            <a:bodyPr wrap="square" lIns="0" tIns="0" rIns="0" bIns="0" rtlCol="0" anchor="t" anchorCtr="0">
              <a:noAutofit/>
            </a:bodyPr>
            <a:lstStyle/>
            <a:p>
              <a:pPr algn="ctr"/>
              <a:r>
                <a:rPr lang="en-US" sz="1500" kern="0" spc="0" dirty="0">
                  <a:solidFill>
                    <a:srgbClr val="FFFFFF">
                      <a:alpha val="50000"/>
                    </a:srgbClr>
                  </a:solidFill>
                  <a:latin typeface="Noto Sans Mono Bold"/>
                  <a:cs typeface="Noto Sans Mono Bold"/>
                </a:rPr>
                <a:t>USERS</a:t>
              </a:r>
            </a:p>
          </p:txBody>
        </p:sp>
        <p:sp>
          <p:nvSpPr>
            <p:cNvPr id="24" name="TextBox 23"/>
            <p:cNvSpPr txBox="1"/>
            <p:nvPr userDrawn="1"/>
          </p:nvSpPr>
          <p:spPr>
            <a:xfrm>
              <a:off x="6210301" y="6263640"/>
              <a:ext cx="1227666" cy="250816"/>
            </a:xfrm>
            <a:prstGeom prst="rect">
              <a:avLst/>
            </a:prstGeom>
            <a:solidFill>
              <a:srgbClr val="318AD0"/>
            </a:solidFill>
          </p:spPr>
          <p:txBody>
            <a:bodyPr wrap="square" lIns="0" tIns="0" rIns="0" bIns="0" rtlCol="0" anchor="t" anchorCtr="0">
              <a:noAutofit/>
            </a:bodyPr>
            <a:lstStyle/>
            <a:p>
              <a:pPr algn="ctr"/>
              <a:r>
                <a:rPr lang="en-US" sz="1500" kern="0" spc="0" dirty="0">
                  <a:solidFill>
                    <a:srgbClr val="FFFFFF">
                      <a:alpha val="50000"/>
                    </a:srgbClr>
                  </a:solidFill>
                  <a:latin typeface="Noto Sans Mono Bold"/>
                  <a:cs typeface="Noto Sans Mono Bold"/>
                </a:rPr>
                <a:t>ANALYTICS</a:t>
              </a:r>
            </a:p>
          </p:txBody>
        </p:sp>
        <p:sp>
          <p:nvSpPr>
            <p:cNvPr id="25" name="TextBox 24"/>
            <p:cNvSpPr txBox="1"/>
            <p:nvPr userDrawn="1"/>
          </p:nvSpPr>
          <p:spPr>
            <a:xfrm>
              <a:off x="8496300" y="6263640"/>
              <a:ext cx="1000125" cy="250816"/>
            </a:xfrm>
            <a:prstGeom prst="rect">
              <a:avLst/>
            </a:prstGeom>
            <a:solidFill>
              <a:srgbClr val="318AD0"/>
            </a:solidFill>
          </p:spPr>
          <p:txBody>
            <a:bodyPr wrap="square" lIns="0" tIns="0" rIns="0" bIns="0" rtlCol="0" anchor="t" anchorCtr="0">
              <a:noAutofit/>
            </a:bodyPr>
            <a:lstStyle/>
            <a:p>
              <a:pPr algn="ctr"/>
              <a:r>
                <a:rPr lang="en-US" sz="1500" kern="0" spc="0" dirty="0">
                  <a:solidFill>
                    <a:srgbClr val="FFFFFF">
                      <a:alpha val="50000"/>
                    </a:srgbClr>
                  </a:solidFill>
                  <a:latin typeface="Noto Sans Mono Bold"/>
                  <a:cs typeface="Noto Sans Mono Bold"/>
                </a:rPr>
                <a:t>INSIGHTS</a:t>
              </a:r>
            </a:p>
          </p:txBody>
        </p:sp>
        <p:sp>
          <p:nvSpPr>
            <p:cNvPr id="26" name="TextBox 25"/>
            <p:cNvSpPr txBox="1"/>
            <p:nvPr userDrawn="1"/>
          </p:nvSpPr>
          <p:spPr>
            <a:xfrm>
              <a:off x="10608736" y="6263640"/>
              <a:ext cx="971552" cy="250816"/>
            </a:xfrm>
            <a:prstGeom prst="rect">
              <a:avLst/>
            </a:prstGeom>
            <a:noFill/>
          </p:spPr>
          <p:txBody>
            <a:bodyPr wrap="square" lIns="0" tIns="0" rIns="0" bIns="0" rtlCol="0" anchor="t" anchorCtr="0">
              <a:noAutofit/>
            </a:bodyPr>
            <a:lstStyle/>
            <a:p>
              <a:pPr algn="ctr"/>
              <a:r>
                <a:rPr lang="en-US" sz="1500" kern="0" spc="0" dirty="0">
                  <a:solidFill>
                    <a:srgbClr val="FFFFFF"/>
                  </a:solidFill>
                  <a:latin typeface="Noto Sans Mono Bold"/>
                  <a:cs typeface="Noto Sans Mono Bold"/>
                </a:rPr>
                <a:t>ACTIONS</a:t>
              </a:r>
            </a:p>
          </p:txBody>
        </p:sp>
      </p:grpSp>
      <p:grpSp>
        <p:nvGrpSpPr>
          <p:cNvPr id="13" name="Group 12"/>
          <p:cNvGrpSpPr/>
          <p:nvPr userDrawn="1"/>
        </p:nvGrpSpPr>
        <p:grpSpPr>
          <a:xfrm>
            <a:off x="1549804" y="6382512"/>
            <a:ext cx="9061696" cy="0"/>
            <a:chOff x="1549400" y="6382512"/>
            <a:chExt cx="9059336" cy="0"/>
          </a:xfrm>
        </p:grpSpPr>
        <p:cxnSp>
          <p:nvCxnSpPr>
            <p:cNvPr id="14" name="Straight Connector 13"/>
            <p:cNvCxnSpPr/>
            <p:nvPr userDrawn="1"/>
          </p:nvCxnSpPr>
          <p:spPr>
            <a:xfrm>
              <a:off x="1549400" y="6382512"/>
              <a:ext cx="1042416" cy="0"/>
            </a:xfrm>
            <a:prstGeom prst="line">
              <a:avLst/>
            </a:prstGeom>
            <a:ln w="27940" cap="rnd">
              <a:solidFill>
                <a:schemeClr val="bg1">
                  <a:alpha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3282950" y="6382512"/>
              <a:ext cx="1042416" cy="0"/>
            </a:xfrm>
            <a:prstGeom prst="line">
              <a:avLst/>
            </a:prstGeom>
            <a:ln w="27940" cap="rnd">
              <a:solidFill>
                <a:schemeClr val="bg1">
                  <a:alpha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5137150" y="6382512"/>
              <a:ext cx="1042416" cy="0"/>
            </a:xfrm>
            <a:prstGeom prst="line">
              <a:avLst/>
            </a:prstGeom>
            <a:ln w="27940" cap="rnd">
              <a:solidFill>
                <a:schemeClr val="bg1">
                  <a:alpha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7450709" y="6382512"/>
              <a:ext cx="1042416" cy="0"/>
            </a:xfrm>
            <a:prstGeom prst="line">
              <a:avLst/>
            </a:prstGeom>
            <a:ln w="27940" cap="rnd">
              <a:solidFill>
                <a:schemeClr val="bg1">
                  <a:alpha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9566320" y="6382512"/>
              <a:ext cx="1042416" cy="0"/>
            </a:xfrm>
            <a:prstGeom prst="line">
              <a:avLst/>
            </a:prstGeom>
            <a:ln w="27940" cap="rnd">
              <a:solidFill>
                <a:schemeClr val="bg1">
                  <a:alpha val="50000"/>
                </a:schemeClr>
              </a:solidFill>
              <a:prstDash val="sysDot"/>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2345040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61691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blank" preserve="1">
  <p:cSld name="Blank with slide number">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11530155" y="6310362"/>
            <a:ext cx="354583" cy="243458"/>
          </a:xfrm>
          <a:prstGeom prst="rect">
            <a:avLst/>
          </a:prstGeom>
        </p:spPr>
        <p:txBody>
          <a:bodyPr vert="horz" lIns="0" tIns="0" rIns="0" bIns="0" rtlCol="0" anchor="t" anchorCtr="0"/>
          <a:lstStyle>
            <a:lvl1pPr algn="r">
              <a:defRPr sz="900">
                <a:solidFill>
                  <a:schemeClr val="bg1"/>
                </a:solidFill>
                <a:latin typeface="Noto Sans Mono Bold"/>
                <a:cs typeface="Noto Sans Mono Bold"/>
              </a:defRPr>
            </a:lvl1pPr>
          </a:lstStyle>
          <a:p>
            <a:fld id="{4DE38BC6-D6A2-2D49-94ED-9FBA0C8D5700}" type="slidenum">
              <a:rPr lang="en-US" smtClean="0"/>
              <a:pPr/>
              <a:t>‹#›</a:t>
            </a:fld>
            <a:endParaRPr lang="en-US" dirty="0"/>
          </a:p>
        </p:txBody>
      </p:sp>
    </p:spTree>
    <p:extLst>
      <p:ext uri="{BB962C8B-B14F-4D97-AF65-F5344CB8AC3E}">
        <p14:creationId xmlns:p14="http://schemas.microsoft.com/office/powerpoint/2010/main" val="41982290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BFA34C-68B3-4605-8479-13A783C9D9A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3B05606-F88F-4BAB-9F03-40B72301804B}"/>
              </a:ext>
            </a:extLst>
          </p:cNvPr>
          <p:cNvSpPr>
            <a:spLocks noGrp="1"/>
          </p:cNvSpPr>
          <p:nvPr>
            <p:ph type="dt" sz="half" idx="10"/>
          </p:nvPr>
        </p:nvSpPr>
        <p:spPr/>
        <p:txBody>
          <a:bodyPr/>
          <a:lstStyle/>
          <a:p>
            <a:fld id="{8E9BFA3E-7D38-44CF-B959-065A49105A37}" type="datetime1">
              <a:rPr lang="en-US" smtClean="0"/>
              <a:t>3/24/2022</a:t>
            </a:fld>
            <a:endParaRPr lang="en-US"/>
          </a:p>
        </p:txBody>
      </p:sp>
      <p:sp>
        <p:nvSpPr>
          <p:cNvPr id="4" name="Footer Placeholder 3">
            <a:extLst>
              <a:ext uri="{FF2B5EF4-FFF2-40B4-BE49-F238E27FC236}">
                <a16:creationId xmlns:a16="http://schemas.microsoft.com/office/drawing/2014/main" id="{30CF4001-3CDD-45EB-9C62-5A536969293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D8D69E4-E60C-41B0-8D08-9426CDAAD7F2}"/>
              </a:ext>
            </a:extLst>
          </p:cNvPr>
          <p:cNvSpPr>
            <a:spLocks noGrp="1"/>
          </p:cNvSpPr>
          <p:nvPr>
            <p:ph type="sldNum" sz="quarter" idx="12"/>
          </p:nvPr>
        </p:nvSpPr>
        <p:spPr/>
        <p:txBody>
          <a:bodyPr/>
          <a:lstStyle/>
          <a:p>
            <a:fld id="{4FA07702-9C82-4FBE-B98C-E58879511A7A}" type="slidenum">
              <a:rPr lang="en-US" smtClean="0"/>
              <a:t>‹#›</a:t>
            </a:fld>
            <a:endParaRPr lang="en-US"/>
          </a:p>
        </p:txBody>
      </p:sp>
    </p:spTree>
    <p:extLst>
      <p:ext uri="{BB962C8B-B14F-4D97-AF65-F5344CB8AC3E}">
        <p14:creationId xmlns:p14="http://schemas.microsoft.com/office/powerpoint/2010/main" val="22560859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FB4B1C7-AFCD-410A-BAD2-AA98B4E96FF6}"/>
              </a:ext>
            </a:extLst>
          </p:cNvPr>
          <p:cNvSpPr>
            <a:spLocks noGrp="1"/>
          </p:cNvSpPr>
          <p:nvPr>
            <p:ph type="dt" sz="half" idx="10"/>
          </p:nvPr>
        </p:nvSpPr>
        <p:spPr/>
        <p:txBody>
          <a:bodyPr/>
          <a:lstStyle/>
          <a:p>
            <a:fld id="{092D5501-30C5-4ABE-AB5B-5F8E649E777A}" type="datetime1">
              <a:rPr lang="en-US" smtClean="0"/>
              <a:t>3/24/2022</a:t>
            </a:fld>
            <a:endParaRPr lang="en-US"/>
          </a:p>
        </p:txBody>
      </p:sp>
      <p:sp>
        <p:nvSpPr>
          <p:cNvPr id="3" name="Footer Placeholder 2">
            <a:extLst>
              <a:ext uri="{FF2B5EF4-FFF2-40B4-BE49-F238E27FC236}">
                <a16:creationId xmlns:a16="http://schemas.microsoft.com/office/drawing/2014/main" id="{D8CD6A1B-C364-4DE2-B1AE-C37C4029947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AED788E-D056-4C70-8E46-CCF999F7BC72}"/>
              </a:ext>
            </a:extLst>
          </p:cNvPr>
          <p:cNvSpPr>
            <a:spLocks noGrp="1"/>
          </p:cNvSpPr>
          <p:nvPr>
            <p:ph type="sldNum" sz="quarter" idx="12"/>
          </p:nvPr>
        </p:nvSpPr>
        <p:spPr/>
        <p:txBody>
          <a:bodyPr/>
          <a:lstStyle/>
          <a:p>
            <a:fld id="{4FA07702-9C82-4FBE-B98C-E58879511A7A}" type="slidenum">
              <a:rPr lang="en-US" smtClean="0"/>
              <a:t>‹#›</a:t>
            </a:fld>
            <a:endParaRPr lang="en-US"/>
          </a:p>
        </p:txBody>
      </p:sp>
    </p:spTree>
    <p:extLst>
      <p:ext uri="{BB962C8B-B14F-4D97-AF65-F5344CB8AC3E}">
        <p14:creationId xmlns:p14="http://schemas.microsoft.com/office/powerpoint/2010/main" val="11724913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094BAA-A764-404D-B1C1-080BFF62A80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BC15B67-C5C7-4D28-80E2-7C4A4E75F49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CB4ECFE-328A-46B8-8878-22C4E425F7A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9015F0A-53B7-446C-9F38-704A2D34857A}"/>
              </a:ext>
            </a:extLst>
          </p:cNvPr>
          <p:cNvSpPr>
            <a:spLocks noGrp="1"/>
          </p:cNvSpPr>
          <p:nvPr>
            <p:ph type="dt" sz="half" idx="10"/>
          </p:nvPr>
        </p:nvSpPr>
        <p:spPr/>
        <p:txBody>
          <a:bodyPr/>
          <a:lstStyle/>
          <a:p>
            <a:fld id="{5E528F9B-091A-42B2-894E-C49786DE27A1}" type="datetime1">
              <a:rPr lang="en-US" smtClean="0"/>
              <a:t>3/24/2022</a:t>
            </a:fld>
            <a:endParaRPr lang="en-US"/>
          </a:p>
        </p:txBody>
      </p:sp>
      <p:sp>
        <p:nvSpPr>
          <p:cNvPr id="6" name="Footer Placeholder 5">
            <a:extLst>
              <a:ext uri="{FF2B5EF4-FFF2-40B4-BE49-F238E27FC236}">
                <a16:creationId xmlns:a16="http://schemas.microsoft.com/office/drawing/2014/main" id="{BCD96D1F-A34D-43DD-B655-26F44953B71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EFDBA5E-D3D5-465B-937B-77D151311791}"/>
              </a:ext>
            </a:extLst>
          </p:cNvPr>
          <p:cNvSpPr>
            <a:spLocks noGrp="1"/>
          </p:cNvSpPr>
          <p:nvPr>
            <p:ph type="sldNum" sz="quarter" idx="12"/>
          </p:nvPr>
        </p:nvSpPr>
        <p:spPr/>
        <p:txBody>
          <a:bodyPr/>
          <a:lstStyle/>
          <a:p>
            <a:fld id="{4FA07702-9C82-4FBE-B98C-E58879511A7A}" type="slidenum">
              <a:rPr lang="en-US" smtClean="0"/>
              <a:t>‹#›</a:t>
            </a:fld>
            <a:endParaRPr lang="en-US"/>
          </a:p>
        </p:txBody>
      </p:sp>
    </p:spTree>
    <p:extLst>
      <p:ext uri="{BB962C8B-B14F-4D97-AF65-F5344CB8AC3E}">
        <p14:creationId xmlns:p14="http://schemas.microsoft.com/office/powerpoint/2010/main" val="4085396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18CA8-ECAF-4344-92FB-B8A2E1C3BEF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4AEC0F1-17AD-428B-858D-FA03A387423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EFCE513-8CE1-4EC3-805C-A0BABF7E653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13EA970-3A8B-48D9-8BBF-0A6E4FA19369}"/>
              </a:ext>
            </a:extLst>
          </p:cNvPr>
          <p:cNvSpPr>
            <a:spLocks noGrp="1"/>
          </p:cNvSpPr>
          <p:nvPr>
            <p:ph type="dt" sz="half" idx="10"/>
          </p:nvPr>
        </p:nvSpPr>
        <p:spPr/>
        <p:txBody>
          <a:bodyPr/>
          <a:lstStyle/>
          <a:p>
            <a:fld id="{9D111554-1FEB-446E-9289-8FFBF8995578}" type="datetime1">
              <a:rPr lang="en-US" smtClean="0"/>
              <a:t>3/24/2022</a:t>
            </a:fld>
            <a:endParaRPr lang="en-US"/>
          </a:p>
        </p:txBody>
      </p:sp>
      <p:sp>
        <p:nvSpPr>
          <p:cNvPr id="6" name="Footer Placeholder 5">
            <a:extLst>
              <a:ext uri="{FF2B5EF4-FFF2-40B4-BE49-F238E27FC236}">
                <a16:creationId xmlns:a16="http://schemas.microsoft.com/office/drawing/2014/main" id="{EC0A293B-BFFC-4756-9160-C30B584F0ED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B142786-2D2C-46F7-B956-CAA44A7D7463}"/>
              </a:ext>
            </a:extLst>
          </p:cNvPr>
          <p:cNvSpPr>
            <a:spLocks noGrp="1"/>
          </p:cNvSpPr>
          <p:nvPr>
            <p:ph type="sldNum" sz="quarter" idx="12"/>
          </p:nvPr>
        </p:nvSpPr>
        <p:spPr/>
        <p:txBody>
          <a:bodyPr/>
          <a:lstStyle/>
          <a:p>
            <a:fld id="{4FA07702-9C82-4FBE-B98C-E58879511A7A}" type="slidenum">
              <a:rPr lang="en-US" smtClean="0"/>
              <a:t>‹#›</a:t>
            </a:fld>
            <a:endParaRPr lang="en-US"/>
          </a:p>
        </p:txBody>
      </p:sp>
    </p:spTree>
    <p:extLst>
      <p:ext uri="{BB962C8B-B14F-4D97-AF65-F5344CB8AC3E}">
        <p14:creationId xmlns:p14="http://schemas.microsoft.com/office/powerpoint/2010/main" val="40371449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theme" Target="../theme/theme3.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4"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4" Type="http://schemas.openxmlformats.org/officeDocument/2006/relationships/slideLayout" Target="../slideLayouts/slideLayout29.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heme" Target="../theme/theme5.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10" Type="http://schemas.openxmlformats.org/officeDocument/2006/relationships/theme" Target="../theme/theme6.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B73C9AD-B7CA-476E-8CB0-31F609B2720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C1FF190-9907-454C-A4E8-92A4E48FECC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A09125-0D5D-47C2-A9BB-0E1A0296C8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CFDE954-508F-4B03-B56B-6BDB47E22AB7}" type="datetime1">
              <a:rPr lang="en-US" smtClean="0"/>
              <a:t>3/24/2022</a:t>
            </a:fld>
            <a:endParaRPr lang="en-US"/>
          </a:p>
        </p:txBody>
      </p:sp>
      <p:sp>
        <p:nvSpPr>
          <p:cNvPr id="5" name="Footer Placeholder 4">
            <a:extLst>
              <a:ext uri="{FF2B5EF4-FFF2-40B4-BE49-F238E27FC236}">
                <a16:creationId xmlns:a16="http://schemas.microsoft.com/office/drawing/2014/main" id="{A21FF617-D851-430D-97ED-752271FCFF3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F3238FD-6767-4487-8866-B223A51D21B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FA07702-9C82-4FBE-B98C-E58879511A7A}" type="slidenum">
              <a:rPr lang="en-US" smtClean="0"/>
              <a:t>‹#›</a:t>
            </a:fld>
            <a:endParaRPr lang="en-US"/>
          </a:p>
        </p:txBody>
      </p:sp>
    </p:spTree>
    <p:extLst>
      <p:ext uri="{BB962C8B-B14F-4D97-AF65-F5344CB8AC3E}">
        <p14:creationId xmlns:p14="http://schemas.microsoft.com/office/powerpoint/2010/main" val="122173787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177800"/>
            <a:ext cx="10972800" cy="1143000"/>
          </a:xfrm>
          <a:prstGeom prst="rect">
            <a:avLst/>
          </a:prstGeom>
        </p:spPr>
        <p:txBody>
          <a:bodyPr vert="horz" lIns="91440" tIns="45720" rIns="91440" bIns="45720" rtlCol="0" anchor="ctr">
            <a:normAutofit/>
          </a:bodyPr>
          <a:lstStyle/>
          <a:p>
            <a:r>
              <a:rPr lang="en-US" dirty="0"/>
              <a:t>Different title per slide, Arial 28 </a:t>
            </a:r>
            <a:r>
              <a:rPr lang="en-US" dirty="0" err="1"/>
              <a:t>pt</a:t>
            </a:r>
            <a:endParaRPr lang="en-US" dirty="0"/>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53167005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hf hdr="0" ftr="0" dt="0"/>
  <p:txStyles>
    <p:titleStyle>
      <a:lvl1pPr algn="ctr" defTabSz="1219170" rtl="0" eaLnBrk="1" latinLnBrk="0" hangingPunct="1">
        <a:spcBef>
          <a:spcPct val="0"/>
        </a:spcBef>
        <a:buNone/>
        <a:defRPr sz="3733" b="1" kern="1200" baseline="0">
          <a:solidFill>
            <a:srgbClr val="273D77"/>
          </a:solidFill>
          <a:latin typeface="+mj-lt"/>
          <a:ea typeface="+mj-ea"/>
          <a:cs typeface="+mj-cs"/>
        </a:defRPr>
      </a:lvl1pPr>
    </p:titleStyle>
    <p:bodyStyle>
      <a:lvl1pPr marL="457189" indent="-457189" algn="l" defTabSz="1219170" rtl="0" eaLnBrk="1" latinLnBrk="0" hangingPunct="1">
        <a:spcBef>
          <a:spcPct val="20000"/>
        </a:spcBef>
        <a:buSzPct val="125000"/>
        <a:buFont typeface="Arial" panose="020B0604020202020204" pitchFamily="34" charset="0"/>
        <a:buChar char="•"/>
        <a:defRPr sz="2933" kern="1200">
          <a:solidFill>
            <a:srgbClr val="002060"/>
          </a:solidFill>
          <a:latin typeface="+mn-lt"/>
          <a:ea typeface="+mn-ea"/>
          <a:cs typeface="+mn-cs"/>
        </a:defRPr>
      </a:lvl1pPr>
      <a:lvl2pPr marL="990575" indent="-380990" algn="l" defTabSz="1219170" rtl="0" eaLnBrk="1" latinLnBrk="0" hangingPunct="1">
        <a:spcBef>
          <a:spcPct val="20000"/>
        </a:spcBef>
        <a:buFont typeface="Wingdings" panose="05000000000000000000" pitchFamily="2" charset="2"/>
        <a:buChar char="§"/>
        <a:defRPr sz="2667" kern="1200">
          <a:solidFill>
            <a:srgbClr val="002060"/>
          </a:solidFill>
          <a:latin typeface="+mn-lt"/>
          <a:ea typeface="+mn-ea"/>
          <a:cs typeface="+mn-cs"/>
        </a:defRPr>
      </a:lvl2pPr>
      <a:lvl3pPr marL="1523962" indent="-304792" algn="l" defTabSz="1219170" rtl="0" eaLnBrk="1" latinLnBrk="0" hangingPunct="1">
        <a:spcBef>
          <a:spcPct val="20000"/>
        </a:spcBef>
        <a:buFont typeface="Wingdings" panose="05000000000000000000" pitchFamily="2" charset="2"/>
        <a:buChar char="ü"/>
        <a:defRPr sz="2400" kern="1200">
          <a:solidFill>
            <a:srgbClr val="002060"/>
          </a:solidFill>
          <a:latin typeface="+mn-lt"/>
          <a:ea typeface="+mn-ea"/>
          <a:cs typeface="+mn-cs"/>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177800"/>
            <a:ext cx="10972800" cy="1143000"/>
          </a:xfrm>
          <a:prstGeom prst="rect">
            <a:avLst/>
          </a:prstGeom>
        </p:spPr>
        <p:txBody>
          <a:bodyPr vert="horz" lIns="91440" tIns="45720" rIns="91440" bIns="45720" rtlCol="0" anchor="ctr">
            <a:normAutofit/>
          </a:bodyPr>
          <a:lstStyle/>
          <a:p>
            <a:r>
              <a:rPr lang="en-US" dirty="0"/>
              <a:t>Different title per slide, Arial 28 </a:t>
            </a:r>
            <a:r>
              <a:rPr lang="en-US" dirty="0" err="1"/>
              <a:t>pt</a:t>
            </a:r>
            <a:endParaRPr lang="en-US" dirty="0"/>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054459997"/>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Lst>
  <p:hf hdr="0" ftr="0" dt="0"/>
  <p:txStyles>
    <p:titleStyle>
      <a:lvl1pPr algn="ctr" defTabSz="1219170" rtl="0" eaLnBrk="1" latinLnBrk="0" hangingPunct="1">
        <a:spcBef>
          <a:spcPct val="0"/>
        </a:spcBef>
        <a:buNone/>
        <a:defRPr sz="3733" b="1" kern="1200" baseline="0">
          <a:solidFill>
            <a:srgbClr val="273D77"/>
          </a:solidFill>
          <a:latin typeface="+mj-lt"/>
          <a:ea typeface="+mj-ea"/>
          <a:cs typeface="+mj-cs"/>
        </a:defRPr>
      </a:lvl1pPr>
    </p:titleStyle>
    <p:bodyStyle>
      <a:lvl1pPr marL="457189" indent="-457189" algn="l" defTabSz="1219170" rtl="0" eaLnBrk="1" latinLnBrk="0" hangingPunct="1">
        <a:spcBef>
          <a:spcPct val="20000"/>
        </a:spcBef>
        <a:buSzPct val="125000"/>
        <a:buFont typeface="Arial" panose="020B0604020202020204" pitchFamily="34" charset="0"/>
        <a:buChar char="•"/>
        <a:defRPr sz="2933" kern="1200">
          <a:solidFill>
            <a:srgbClr val="002060"/>
          </a:solidFill>
          <a:latin typeface="+mn-lt"/>
          <a:ea typeface="+mn-ea"/>
          <a:cs typeface="+mn-cs"/>
        </a:defRPr>
      </a:lvl1pPr>
      <a:lvl2pPr marL="990575" indent="-380990" algn="l" defTabSz="1219170" rtl="0" eaLnBrk="1" latinLnBrk="0" hangingPunct="1">
        <a:spcBef>
          <a:spcPct val="20000"/>
        </a:spcBef>
        <a:buFont typeface="Wingdings" panose="05000000000000000000" pitchFamily="2" charset="2"/>
        <a:buChar char="§"/>
        <a:defRPr sz="2667" kern="1200">
          <a:solidFill>
            <a:srgbClr val="002060"/>
          </a:solidFill>
          <a:latin typeface="+mn-lt"/>
          <a:ea typeface="+mn-ea"/>
          <a:cs typeface="+mn-cs"/>
        </a:defRPr>
      </a:lvl2pPr>
      <a:lvl3pPr marL="1523962" indent="-304792" algn="l" defTabSz="1219170" rtl="0" eaLnBrk="1" latinLnBrk="0" hangingPunct="1">
        <a:spcBef>
          <a:spcPct val="20000"/>
        </a:spcBef>
        <a:buFont typeface="Wingdings" panose="05000000000000000000" pitchFamily="2" charset="2"/>
        <a:buChar char="ü"/>
        <a:defRPr sz="2400" kern="1200">
          <a:solidFill>
            <a:srgbClr val="002060"/>
          </a:solidFill>
          <a:latin typeface="+mn-lt"/>
          <a:ea typeface="+mn-ea"/>
          <a:cs typeface="+mn-cs"/>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8CE4982-2B59-4AA1-BAD1-4907BF0D2866}"/>
              </a:ext>
            </a:extLst>
          </p:cNvPr>
          <p:cNvSpPr/>
          <p:nvPr userDrawn="1"/>
        </p:nvSpPr>
        <p:spPr>
          <a:xfrm>
            <a:off x="5181600" y="76200"/>
            <a:ext cx="1930400" cy="273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Rectangle 6">
            <a:extLst>
              <a:ext uri="{FF2B5EF4-FFF2-40B4-BE49-F238E27FC236}">
                <a16:creationId xmlns:a16="http://schemas.microsoft.com/office/drawing/2014/main" id="{7171B835-D29F-4EB5-B50D-28E7449EF395}"/>
              </a:ext>
            </a:extLst>
          </p:cNvPr>
          <p:cNvSpPr/>
          <p:nvPr userDrawn="1"/>
        </p:nvSpPr>
        <p:spPr>
          <a:xfrm>
            <a:off x="5181600" y="6508208"/>
            <a:ext cx="1930400" cy="273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MSIPCMContentMarking" descr="{&quot;HashCode&quot;:604560168,&quot;Placement&quot;:&quot;Header&quot;,&quot;Top&quot;:0.0,&quot;Left&quot;:297.0014,&quot;SlideWidth&quot;:720,&quot;SlideHeight&quot;:405}">
            <a:extLst>
              <a:ext uri="{FF2B5EF4-FFF2-40B4-BE49-F238E27FC236}">
                <a16:creationId xmlns:a16="http://schemas.microsoft.com/office/drawing/2014/main" id="{AC53A57B-1528-4C41-B777-DC7B5FBB65A3}"/>
              </a:ext>
            </a:extLst>
          </p:cNvPr>
          <p:cNvSpPr txBox="1"/>
          <p:nvPr userDrawn="1"/>
        </p:nvSpPr>
        <p:spPr>
          <a:xfrm>
            <a:off x="5029224" y="72336"/>
            <a:ext cx="2133552" cy="205121"/>
          </a:xfrm>
          <a:prstGeom prst="rect">
            <a:avLst/>
          </a:prstGeom>
          <a:noFill/>
        </p:spPr>
        <p:txBody>
          <a:bodyPr vert="horz" wrap="square" lIns="0" tIns="0" rIns="0" bIns="0" rtlCol="0" anchor="ctr" anchorCtr="1">
            <a:spAutoFit/>
          </a:bodyPr>
          <a:lstStyle/>
          <a:p>
            <a:pPr algn="ctr">
              <a:spcBef>
                <a:spcPts val="0"/>
              </a:spcBef>
              <a:spcAft>
                <a:spcPts val="0"/>
              </a:spcAft>
            </a:pPr>
            <a:r>
              <a:rPr lang="en-US" sz="1333">
                <a:solidFill>
                  <a:srgbClr val="FF0000"/>
                </a:solidFill>
                <a:latin typeface="Calibri" panose="020F0502020204030204" pitchFamily="34" charset="0"/>
              </a:rPr>
              <a:t>CLASSIFICATION - PUBLIC</a:t>
            </a:r>
          </a:p>
        </p:txBody>
      </p:sp>
      <p:sp>
        <p:nvSpPr>
          <p:cNvPr id="9" name="MSIPCMContentMarking" descr="{&quot;HashCode&quot;:628697737,&quot;Placement&quot;:&quot;Footer&quot;,&quot;Top&quot;:384.343,&quot;Left&quot;:297.0014,&quot;SlideWidth&quot;:720,&quot;SlideHeight&quot;:405}">
            <a:extLst>
              <a:ext uri="{FF2B5EF4-FFF2-40B4-BE49-F238E27FC236}">
                <a16:creationId xmlns:a16="http://schemas.microsoft.com/office/drawing/2014/main" id="{2C1AD67E-CABF-4DCB-B71D-F6209ED881A8}"/>
              </a:ext>
            </a:extLst>
          </p:cNvPr>
          <p:cNvSpPr txBox="1"/>
          <p:nvPr userDrawn="1"/>
        </p:nvSpPr>
        <p:spPr>
          <a:xfrm>
            <a:off x="5029224" y="6580544"/>
            <a:ext cx="2133552" cy="205121"/>
          </a:xfrm>
          <a:prstGeom prst="rect">
            <a:avLst/>
          </a:prstGeom>
          <a:noFill/>
        </p:spPr>
        <p:txBody>
          <a:bodyPr vert="horz" wrap="square" lIns="0" tIns="0" rIns="0" bIns="0" rtlCol="0" anchor="ctr" anchorCtr="1">
            <a:spAutoFit/>
          </a:bodyPr>
          <a:lstStyle/>
          <a:p>
            <a:pPr algn="ctr">
              <a:spcBef>
                <a:spcPts val="0"/>
              </a:spcBef>
              <a:spcAft>
                <a:spcPts val="0"/>
              </a:spcAft>
            </a:pPr>
            <a:r>
              <a:rPr lang="en-US" sz="1333">
                <a:solidFill>
                  <a:srgbClr val="FF0000"/>
                </a:solidFill>
                <a:latin typeface="Calibri" panose="020F0502020204030204" pitchFamily="34" charset="0"/>
              </a:rPr>
              <a:t>CLASSIFICATION - PUBLIC</a:t>
            </a:r>
          </a:p>
        </p:txBody>
      </p:sp>
      <p:sp>
        <p:nvSpPr>
          <p:cNvPr id="10" name="Rectangle 9">
            <a:extLst>
              <a:ext uri="{FF2B5EF4-FFF2-40B4-BE49-F238E27FC236}">
                <a16:creationId xmlns:a16="http://schemas.microsoft.com/office/drawing/2014/main" id="{87BCD945-6FD9-405F-A9FE-86E256B31623}"/>
              </a:ext>
            </a:extLst>
          </p:cNvPr>
          <p:cNvSpPr/>
          <p:nvPr userDrawn="1"/>
        </p:nvSpPr>
        <p:spPr>
          <a:xfrm>
            <a:off x="5181600" y="76200"/>
            <a:ext cx="1828800" cy="203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Rectangle 10">
            <a:extLst>
              <a:ext uri="{FF2B5EF4-FFF2-40B4-BE49-F238E27FC236}">
                <a16:creationId xmlns:a16="http://schemas.microsoft.com/office/drawing/2014/main" id="{AA1D2007-A80C-4EDD-A6FD-B9525A7B608C}"/>
              </a:ext>
            </a:extLst>
          </p:cNvPr>
          <p:cNvSpPr/>
          <p:nvPr userDrawn="1"/>
        </p:nvSpPr>
        <p:spPr>
          <a:xfrm>
            <a:off x="5181600" y="6578600"/>
            <a:ext cx="1828800" cy="203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Placeholder 1"/>
          <p:cNvSpPr>
            <a:spLocks noGrp="1"/>
          </p:cNvSpPr>
          <p:nvPr>
            <p:ph type="title"/>
          </p:nvPr>
        </p:nvSpPr>
        <p:spPr>
          <a:xfrm>
            <a:off x="609600" y="177800"/>
            <a:ext cx="10972800" cy="1143000"/>
          </a:xfrm>
          <a:prstGeom prst="rect">
            <a:avLst/>
          </a:prstGeom>
        </p:spPr>
        <p:txBody>
          <a:bodyPr vert="horz" lIns="91440" tIns="45720" rIns="91440" bIns="45720" rtlCol="0" anchor="ctr">
            <a:normAutofit/>
          </a:bodyPr>
          <a:lstStyle/>
          <a:p>
            <a:r>
              <a:rPr lang="en-US" dirty="0"/>
              <a:t>Different title per slide, Arial 28 </a:t>
            </a:r>
            <a:r>
              <a:rPr lang="en-US" dirty="0" err="1"/>
              <a:t>pt</a:t>
            </a:r>
            <a:endParaRPr lang="en-US" dirty="0"/>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632145534"/>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Lst>
  <p:hf hdr="0" ftr="0" dt="0"/>
  <p:txStyles>
    <p:titleStyle>
      <a:lvl1pPr algn="ctr" defTabSz="1219170" rtl="0" eaLnBrk="1" latinLnBrk="0" hangingPunct="1">
        <a:spcBef>
          <a:spcPct val="0"/>
        </a:spcBef>
        <a:buNone/>
        <a:defRPr sz="3733" b="1" kern="1200" baseline="0">
          <a:solidFill>
            <a:srgbClr val="273D77"/>
          </a:solidFill>
          <a:latin typeface="+mj-lt"/>
          <a:ea typeface="+mj-ea"/>
          <a:cs typeface="+mj-cs"/>
        </a:defRPr>
      </a:lvl1pPr>
    </p:titleStyle>
    <p:bodyStyle>
      <a:lvl1pPr marL="457189" indent="-457189" algn="l" defTabSz="1219170" rtl="0" eaLnBrk="1" latinLnBrk="0" hangingPunct="1">
        <a:spcBef>
          <a:spcPct val="20000"/>
        </a:spcBef>
        <a:buSzPct val="125000"/>
        <a:buFont typeface="Arial" panose="020B0604020202020204" pitchFamily="34" charset="0"/>
        <a:buChar char="•"/>
        <a:defRPr sz="2933" kern="1200">
          <a:solidFill>
            <a:srgbClr val="002060"/>
          </a:solidFill>
          <a:latin typeface="+mn-lt"/>
          <a:ea typeface="+mn-ea"/>
          <a:cs typeface="+mn-cs"/>
        </a:defRPr>
      </a:lvl1pPr>
      <a:lvl2pPr marL="990575" indent="-380990" algn="l" defTabSz="1219170" rtl="0" eaLnBrk="1" latinLnBrk="0" hangingPunct="1">
        <a:spcBef>
          <a:spcPct val="20000"/>
        </a:spcBef>
        <a:buFont typeface="Wingdings" panose="05000000000000000000" pitchFamily="2" charset="2"/>
        <a:buChar char="§"/>
        <a:defRPr sz="2667" kern="1200">
          <a:solidFill>
            <a:srgbClr val="002060"/>
          </a:solidFill>
          <a:latin typeface="+mn-lt"/>
          <a:ea typeface="+mn-ea"/>
          <a:cs typeface="+mn-cs"/>
        </a:defRPr>
      </a:lvl2pPr>
      <a:lvl3pPr marL="1523962" indent="-304792" algn="l" defTabSz="1219170" rtl="0" eaLnBrk="1" latinLnBrk="0" hangingPunct="1">
        <a:spcBef>
          <a:spcPct val="20000"/>
        </a:spcBef>
        <a:buFont typeface="Wingdings" panose="05000000000000000000" pitchFamily="2" charset="2"/>
        <a:buChar char="ü"/>
        <a:defRPr sz="2400" kern="1200">
          <a:solidFill>
            <a:srgbClr val="002060"/>
          </a:solidFill>
          <a:latin typeface="+mn-lt"/>
          <a:ea typeface="+mn-ea"/>
          <a:cs typeface="+mn-cs"/>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EB72FEE-3769-40F6-9209-B2932A631C4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D8052FE-B7AC-46D6-9A54-4BC76DC690E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76B4FF9-7FE5-43B5-8B2F-1D51C485931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0A7DC8F-4893-425F-959C-2EC95FDC310A}" type="datetime1">
              <a:rPr lang="en-US" smtClean="0"/>
              <a:t>3/24/2022</a:t>
            </a:fld>
            <a:endParaRPr lang="en-US"/>
          </a:p>
        </p:txBody>
      </p:sp>
      <p:sp>
        <p:nvSpPr>
          <p:cNvPr id="5" name="Footer Placeholder 4">
            <a:extLst>
              <a:ext uri="{FF2B5EF4-FFF2-40B4-BE49-F238E27FC236}">
                <a16:creationId xmlns:a16="http://schemas.microsoft.com/office/drawing/2014/main" id="{1C414EB4-47AD-46E6-8883-36DDF427CC9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2B1954A-3C67-4C04-AC28-A591FD1775C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1541BB9-6530-43D2-B7E0-33A89042A350}" type="slidenum">
              <a:rPr lang="en-US" smtClean="0"/>
              <a:t>‹#›</a:t>
            </a:fld>
            <a:endParaRPr lang="en-US"/>
          </a:p>
        </p:txBody>
      </p:sp>
    </p:spTree>
    <p:extLst>
      <p:ext uri="{BB962C8B-B14F-4D97-AF65-F5344CB8AC3E}">
        <p14:creationId xmlns:p14="http://schemas.microsoft.com/office/powerpoint/2010/main" val="2997341354"/>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5916168"/>
            <a:ext cx="12210420" cy="960120"/>
          </a:xfrm>
          <a:prstGeom prst="rect">
            <a:avLst/>
          </a:prstGeom>
          <a:solidFill>
            <a:srgbClr val="318AD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p>
        </p:txBody>
      </p:sp>
      <p:sp>
        <p:nvSpPr>
          <p:cNvPr id="2" name="Title Placeholder 1"/>
          <p:cNvSpPr>
            <a:spLocks noGrp="1"/>
          </p:cNvSpPr>
          <p:nvPr>
            <p:ph type="title"/>
          </p:nvPr>
        </p:nvSpPr>
        <p:spPr>
          <a:xfrm>
            <a:off x="612807" y="594296"/>
            <a:ext cx="10677163" cy="716193"/>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612807" y="1600202"/>
            <a:ext cx="10677163" cy="421639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530155" y="6310362"/>
            <a:ext cx="354583" cy="243458"/>
          </a:xfrm>
          <a:prstGeom prst="rect">
            <a:avLst/>
          </a:prstGeom>
        </p:spPr>
        <p:txBody>
          <a:bodyPr vert="horz" lIns="0" tIns="0" rIns="0" bIns="0" rtlCol="0" anchor="t" anchorCtr="0"/>
          <a:lstStyle>
            <a:lvl1pPr algn="r">
              <a:defRPr sz="900">
                <a:solidFill>
                  <a:schemeClr val="bg1"/>
                </a:solidFill>
                <a:latin typeface="Noto Sans Mono Bold"/>
                <a:cs typeface="Noto Sans Mono Bold"/>
              </a:defRPr>
            </a:lvl1pPr>
          </a:lstStyle>
          <a:p>
            <a:fld id="{4DE38BC6-D6A2-2D49-94ED-9FBA0C8D5700}" type="slidenum">
              <a:rPr lang="en-US" smtClean="0"/>
              <a:pPr/>
              <a:t>‹#›</a:t>
            </a:fld>
            <a:endParaRPr lang="en-US" dirty="0"/>
          </a:p>
        </p:txBody>
      </p:sp>
    </p:spTree>
    <p:extLst>
      <p:ext uri="{BB962C8B-B14F-4D97-AF65-F5344CB8AC3E}">
        <p14:creationId xmlns:p14="http://schemas.microsoft.com/office/powerpoint/2010/main" val="3556218622"/>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Lst>
  <p:hf hdr="0" ftr="0" dt="0"/>
  <p:txStyles>
    <p:titleStyle>
      <a:lvl1pPr algn="l" defTabSz="457200" rtl="0" eaLnBrk="1" latinLnBrk="0" hangingPunct="1">
        <a:lnSpc>
          <a:spcPts val="2400"/>
        </a:lnSpc>
        <a:spcBef>
          <a:spcPct val="0"/>
        </a:spcBef>
        <a:buNone/>
        <a:defRPr sz="2400" kern="1200" spc="-30">
          <a:solidFill>
            <a:srgbClr val="318AD0"/>
          </a:solidFill>
          <a:latin typeface="Noto Sans Display Bold"/>
          <a:ea typeface="+mj-ea"/>
          <a:cs typeface="Noto Sans Display Bold"/>
        </a:defRPr>
      </a:lvl1pPr>
    </p:titleStyle>
    <p:bodyStyle>
      <a:lvl1pPr marL="342900" indent="-342900" algn="l" defTabSz="457200" rtl="0" eaLnBrk="1" latinLnBrk="0" hangingPunct="1">
        <a:spcBef>
          <a:spcPct val="20000"/>
        </a:spcBef>
        <a:buFont typeface="Arial"/>
        <a:buChar char="•"/>
        <a:defRPr sz="2000" kern="1200">
          <a:solidFill>
            <a:schemeClr val="tx1"/>
          </a:solidFill>
          <a:latin typeface="Noto Sans Display Regular"/>
          <a:ea typeface="+mn-ea"/>
          <a:cs typeface="Noto Sans Display Regular"/>
        </a:defRPr>
      </a:lvl1pPr>
      <a:lvl2pPr marL="742950" indent="-285750" algn="l" defTabSz="457200" rtl="0" eaLnBrk="1" latinLnBrk="0" hangingPunct="1">
        <a:spcBef>
          <a:spcPct val="20000"/>
        </a:spcBef>
        <a:buFont typeface="Arial"/>
        <a:buChar char="–"/>
        <a:defRPr sz="2000" kern="1200">
          <a:solidFill>
            <a:schemeClr val="tx1"/>
          </a:solidFill>
          <a:latin typeface="Noto Sans Display Regular"/>
          <a:ea typeface="+mn-ea"/>
          <a:cs typeface="Noto Sans Display Regular"/>
        </a:defRPr>
      </a:lvl2pPr>
      <a:lvl3pPr marL="1143000" indent="-228600" algn="l" defTabSz="457200" rtl="0" eaLnBrk="1" latinLnBrk="0" hangingPunct="1">
        <a:spcBef>
          <a:spcPct val="20000"/>
        </a:spcBef>
        <a:buFont typeface="Arial"/>
        <a:buChar char="•"/>
        <a:defRPr sz="2000" kern="1200">
          <a:solidFill>
            <a:schemeClr val="tx1"/>
          </a:solidFill>
          <a:latin typeface="Noto Sans Display Regular"/>
          <a:ea typeface="+mn-ea"/>
          <a:cs typeface="Noto Sans Display Regular"/>
        </a:defRPr>
      </a:lvl3pPr>
      <a:lvl4pPr marL="1600200" indent="-228600" algn="l" defTabSz="457200" rtl="0" eaLnBrk="1" latinLnBrk="0" hangingPunct="1">
        <a:spcBef>
          <a:spcPct val="20000"/>
        </a:spcBef>
        <a:buFont typeface="Arial"/>
        <a:buChar char="–"/>
        <a:defRPr sz="2000" kern="1200">
          <a:solidFill>
            <a:schemeClr val="tx1"/>
          </a:solidFill>
          <a:latin typeface="Noto Sans Display Regular"/>
          <a:ea typeface="+mn-ea"/>
          <a:cs typeface="Noto Sans Display Regular"/>
        </a:defRPr>
      </a:lvl4pPr>
      <a:lvl5pPr marL="2057400" indent="-228600" algn="l" defTabSz="457200" rtl="0" eaLnBrk="1" latinLnBrk="0" hangingPunct="1">
        <a:spcBef>
          <a:spcPct val="20000"/>
        </a:spcBef>
        <a:buFont typeface="Arial"/>
        <a:buChar char="»"/>
        <a:defRPr sz="2000" kern="1200">
          <a:solidFill>
            <a:schemeClr val="tx1"/>
          </a:solidFill>
          <a:latin typeface="Noto Sans Display Regular"/>
          <a:ea typeface="+mn-ea"/>
          <a:cs typeface="Noto Sans Display Regular"/>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6.xml"/></Relationships>
</file>

<file path=ppt/slides/_rels/slide10.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jpeg"/><Relationship Id="rId2" Type="http://schemas.openxmlformats.org/officeDocument/2006/relationships/notesSlide" Target="../notesSlides/notesSlide7.xml"/><Relationship Id="rId1" Type="http://schemas.openxmlformats.org/officeDocument/2006/relationships/slideLayout" Target="../slideLayouts/slideLayout35.xml"/><Relationship Id="rId6" Type="http://schemas.openxmlformats.org/officeDocument/2006/relationships/image" Target="../media/image44.png"/><Relationship Id="rId11" Type="http://schemas.openxmlformats.org/officeDocument/2006/relationships/image" Target="../media/image49.jpeg"/><Relationship Id="rId5" Type="http://schemas.openxmlformats.org/officeDocument/2006/relationships/image" Target="../media/image43.png"/><Relationship Id="rId10" Type="http://schemas.openxmlformats.org/officeDocument/2006/relationships/image" Target="../media/image48.png"/><Relationship Id="rId4" Type="http://schemas.openxmlformats.org/officeDocument/2006/relationships/image" Target="../media/image42.svg"/><Relationship Id="rId9" Type="http://schemas.openxmlformats.org/officeDocument/2006/relationships/image" Target="../media/image47.png"/></Relationships>
</file>

<file path=ppt/slides/_rels/slide1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1.jpeg"/><Relationship Id="rId7" Type="http://schemas.openxmlformats.org/officeDocument/2006/relationships/image" Target="../media/image54.jpeg"/><Relationship Id="rId12" Type="http://schemas.openxmlformats.org/officeDocument/2006/relationships/image" Target="../media/image59.PNG"/><Relationship Id="rId2" Type="http://schemas.openxmlformats.org/officeDocument/2006/relationships/notesSlide" Target="../notesSlides/notesSlide8.xml"/><Relationship Id="rId1" Type="http://schemas.openxmlformats.org/officeDocument/2006/relationships/slideLayout" Target="../slideLayouts/slideLayout35.xml"/><Relationship Id="rId6" Type="http://schemas.openxmlformats.org/officeDocument/2006/relationships/image" Target="../media/image49.jpeg"/><Relationship Id="rId11" Type="http://schemas.openxmlformats.org/officeDocument/2006/relationships/image" Target="../media/image58.svg"/><Relationship Id="rId5" Type="http://schemas.openxmlformats.org/officeDocument/2006/relationships/image" Target="../media/image53.png"/><Relationship Id="rId10" Type="http://schemas.openxmlformats.org/officeDocument/2006/relationships/image" Target="../media/image57.png"/><Relationship Id="rId4" Type="http://schemas.openxmlformats.org/officeDocument/2006/relationships/image" Target="../media/image52.png"/><Relationship Id="rId9" Type="http://schemas.openxmlformats.org/officeDocument/2006/relationships/image" Target="../media/image56.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5.xml"/></Relationships>
</file>

<file path=ppt/slides/_rels/slide13.xml.rels><?xml version="1.0" encoding="UTF-8" standalone="yes"?>
<Relationships xmlns="http://schemas.openxmlformats.org/package/2006/relationships"><Relationship Id="rId3" Type="http://schemas.openxmlformats.org/officeDocument/2006/relationships/image" Target="../media/image61.jpg"/><Relationship Id="rId2" Type="http://schemas.openxmlformats.org/officeDocument/2006/relationships/image" Target="../media/image60.jpg"/><Relationship Id="rId1" Type="http://schemas.openxmlformats.org/officeDocument/2006/relationships/slideLayout" Target="../slideLayouts/slideLayout35.xml"/><Relationship Id="rId5" Type="http://schemas.openxmlformats.org/officeDocument/2006/relationships/image" Target="../media/image63.png"/><Relationship Id="rId4" Type="http://schemas.openxmlformats.org/officeDocument/2006/relationships/image" Target="../media/image62.jpg"/></Relationships>
</file>

<file path=ppt/slides/_rels/slide1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0.xml"/><Relationship Id="rId1" Type="http://schemas.openxmlformats.org/officeDocument/2006/relationships/slideLayout" Target="../slideLayouts/slideLayout35.xml"/></Relationships>
</file>

<file path=ppt/slides/_rels/slide15.xml.rels><?xml version="1.0" encoding="UTF-8" standalone="yes"?>
<Relationships xmlns="http://schemas.openxmlformats.org/package/2006/relationships"><Relationship Id="rId2" Type="http://schemas.openxmlformats.org/officeDocument/2006/relationships/image" Target="../media/image65.jp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image" Target="../media/image76.png"/><Relationship Id="rId3" Type="http://schemas.openxmlformats.org/officeDocument/2006/relationships/image" Target="../media/image66.jfif"/><Relationship Id="rId7" Type="http://schemas.openxmlformats.org/officeDocument/2006/relationships/image" Target="../media/image70.png"/><Relationship Id="rId12" Type="http://schemas.openxmlformats.org/officeDocument/2006/relationships/image" Target="../media/image75.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69.png"/><Relationship Id="rId11" Type="http://schemas.openxmlformats.org/officeDocument/2006/relationships/image" Target="../media/image74.png"/><Relationship Id="rId5" Type="http://schemas.openxmlformats.org/officeDocument/2006/relationships/image" Target="../media/image68.png"/><Relationship Id="rId10" Type="http://schemas.openxmlformats.org/officeDocument/2006/relationships/image" Target="../media/image73.png"/><Relationship Id="rId4" Type="http://schemas.openxmlformats.org/officeDocument/2006/relationships/image" Target="../media/image67.png"/><Relationship Id="rId9" Type="http://schemas.openxmlformats.org/officeDocument/2006/relationships/image" Target="../media/image72.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8.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3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2.xml"/><Relationship Id="rId1" Type="http://schemas.openxmlformats.org/officeDocument/2006/relationships/slideLayout" Target="../slideLayouts/slideLayout3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5.xml"/></Relationships>
</file>

<file path=ppt/slides/_rels/slide23.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35.xml"/></Relationships>
</file>

<file path=ppt/slides/_rels/slide2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37.xml"/><Relationship Id="rId4" Type="http://schemas.openxmlformats.org/officeDocument/2006/relationships/image" Target="../media/image82.png"/></Relationships>
</file>

<file path=ppt/slides/_rels/slide2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37.xml"/><Relationship Id="rId4" Type="http://schemas.openxmlformats.org/officeDocument/2006/relationships/image" Target="../media/image82.png"/></Relationships>
</file>

<file path=ppt/slides/_rels/slide2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37.xml"/><Relationship Id="rId4" Type="http://schemas.openxmlformats.org/officeDocument/2006/relationships/image" Target="../media/image82.png"/></Relationships>
</file>

<file path=ppt/slides/_rels/slide2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37.xml"/><Relationship Id="rId4" Type="http://schemas.openxmlformats.org/officeDocument/2006/relationships/image" Target="../media/image82.png"/></Relationships>
</file>

<file path=ppt/slides/_rels/slide2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37.xml"/><Relationship Id="rId4" Type="http://schemas.openxmlformats.org/officeDocument/2006/relationships/image" Target="../media/image82.png"/></Relationships>
</file>

<file path=ppt/slides/_rels/slide2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37.xml"/><Relationship Id="rId4" Type="http://schemas.openxmlformats.org/officeDocument/2006/relationships/image" Target="../media/image82.png"/></Relationships>
</file>

<file path=ppt/slides/_rels/slide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35.xml"/><Relationship Id="rId6" Type="http://schemas.openxmlformats.org/officeDocument/2006/relationships/image" Target="../media/image24.png"/><Relationship Id="rId5" Type="http://schemas.openxmlformats.org/officeDocument/2006/relationships/image" Target="../media/image23.png"/><Relationship Id="rId10" Type="http://schemas.openxmlformats.org/officeDocument/2006/relationships/image" Target="../media/image28.jpg"/><Relationship Id="rId4" Type="http://schemas.openxmlformats.org/officeDocument/2006/relationships/image" Target="../media/image22.png"/><Relationship Id="rId9" Type="http://schemas.openxmlformats.org/officeDocument/2006/relationships/image" Target="../media/image27.png"/></Relationships>
</file>

<file path=ppt/slides/_rels/slide30.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37.xml"/><Relationship Id="rId4" Type="http://schemas.openxmlformats.org/officeDocument/2006/relationships/image" Target="../media/image82.png"/></Relationships>
</file>

<file path=ppt/slides/_rels/slide3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37.xml"/><Relationship Id="rId4" Type="http://schemas.openxmlformats.org/officeDocument/2006/relationships/image" Target="../media/image82.png"/></Relationships>
</file>

<file path=ppt/slides/_rels/slide32.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37.xml"/><Relationship Id="rId4" Type="http://schemas.openxmlformats.org/officeDocument/2006/relationships/image" Target="../media/image82.png"/></Relationships>
</file>

<file path=ppt/slides/_rels/slide3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37.xml"/><Relationship Id="rId4" Type="http://schemas.openxmlformats.org/officeDocument/2006/relationships/image" Target="../media/image82.png"/></Relationships>
</file>

<file path=ppt/slides/_rels/slide34.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35.xml"/></Relationships>
</file>

<file path=ppt/slides/_rels/slide35.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jpeg"/><Relationship Id="rId2" Type="http://schemas.openxmlformats.org/officeDocument/2006/relationships/notesSlide" Target="../notesSlides/notesSlide14.xml"/><Relationship Id="rId1" Type="http://schemas.openxmlformats.org/officeDocument/2006/relationships/slideLayout" Target="../slideLayouts/slideLayout35.xml"/><Relationship Id="rId6" Type="http://schemas.openxmlformats.org/officeDocument/2006/relationships/image" Target="../media/image44.png"/><Relationship Id="rId11" Type="http://schemas.openxmlformats.org/officeDocument/2006/relationships/image" Target="../media/image49.jpeg"/><Relationship Id="rId5" Type="http://schemas.openxmlformats.org/officeDocument/2006/relationships/image" Target="../media/image43.png"/><Relationship Id="rId10" Type="http://schemas.openxmlformats.org/officeDocument/2006/relationships/image" Target="../media/image48.png"/><Relationship Id="rId4" Type="http://schemas.openxmlformats.org/officeDocument/2006/relationships/image" Target="../media/image42.svg"/><Relationship Id="rId9" Type="http://schemas.openxmlformats.org/officeDocument/2006/relationships/image" Target="../media/image47.png"/></Relationships>
</file>

<file path=ppt/slides/_rels/slide36.xml.rels><?xml version="1.0" encoding="UTF-8" standalone="yes"?>
<Relationships xmlns="http://schemas.openxmlformats.org/package/2006/relationships"><Relationship Id="rId8" Type="http://schemas.openxmlformats.org/officeDocument/2006/relationships/image" Target="../media/image51.jpeg"/><Relationship Id="rId13" Type="http://schemas.openxmlformats.org/officeDocument/2006/relationships/image" Target="../media/image109.png"/><Relationship Id="rId3" Type="http://schemas.openxmlformats.org/officeDocument/2006/relationships/image" Target="../media/image102.jpeg"/><Relationship Id="rId7" Type="http://schemas.openxmlformats.org/officeDocument/2006/relationships/image" Target="../media/image106.jpeg"/><Relationship Id="rId12" Type="http://schemas.openxmlformats.org/officeDocument/2006/relationships/image" Target="../media/image53.png"/><Relationship Id="rId2" Type="http://schemas.openxmlformats.org/officeDocument/2006/relationships/notesSlide" Target="../notesSlides/notesSlide15.xml"/><Relationship Id="rId16" Type="http://schemas.openxmlformats.org/officeDocument/2006/relationships/image" Target="../media/image112.svg"/><Relationship Id="rId1" Type="http://schemas.openxmlformats.org/officeDocument/2006/relationships/slideLayout" Target="../slideLayouts/slideLayout35.xml"/><Relationship Id="rId6" Type="http://schemas.openxmlformats.org/officeDocument/2006/relationships/image" Target="../media/image105.jpeg"/><Relationship Id="rId11" Type="http://schemas.openxmlformats.org/officeDocument/2006/relationships/image" Target="../media/image52.png"/><Relationship Id="rId5" Type="http://schemas.openxmlformats.org/officeDocument/2006/relationships/image" Target="../media/image104.jpeg"/><Relationship Id="rId15" Type="http://schemas.openxmlformats.org/officeDocument/2006/relationships/image" Target="../media/image111.png"/><Relationship Id="rId10" Type="http://schemas.openxmlformats.org/officeDocument/2006/relationships/image" Target="../media/image108.svg"/><Relationship Id="rId4" Type="http://schemas.openxmlformats.org/officeDocument/2006/relationships/image" Target="../media/image103.jpeg"/><Relationship Id="rId9" Type="http://schemas.openxmlformats.org/officeDocument/2006/relationships/image" Target="../media/image107.png"/><Relationship Id="rId14" Type="http://schemas.openxmlformats.org/officeDocument/2006/relationships/image" Target="../media/image110.svg"/></Relationships>
</file>

<file path=ppt/slides/_rels/slide37.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image" Target="../media/image113.png"/><Relationship Id="rId7" Type="http://schemas.openxmlformats.org/officeDocument/2006/relationships/image" Target="../media/image117.jpeg"/><Relationship Id="rId12" Type="http://schemas.openxmlformats.org/officeDocument/2006/relationships/image" Target="../media/image122.svg"/><Relationship Id="rId2" Type="http://schemas.openxmlformats.org/officeDocument/2006/relationships/notesSlide" Target="../notesSlides/notesSlide16.xml"/><Relationship Id="rId1" Type="http://schemas.openxmlformats.org/officeDocument/2006/relationships/slideLayout" Target="../slideLayouts/slideLayout35.xml"/><Relationship Id="rId6" Type="http://schemas.openxmlformats.org/officeDocument/2006/relationships/image" Target="../media/image116.svg"/><Relationship Id="rId11" Type="http://schemas.openxmlformats.org/officeDocument/2006/relationships/image" Target="../media/image121.png"/><Relationship Id="rId5" Type="http://schemas.openxmlformats.org/officeDocument/2006/relationships/image" Target="../media/image115.png"/><Relationship Id="rId10" Type="http://schemas.openxmlformats.org/officeDocument/2006/relationships/image" Target="../media/image120.svg"/><Relationship Id="rId4" Type="http://schemas.openxmlformats.org/officeDocument/2006/relationships/image" Target="../media/image114.svg"/><Relationship Id="rId9" Type="http://schemas.openxmlformats.org/officeDocument/2006/relationships/image" Target="../media/image119.png"/></Relationships>
</file>

<file path=ppt/slides/_rels/slide38.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124.jpe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123.jpeg"/><Relationship Id="rId5" Type="http://schemas.openxmlformats.org/officeDocument/2006/relationships/image" Target="../media/image49.jpeg"/><Relationship Id="rId4" Type="http://schemas.openxmlformats.org/officeDocument/2006/relationships/image" Target="../media/image48.png"/></Relationships>
</file>

<file path=ppt/slides/_rels/slide39.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emf"/><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35.xml"/></Relationships>
</file>

<file path=ppt/slides/_rels/slide40.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png"/><Relationship Id="rId1" Type="http://schemas.openxmlformats.org/officeDocument/2006/relationships/slideLayout" Target="../slideLayouts/slideLayout39.xml"/><Relationship Id="rId5" Type="http://schemas.openxmlformats.org/officeDocument/2006/relationships/image" Target="../media/image130.png"/><Relationship Id="rId4" Type="http://schemas.openxmlformats.org/officeDocument/2006/relationships/image" Target="../media/image129.png"/></Relationships>
</file>

<file path=ppt/slides/_rels/slide5.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 Id="rId9" Type="http://schemas.openxmlformats.org/officeDocument/2006/relationships/image" Target="../media/image36.PNG"/></Relationships>
</file>

<file path=ppt/slides/_rels/slide6.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xml"/><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F939C4-33C6-4225-99B2-2D428FDADE75}"/>
              </a:ext>
            </a:extLst>
          </p:cNvPr>
          <p:cNvSpPr>
            <a:spLocks noGrp="1"/>
          </p:cNvSpPr>
          <p:nvPr>
            <p:ph type="ctrTitle"/>
          </p:nvPr>
        </p:nvSpPr>
        <p:spPr/>
        <p:txBody>
          <a:bodyPr/>
          <a:lstStyle/>
          <a:p>
            <a:pPr algn="ctr"/>
            <a:r>
              <a:rPr lang="en-US" sz="4400" dirty="0"/>
              <a:t>Vaccine Development for Pandemic Response</a:t>
            </a:r>
          </a:p>
        </p:txBody>
      </p:sp>
      <p:sp>
        <p:nvSpPr>
          <p:cNvPr id="5" name="Subtitle 4">
            <a:extLst>
              <a:ext uri="{FF2B5EF4-FFF2-40B4-BE49-F238E27FC236}">
                <a16:creationId xmlns:a16="http://schemas.microsoft.com/office/drawing/2014/main" id="{196BD72D-A59A-45DE-99B3-24282E66C775}"/>
              </a:ext>
            </a:extLst>
          </p:cNvPr>
          <p:cNvSpPr>
            <a:spLocks noGrp="1"/>
          </p:cNvSpPr>
          <p:nvPr>
            <p:ph type="subTitle" idx="1"/>
          </p:nvPr>
        </p:nvSpPr>
        <p:spPr>
          <a:xfrm>
            <a:off x="484632" y="2980184"/>
            <a:ext cx="11311127" cy="1752600"/>
          </a:xfrm>
        </p:spPr>
        <p:txBody>
          <a:bodyPr>
            <a:normAutofit/>
          </a:bodyPr>
          <a:lstStyle/>
          <a:p>
            <a:pPr>
              <a:spcBef>
                <a:spcPts val="0"/>
              </a:spcBef>
            </a:pPr>
            <a:r>
              <a:rPr lang="en-US" sz="3200" dirty="0">
                <a:solidFill>
                  <a:schemeClr val="tx2"/>
                </a:solidFill>
              </a:rPr>
              <a:t>Rick A. Bright, Ph.D.</a:t>
            </a:r>
          </a:p>
          <a:p>
            <a:pPr>
              <a:spcBef>
                <a:spcPts val="0"/>
              </a:spcBef>
            </a:pPr>
            <a:r>
              <a:rPr lang="en-US" sz="3200" dirty="0">
                <a:solidFill>
                  <a:schemeClr val="tx2"/>
                </a:solidFill>
              </a:rPr>
              <a:t>CEO, Pandemic Prevention Institute, The Rockefeller Foundation</a:t>
            </a:r>
          </a:p>
        </p:txBody>
      </p:sp>
      <p:sp>
        <p:nvSpPr>
          <p:cNvPr id="6" name="Subtitle 4">
            <a:extLst>
              <a:ext uri="{FF2B5EF4-FFF2-40B4-BE49-F238E27FC236}">
                <a16:creationId xmlns:a16="http://schemas.microsoft.com/office/drawing/2014/main" id="{6B3F6187-2165-4EB1-9577-2012F4ADE6F7}"/>
              </a:ext>
            </a:extLst>
          </p:cNvPr>
          <p:cNvSpPr txBox="1">
            <a:spLocks/>
          </p:cNvSpPr>
          <p:nvPr/>
        </p:nvSpPr>
        <p:spPr>
          <a:xfrm>
            <a:off x="484632" y="4377057"/>
            <a:ext cx="11311127" cy="1752600"/>
          </a:xfrm>
          <a:prstGeom prst="rect">
            <a:avLst/>
          </a:prstGeom>
        </p:spPr>
        <p:txBody>
          <a:bodyPr vert="horz" lIns="91440" tIns="45720" rIns="91440" bIns="45720" rtlCol="0">
            <a:normAutofit/>
          </a:bodyPr>
          <a:lstStyle>
            <a:lvl1pPr marL="0" indent="0" algn="ctr" defTabSz="457200" rtl="0" eaLnBrk="1" latinLnBrk="0" hangingPunct="1">
              <a:spcBef>
                <a:spcPct val="20000"/>
              </a:spcBef>
              <a:buFont typeface="Arial"/>
              <a:buNone/>
              <a:defRPr sz="2000" kern="1200">
                <a:solidFill>
                  <a:schemeClr val="tx1">
                    <a:tint val="75000"/>
                  </a:schemeClr>
                </a:solidFill>
                <a:latin typeface="Noto Sans Display Regular"/>
                <a:ea typeface="+mn-ea"/>
                <a:cs typeface="Noto Sans Display Regular"/>
              </a:defRPr>
            </a:lvl1pPr>
            <a:lvl2pPr marL="457200" indent="0" algn="ctr" defTabSz="457200" rtl="0" eaLnBrk="1" latinLnBrk="0" hangingPunct="1">
              <a:spcBef>
                <a:spcPct val="20000"/>
              </a:spcBef>
              <a:buFont typeface="Arial"/>
              <a:buNone/>
              <a:defRPr sz="2000" kern="1200">
                <a:solidFill>
                  <a:schemeClr val="tx1">
                    <a:tint val="75000"/>
                  </a:schemeClr>
                </a:solidFill>
                <a:latin typeface="Noto Sans Display Regular"/>
                <a:ea typeface="+mn-ea"/>
                <a:cs typeface="Noto Sans Display Regular"/>
              </a:defRPr>
            </a:lvl2pPr>
            <a:lvl3pPr marL="914400" indent="0" algn="ctr" defTabSz="457200" rtl="0" eaLnBrk="1" latinLnBrk="0" hangingPunct="1">
              <a:spcBef>
                <a:spcPct val="20000"/>
              </a:spcBef>
              <a:buFont typeface="Arial"/>
              <a:buNone/>
              <a:defRPr sz="2000" kern="1200">
                <a:solidFill>
                  <a:schemeClr val="tx1">
                    <a:tint val="75000"/>
                  </a:schemeClr>
                </a:solidFill>
                <a:latin typeface="Noto Sans Display Regular"/>
                <a:ea typeface="+mn-ea"/>
                <a:cs typeface="Noto Sans Display Regular"/>
              </a:defRPr>
            </a:lvl3pPr>
            <a:lvl4pPr marL="1371600" indent="0" algn="ctr" defTabSz="457200" rtl="0" eaLnBrk="1" latinLnBrk="0" hangingPunct="1">
              <a:spcBef>
                <a:spcPct val="20000"/>
              </a:spcBef>
              <a:buFont typeface="Arial"/>
              <a:buNone/>
              <a:defRPr sz="2000" kern="1200">
                <a:solidFill>
                  <a:schemeClr val="tx1">
                    <a:tint val="75000"/>
                  </a:schemeClr>
                </a:solidFill>
                <a:latin typeface="Noto Sans Display Regular"/>
                <a:ea typeface="+mn-ea"/>
                <a:cs typeface="Noto Sans Display Regular"/>
              </a:defRPr>
            </a:lvl4pPr>
            <a:lvl5pPr marL="1828800" indent="0" algn="ctr" defTabSz="457200" rtl="0" eaLnBrk="1" latinLnBrk="0" hangingPunct="1">
              <a:spcBef>
                <a:spcPct val="20000"/>
              </a:spcBef>
              <a:buFont typeface="Arial"/>
              <a:buNone/>
              <a:defRPr sz="2000" kern="1200">
                <a:solidFill>
                  <a:schemeClr val="tx1">
                    <a:tint val="75000"/>
                  </a:schemeClr>
                </a:solidFill>
                <a:latin typeface="Noto Sans Display Regular"/>
                <a:ea typeface="+mn-ea"/>
                <a:cs typeface="Noto Sans Display Regular"/>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spcBef>
                <a:spcPts val="0"/>
              </a:spcBef>
            </a:pPr>
            <a:r>
              <a:rPr lang="en-US" sz="2400" dirty="0">
                <a:solidFill>
                  <a:schemeClr val="accent1"/>
                </a:solidFill>
              </a:rPr>
              <a:t>The Robert and Jean Adams Foundation </a:t>
            </a:r>
          </a:p>
          <a:p>
            <a:pPr>
              <a:spcBef>
                <a:spcPts val="0"/>
              </a:spcBef>
            </a:pPr>
            <a:r>
              <a:rPr lang="en-US" sz="2400" dirty="0">
                <a:solidFill>
                  <a:schemeClr val="accent1"/>
                </a:solidFill>
              </a:rPr>
              <a:t>Medical and Clinical Laboratory Sciences Symposium</a:t>
            </a:r>
          </a:p>
          <a:p>
            <a:pPr>
              <a:spcBef>
                <a:spcPts val="0"/>
              </a:spcBef>
            </a:pPr>
            <a:r>
              <a:rPr lang="en-US" sz="2400" dirty="0">
                <a:solidFill>
                  <a:schemeClr val="accent1"/>
                </a:solidFill>
              </a:rPr>
              <a:t>Auburn University at Montgomery</a:t>
            </a:r>
          </a:p>
          <a:p>
            <a:pPr>
              <a:spcBef>
                <a:spcPts val="0"/>
              </a:spcBef>
            </a:pPr>
            <a:r>
              <a:rPr lang="en-US" sz="2400" dirty="0">
                <a:solidFill>
                  <a:schemeClr val="accent1"/>
                </a:solidFill>
              </a:rPr>
              <a:t>April 1, 2022</a:t>
            </a:r>
          </a:p>
        </p:txBody>
      </p:sp>
      <p:pic>
        <p:nvPicPr>
          <p:cNvPr id="7" name="Picture 6">
            <a:extLst>
              <a:ext uri="{FF2B5EF4-FFF2-40B4-BE49-F238E27FC236}">
                <a16:creationId xmlns:a16="http://schemas.microsoft.com/office/drawing/2014/main" id="{7F3672C1-3430-4A8F-B369-43958DD28B68}"/>
              </a:ext>
            </a:extLst>
          </p:cNvPr>
          <p:cNvPicPr>
            <a:picLocks noChangeAspect="1"/>
          </p:cNvPicPr>
          <p:nvPr/>
        </p:nvPicPr>
        <p:blipFill>
          <a:blip r:embed="rId2"/>
          <a:stretch>
            <a:fillRect/>
          </a:stretch>
        </p:blipFill>
        <p:spPr>
          <a:xfrm>
            <a:off x="9366068" y="234550"/>
            <a:ext cx="2594371" cy="987586"/>
          </a:xfrm>
          <a:prstGeom prst="rect">
            <a:avLst/>
          </a:prstGeom>
        </p:spPr>
      </p:pic>
    </p:spTree>
    <p:extLst>
      <p:ext uri="{BB962C8B-B14F-4D97-AF65-F5344CB8AC3E}">
        <p14:creationId xmlns:p14="http://schemas.microsoft.com/office/powerpoint/2010/main" val="531969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RIVe Slide Title">
            <a:extLst>
              <a:ext uri="{FF2B5EF4-FFF2-40B4-BE49-F238E27FC236}">
                <a16:creationId xmlns:a16="http://schemas.microsoft.com/office/drawing/2014/main" id="{AC9C168F-BC37-47AE-98E6-A37D3FFA3FCC}"/>
              </a:ext>
            </a:extLst>
          </p:cNvPr>
          <p:cNvSpPr>
            <a:spLocks noGrp="1"/>
          </p:cNvSpPr>
          <p:nvPr>
            <p:ph type="title"/>
          </p:nvPr>
        </p:nvSpPr>
        <p:spPr/>
        <p:txBody>
          <a:bodyPr vert="horz" lIns="121920" tIns="60960" rIns="121920" bIns="60960" rtlCol="0" anchor="ctr">
            <a:normAutofit fontScale="90000"/>
          </a:bodyPr>
          <a:lstStyle/>
          <a:p>
            <a:pPr algn="ctr"/>
            <a:r>
              <a:rPr lang="en-US" dirty="0">
                <a:solidFill>
                  <a:schemeClr val="bg1"/>
                </a:solidFill>
              </a:rPr>
              <a:t>Addressing End to End Solutions</a:t>
            </a:r>
          </a:p>
        </p:txBody>
      </p:sp>
      <p:grpSp>
        <p:nvGrpSpPr>
          <p:cNvPr id="53" name="Group 52">
            <a:extLst>
              <a:ext uri="{FF2B5EF4-FFF2-40B4-BE49-F238E27FC236}">
                <a16:creationId xmlns:a16="http://schemas.microsoft.com/office/drawing/2014/main" id="{E4B4FD5A-0152-4FE4-B033-B8546EF53CFE}"/>
              </a:ext>
            </a:extLst>
          </p:cNvPr>
          <p:cNvGrpSpPr/>
          <p:nvPr/>
        </p:nvGrpSpPr>
        <p:grpSpPr>
          <a:xfrm>
            <a:off x="171939" y="2125393"/>
            <a:ext cx="11583992" cy="4040217"/>
            <a:chOff x="128954" y="1182565"/>
            <a:chExt cx="8687994" cy="3030163"/>
          </a:xfrm>
        </p:grpSpPr>
        <p:sp>
          <p:nvSpPr>
            <p:cNvPr id="6" name="Title: Identification/Characterize">
              <a:extLst>
                <a:ext uri="{FF2B5EF4-FFF2-40B4-BE49-F238E27FC236}">
                  <a16:creationId xmlns:a16="http://schemas.microsoft.com/office/drawing/2014/main" id="{74A2A4CD-7363-4A15-B2AB-D421EBE76328}"/>
                </a:ext>
              </a:extLst>
            </p:cNvPr>
            <p:cNvSpPr txBox="1"/>
            <p:nvPr/>
          </p:nvSpPr>
          <p:spPr>
            <a:xfrm>
              <a:off x="1153448" y="3651132"/>
              <a:ext cx="2559270" cy="561596"/>
            </a:xfrm>
            <a:prstGeom prst="rect">
              <a:avLst/>
            </a:prstGeom>
            <a:noFill/>
          </p:spPr>
          <p:txBody>
            <a:bodyPr wrap="square" rtlCol="0">
              <a:spAutoFit/>
            </a:bodyPr>
            <a:lstStyle/>
            <a:p>
              <a:pPr algn="ctr" defTabSz="1219170">
                <a:defRPr/>
              </a:pPr>
              <a:r>
                <a:rPr lang="en-US" sz="2133" b="1" dirty="0">
                  <a:solidFill>
                    <a:srgbClr val="0FBBBB"/>
                  </a:solidFill>
                  <a:latin typeface="Arial Narrow" panose="020B0606020202030204" pitchFamily="34" charset="0"/>
                </a:rPr>
                <a:t>Identify/</a:t>
              </a:r>
              <a:br>
                <a:rPr lang="en-US" sz="2133" b="1" dirty="0">
                  <a:solidFill>
                    <a:srgbClr val="0FBBBB"/>
                  </a:solidFill>
                  <a:latin typeface="Arial Narrow" panose="020B0606020202030204" pitchFamily="34" charset="0"/>
                </a:rPr>
              </a:br>
              <a:r>
                <a:rPr lang="en-US" sz="2133" b="1" dirty="0">
                  <a:solidFill>
                    <a:srgbClr val="0FBBBB"/>
                  </a:solidFill>
                  <a:latin typeface="Arial Narrow" panose="020B0606020202030204" pitchFamily="34" charset="0"/>
                </a:rPr>
                <a:t>Characterize</a:t>
              </a:r>
            </a:p>
          </p:txBody>
        </p:sp>
        <p:sp>
          <p:nvSpPr>
            <p:cNvPr id="8" name="Title: Situational Awareness">
              <a:extLst>
                <a:ext uri="{FF2B5EF4-FFF2-40B4-BE49-F238E27FC236}">
                  <a16:creationId xmlns:a16="http://schemas.microsoft.com/office/drawing/2014/main" id="{1666E25D-E9A4-4EC2-96EE-77C1A8BF79A0}"/>
                </a:ext>
              </a:extLst>
            </p:cNvPr>
            <p:cNvSpPr txBox="1"/>
            <p:nvPr/>
          </p:nvSpPr>
          <p:spPr>
            <a:xfrm>
              <a:off x="128954" y="1182565"/>
              <a:ext cx="2261208" cy="561596"/>
            </a:xfrm>
            <a:prstGeom prst="rect">
              <a:avLst/>
            </a:prstGeom>
            <a:noFill/>
          </p:spPr>
          <p:txBody>
            <a:bodyPr wrap="square" rtlCol="0">
              <a:spAutoFit/>
            </a:bodyPr>
            <a:lstStyle/>
            <a:p>
              <a:pPr algn="ctr" defTabSz="1219170">
                <a:defRPr/>
              </a:pPr>
              <a:r>
                <a:rPr lang="en-US" sz="2133" b="1" dirty="0">
                  <a:solidFill>
                    <a:srgbClr val="9AB6C3"/>
                  </a:solidFill>
                  <a:latin typeface="Arial Narrow" panose="020B0606020202030204" pitchFamily="34" charset="0"/>
                </a:rPr>
                <a:t>Situational Awareness/Recognize</a:t>
              </a:r>
            </a:p>
          </p:txBody>
        </p:sp>
        <p:sp>
          <p:nvSpPr>
            <p:cNvPr id="11" name="Title: Design">
              <a:extLst>
                <a:ext uri="{FF2B5EF4-FFF2-40B4-BE49-F238E27FC236}">
                  <a16:creationId xmlns:a16="http://schemas.microsoft.com/office/drawing/2014/main" id="{308ADD59-E17D-4144-B52B-C54F7070329F}"/>
                </a:ext>
              </a:extLst>
            </p:cNvPr>
            <p:cNvSpPr txBox="1"/>
            <p:nvPr/>
          </p:nvSpPr>
          <p:spPr>
            <a:xfrm>
              <a:off x="2501152" y="1305675"/>
              <a:ext cx="2074230" cy="315423"/>
            </a:xfrm>
            <a:prstGeom prst="rect">
              <a:avLst/>
            </a:prstGeom>
            <a:noFill/>
          </p:spPr>
          <p:txBody>
            <a:bodyPr wrap="square" rtlCol="0">
              <a:spAutoFit/>
            </a:bodyPr>
            <a:lstStyle/>
            <a:p>
              <a:pPr algn="ctr" defTabSz="1219170">
                <a:defRPr/>
              </a:pPr>
              <a:r>
                <a:rPr lang="en-US" sz="2133" b="1" dirty="0">
                  <a:solidFill>
                    <a:srgbClr val="1FA2BB"/>
                  </a:solidFill>
                  <a:latin typeface="Arial Narrow" panose="020B0606020202030204" pitchFamily="34" charset="0"/>
                </a:rPr>
                <a:t>Design</a:t>
              </a:r>
            </a:p>
          </p:txBody>
        </p:sp>
        <p:sp>
          <p:nvSpPr>
            <p:cNvPr id="13" name="Title: Produce">
              <a:extLst>
                <a:ext uri="{FF2B5EF4-FFF2-40B4-BE49-F238E27FC236}">
                  <a16:creationId xmlns:a16="http://schemas.microsoft.com/office/drawing/2014/main" id="{8BEB7F1F-C292-44FE-8635-E55E910B6FD6}"/>
                </a:ext>
              </a:extLst>
            </p:cNvPr>
            <p:cNvSpPr txBox="1"/>
            <p:nvPr/>
          </p:nvSpPr>
          <p:spPr>
            <a:xfrm>
              <a:off x="5028521" y="1305675"/>
              <a:ext cx="1380001" cy="315423"/>
            </a:xfrm>
            <a:prstGeom prst="rect">
              <a:avLst/>
            </a:prstGeom>
            <a:noFill/>
          </p:spPr>
          <p:txBody>
            <a:bodyPr wrap="square" rtlCol="0">
              <a:spAutoFit/>
            </a:bodyPr>
            <a:lstStyle/>
            <a:p>
              <a:pPr algn="ctr" defTabSz="1219170">
                <a:defRPr/>
              </a:pPr>
              <a:r>
                <a:rPr lang="en-US" sz="2133" b="1" dirty="0">
                  <a:solidFill>
                    <a:srgbClr val="4968A5"/>
                  </a:solidFill>
                  <a:latin typeface="Arial Narrow" panose="020B0606020202030204" pitchFamily="34" charset="0"/>
                </a:rPr>
                <a:t>Production</a:t>
              </a:r>
            </a:p>
          </p:txBody>
        </p:sp>
        <p:sp>
          <p:nvSpPr>
            <p:cNvPr id="15" name="Title: Administration">
              <a:extLst>
                <a:ext uri="{FF2B5EF4-FFF2-40B4-BE49-F238E27FC236}">
                  <a16:creationId xmlns:a16="http://schemas.microsoft.com/office/drawing/2014/main" id="{263A0861-65CA-4643-A8E0-23E660480231}"/>
                </a:ext>
              </a:extLst>
            </p:cNvPr>
            <p:cNvSpPr txBox="1"/>
            <p:nvPr/>
          </p:nvSpPr>
          <p:spPr>
            <a:xfrm>
              <a:off x="7186596" y="1305675"/>
              <a:ext cx="1630352" cy="315423"/>
            </a:xfrm>
            <a:prstGeom prst="rect">
              <a:avLst/>
            </a:prstGeom>
            <a:noFill/>
          </p:spPr>
          <p:txBody>
            <a:bodyPr wrap="square" rtlCol="0">
              <a:spAutoFit/>
            </a:bodyPr>
            <a:lstStyle/>
            <a:p>
              <a:pPr algn="ctr" defTabSz="1219170">
                <a:defRPr/>
              </a:pPr>
              <a:r>
                <a:rPr lang="en-US" sz="2133" b="1" dirty="0">
                  <a:solidFill>
                    <a:srgbClr val="E7554A"/>
                  </a:solidFill>
                  <a:latin typeface="Arial Narrow" panose="020B0606020202030204" pitchFamily="34" charset="0"/>
                </a:rPr>
                <a:t>Administration</a:t>
              </a:r>
            </a:p>
          </p:txBody>
        </p:sp>
        <p:sp>
          <p:nvSpPr>
            <p:cNvPr id="16" name="Title: Validate">
              <a:extLst>
                <a:ext uri="{FF2B5EF4-FFF2-40B4-BE49-F238E27FC236}">
                  <a16:creationId xmlns:a16="http://schemas.microsoft.com/office/drawing/2014/main" id="{AEB19C70-255C-41A1-9274-D1636B47A912}"/>
                </a:ext>
              </a:extLst>
            </p:cNvPr>
            <p:cNvSpPr txBox="1"/>
            <p:nvPr/>
          </p:nvSpPr>
          <p:spPr>
            <a:xfrm>
              <a:off x="3485997" y="3774242"/>
              <a:ext cx="2371153" cy="315423"/>
            </a:xfrm>
            <a:prstGeom prst="rect">
              <a:avLst/>
            </a:prstGeom>
            <a:noFill/>
          </p:spPr>
          <p:txBody>
            <a:bodyPr wrap="square" rtlCol="0">
              <a:spAutoFit/>
            </a:bodyPr>
            <a:lstStyle/>
            <a:p>
              <a:pPr algn="ctr" defTabSz="1219170">
                <a:defRPr/>
              </a:pPr>
              <a:r>
                <a:rPr lang="en-US" sz="2133" b="1" dirty="0">
                  <a:solidFill>
                    <a:srgbClr val="1B84B7"/>
                  </a:solidFill>
                  <a:latin typeface="Arial Narrow" panose="020B0606020202030204" pitchFamily="34" charset="0"/>
                </a:rPr>
                <a:t>Validation </a:t>
              </a:r>
            </a:p>
          </p:txBody>
        </p:sp>
        <p:sp>
          <p:nvSpPr>
            <p:cNvPr id="18" name="Title: Distribute">
              <a:extLst>
                <a:ext uri="{FF2B5EF4-FFF2-40B4-BE49-F238E27FC236}">
                  <a16:creationId xmlns:a16="http://schemas.microsoft.com/office/drawing/2014/main" id="{62B7AC66-63F2-4D60-BBE6-F28DA8849DDB}"/>
                </a:ext>
              </a:extLst>
            </p:cNvPr>
            <p:cNvSpPr txBox="1"/>
            <p:nvPr/>
          </p:nvSpPr>
          <p:spPr>
            <a:xfrm>
              <a:off x="5976816" y="3774242"/>
              <a:ext cx="2009926" cy="315423"/>
            </a:xfrm>
            <a:prstGeom prst="rect">
              <a:avLst/>
            </a:prstGeom>
            <a:noFill/>
          </p:spPr>
          <p:txBody>
            <a:bodyPr wrap="square" rtlCol="0">
              <a:spAutoFit/>
            </a:bodyPr>
            <a:lstStyle/>
            <a:p>
              <a:pPr algn="ctr" defTabSz="1219170">
                <a:defRPr/>
              </a:pPr>
              <a:r>
                <a:rPr lang="en-US" sz="2133" b="1" dirty="0">
                  <a:solidFill>
                    <a:srgbClr val="FDB32F"/>
                  </a:solidFill>
                  <a:latin typeface="Arial Narrow" panose="020B0606020202030204" pitchFamily="34" charset="0"/>
                </a:rPr>
                <a:t>Distribution</a:t>
              </a:r>
            </a:p>
          </p:txBody>
        </p:sp>
        <p:pic>
          <p:nvPicPr>
            <p:cNvPr id="38" name="Graphic 37">
              <a:extLst>
                <a:ext uri="{FF2B5EF4-FFF2-40B4-BE49-F238E27FC236}">
                  <a16:creationId xmlns:a16="http://schemas.microsoft.com/office/drawing/2014/main" id="{5CBB0F97-76D8-4293-AB73-D35FC6157A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3235" y="1741833"/>
              <a:ext cx="8293713" cy="1934806"/>
            </a:xfrm>
            <a:prstGeom prst="rect">
              <a:avLst/>
            </a:prstGeom>
            <a:effectLst>
              <a:innerShdw blurRad="63500" dist="50800" dir="5400000">
                <a:prstClr val="black">
                  <a:alpha val="50000"/>
                </a:prstClr>
              </a:innerShdw>
            </a:effectLst>
          </p:spPr>
        </p:pic>
        <p:sp>
          <p:nvSpPr>
            <p:cNvPr id="12" name="Hexagon 11">
              <a:extLst>
                <a:ext uri="{FF2B5EF4-FFF2-40B4-BE49-F238E27FC236}">
                  <a16:creationId xmlns:a16="http://schemas.microsoft.com/office/drawing/2014/main" id="{E0AD333A-183D-47DB-A028-8658F2E47081}"/>
                </a:ext>
              </a:extLst>
            </p:cNvPr>
            <p:cNvSpPr/>
            <p:nvPr/>
          </p:nvSpPr>
          <p:spPr>
            <a:xfrm>
              <a:off x="6556950" y="2709236"/>
              <a:ext cx="849658" cy="732464"/>
            </a:xfrm>
            <a:prstGeom prst="hexagon">
              <a:avLst/>
            </a:prstGeom>
            <a:gradFill>
              <a:gsLst>
                <a:gs pos="0">
                  <a:srgbClr val="FC992F"/>
                </a:gs>
                <a:gs pos="100000">
                  <a:srgbClr val="FDB32F"/>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a:solidFill>
                  <a:prstClr val="white"/>
                </a:solidFill>
                <a:latin typeface="Arial"/>
              </a:endParaRPr>
            </a:p>
          </p:txBody>
        </p:sp>
        <p:sp>
          <p:nvSpPr>
            <p:cNvPr id="47" name="Hexagon 46">
              <a:extLst>
                <a:ext uri="{FF2B5EF4-FFF2-40B4-BE49-F238E27FC236}">
                  <a16:creationId xmlns:a16="http://schemas.microsoft.com/office/drawing/2014/main" id="{28AB07BE-AFFF-445E-A73C-0030F9FED3C1}"/>
                </a:ext>
              </a:extLst>
            </p:cNvPr>
            <p:cNvSpPr/>
            <p:nvPr/>
          </p:nvSpPr>
          <p:spPr>
            <a:xfrm>
              <a:off x="7686949" y="1992879"/>
              <a:ext cx="849658" cy="732464"/>
            </a:xfrm>
            <a:prstGeom prst="hexagon">
              <a:avLst/>
            </a:prstGeom>
            <a:gradFill>
              <a:gsLst>
                <a:gs pos="0">
                  <a:srgbClr val="C8473D"/>
                </a:gs>
                <a:gs pos="100000">
                  <a:srgbClr val="EB574C"/>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a:solidFill>
                  <a:prstClr val="white"/>
                </a:solidFill>
                <a:latin typeface="Arial"/>
              </a:endParaRPr>
            </a:p>
          </p:txBody>
        </p:sp>
        <p:sp>
          <p:nvSpPr>
            <p:cNvPr id="48" name="Hexagon 47">
              <a:extLst>
                <a:ext uri="{FF2B5EF4-FFF2-40B4-BE49-F238E27FC236}">
                  <a16:creationId xmlns:a16="http://schemas.microsoft.com/office/drawing/2014/main" id="{524A16D7-266B-4C09-97B2-1B1A535B969F}"/>
                </a:ext>
              </a:extLst>
            </p:cNvPr>
            <p:cNvSpPr/>
            <p:nvPr/>
          </p:nvSpPr>
          <p:spPr>
            <a:xfrm>
              <a:off x="5426951" y="1992879"/>
              <a:ext cx="849658" cy="732464"/>
            </a:xfrm>
            <a:prstGeom prst="hexagon">
              <a:avLst/>
            </a:prstGeom>
            <a:gradFill>
              <a:gsLst>
                <a:gs pos="0">
                  <a:srgbClr val="395A9B"/>
                </a:gs>
                <a:gs pos="100000">
                  <a:srgbClr val="4B69A6"/>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a:solidFill>
                  <a:prstClr val="white"/>
                </a:solidFill>
                <a:latin typeface="Arial"/>
              </a:endParaRPr>
            </a:p>
          </p:txBody>
        </p:sp>
        <p:sp>
          <p:nvSpPr>
            <p:cNvPr id="49" name="Hexagon 48">
              <a:extLst>
                <a:ext uri="{FF2B5EF4-FFF2-40B4-BE49-F238E27FC236}">
                  <a16:creationId xmlns:a16="http://schemas.microsoft.com/office/drawing/2014/main" id="{10EB51F6-B4B3-41ED-A209-84ADC6000DBF}"/>
                </a:ext>
              </a:extLst>
            </p:cNvPr>
            <p:cNvSpPr/>
            <p:nvPr/>
          </p:nvSpPr>
          <p:spPr>
            <a:xfrm>
              <a:off x="3100020" y="1992879"/>
              <a:ext cx="849658" cy="732464"/>
            </a:xfrm>
            <a:prstGeom prst="hexagon">
              <a:avLst/>
            </a:prstGeom>
            <a:gradFill>
              <a:gsLst>
                <a:gs pos="0">
                  <a:srgbClr val="0888A1"/>
                </a:gs>
                <a:gs pos="100000">
                  <a:srgbClr val="1FA2BC"/>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a:solidFill>
                  <a:prstClr val="white"/>
                </a:solidFill>
                <a:latin typeface="Arial"/>
              </a:endParaRPr>
            </a:p>
          </p:txBody>
        </p:sp>
        <p:sp>
          <p:nvSpPr>
            <p:cNvPr id="50" name="Hexagon 49">
              <a:extLst>
                <a:ext uri="{FF2B5EF4-FFF2-40B4-BE49-F238E27FC236}">
                  <a16:creationId xmlns:a16="http://schemas.microsoft.com/office/drawing/2014/main" id="{3AC2A376-414C-43EA-AE3E-AF5D2D459B3B}"/>
                </a:ext>
              </a:extLst>
            </p:cNvPr>
            <p:cNvSpPr/>
            <p:nvPr/>
          </p:nvSpPr>
          <p:spPr>
            <a:xfrm>
              <a:off x="773089" y="1992879"/>
              <a:ext cx="849658" cy="732464"/>
            </a:xfrm>
            <a:prstGeom prst="hexagon">
              <a:avLst/>
            </a:prstGeom>
            <a:gradFill>
              <a:gsLst>
                <a:gs pos="0">
                  <a:srgbClr val="839FAD"/>
                </a:gs>
                <a:gs pos="100000">
                  <a:srgbClr val="9BB7C4"/>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a:solidFill>
                  <a:prstClr val="white"/>
                </a:solidFill>
                <a:latin typeface="Arial"/>
              </a:endParaRPr>
            </a:p>
          </p:txBody>
        </p:sp>
        <p:sp>
          <p:nvSpPr>
            <p:cNvPr id="51" name="Hexagon 50">
              <a:extLst>
                <a:ext uri="{FF2B5EF4-FFF2-40B4-BE49-F238E27FC236}">
                  <a16:creationId xmlns:a16="http://schemas.microsoft.com/office/drawing/2014/main" id="{8800B292-0AEB-4E7E-97AB-06B470ED3023}"/>
                </a:ext>
              </a:extLst>
            </p:cNvPr>
            <p:cNvSpPr/>
            <p:nvPr/>
          </p:nvSpPr>
          <p:spPr>
            <a:xfrm>
              <a:off x="4245262" y="2709236"/>
              <a:ext cx="849658" cy="732464"/>
            </a:xfrm>
            <a:prstGeom prst="hexagon">
              <a:avLst/>
            </a:prstGeom>
            <a:gradFill>
              <a:gsLst>
                <a:gs pos="0">
                  <a:srgbClr val="076EA1"/>
                </a:gs>
                <a:gs pos="100000">
                  <a:srgbClr val="2088BC"/>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a:solidFill>
                  <a:prstClr val="white"/>
                </a:solidFill>
                <a:latin typeface="Arial"/>
              </a:endParaRPr>
            </a:p>
          </p:txBody>
        </p:sp>
        <p:sp>
          <p:nvSpPr>
            <p:cNvPr id="52" name="Hexagon 51">
              <a:extLst>
                <a:ext uri="{FF2B5EF4-FFF2-40B4-BE49-F238E27FC236}">
                  <a16:creationId xmlns:a16="http://schemas.microsoft.com/office/drawing/2014/main" id="{C2528B8E-C5A2-44B4-B9E9-8872FE527EF6}"/>
                </a:ext>
              </a:extLst>
            </p:cNvPr>
            <p:cNvSpPr/>
            <p:nvPr/>
          </p:nvSpPr>
          <p:spPr>
            <a:xfrm>
              <a:off x="1954778" y="2709236"/>
              <a:ext cx="849658" cy="732464"/>
            </a:xfrm>
            <a:prstGeom prst="hexagon">
              <a:avLst/>
            </a:prstGeom>
            <a:gradFill>
              <a:gsLst>
                <a:gs pos="0">
                  <a:srgbClr val="03A3A3"/>
                </a:gs>
                <a:gs pos="100000">
                  <a:srgbClr val="10BFBF"/>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a:solidFill>
                  <a:prstClr val="white"/>
                </a:solidFill>
                <a:latin typeface="Arial"/>
              </a:endParaRPr>
            </a:p>
          </p:txBody>
        </p:sp>
      </p:grpSp>
      <p:pic>
        <p:nvPicPr>
          <p:cNvPr id="4" name="Picture 3" descr="A picture containing object, indoor, wall, sitting&#10;&#10;Description automatically generated">
            <a:extLst>
              <a:ext uri="{FF2B5EF4-FFF2-40B4-BE49-F238E27FC236}">
                <a16:creationId xmlns:a16="http://schemas.microsoft.com/office/drawing/2014/main" id="{180D600B-1DB9-4D91-A296-3D50F332AFE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12735" y="2985795"/>
            <a:ext cx="992439" cy="1178879"/>
          </a:xfrm>
          <a:prstGeom prst="rect">
            <a:avLst/>
          </a:prstGeom>
          <a:effectLst>
            <a:reflection blurRad="6350" stA="52000" endA="300" endPos="18000" dir="5400000" sy="-100000" algn="bl" rotWithShape="0"/>
          </a:effectLst>
        </p:spPr>
      </p:pic>
      <p:pic>
        <p:nvPicPr>
          <p:cNvPr id="56" name="Picture 55">
            <a:extLst>
              <a:ext uri="{FF2B5EF4-FFF2-40B4-BE49-F238E27FC236}">
                <a16:creationId xmlns:a16="http://schemas.microsoft.com/office/drawing/2014/main" id="{0C985A19-5CAE-45CB-907D-6D699F474DB1}"/>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068954" y="3110372"/>
            <a:ext cx="1115033" cy="1026339"/>
          </a:xfrm>
          <a:prstGeom prst="rect">
            <a:avLst/>
          </a:prstGeom>
          <a:effectLst>
            <a:outerShdw blurRad="76200" dir="18900000" sy="23000" kx="-1200000" algn="bl" rotWithShape="0">
              <a:prstClr val="black">
                <a:alpha val="20000"/>
              </a:prstClr>
            </a:outerShdw>
            <a:reflection blurRad="6350" stA="52000" endA="300" endPos="23000" dir="5400000" sy="-100000" algn="bl" rotWithShape="0"/>
          </a:effectLst>
        </p:spPr>
      </p:pic>
      <p:pic>
        <p:nvPicPr>
          <p:cNvPr id="58" name="Picture 57">
            <a:extLst>
              <a:ext uri="{FF2B5EF4-FFF2-40B4-BE49-F238E27FC236}">
                <a16:creationId xmlns:a16="http://schemas.microsoft.com/office/drawing/2014/main" id="{4579DD6E-C9B7-44E6-8618-449DEDF11660}"/>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2672713" y="3918410"/>
            <a:ext cx="971921" cy="1255724"/>
          </a:xfrm>
          <a:prstGeom prst="rect">
            <a:avLst/>
          </a:prstGeom>
          <a:effectLst>
            <a:outerShdw blurRad="76200" dir="18900000" sy="23000" kx="-1200000" algn="bl" rotWithShape="0">
              <a:prstClr val="black">
                <a:alpha val="20000"/>
              </a:prstClr>
            </a:outerShdw>
            <a:reflection blurRad="6350" stA="52000" endA="300" endPos="23000" dir="5400000" sy="-100000" algn="bl" rotWithShape="0"/>
          </a:effectLst>
        </p:spPr>
      </p:pic>
      <p:pic>
        <p:nvPicPr>
          <p:cNvPr id="61" name="Picture 2">
            <a:extLst>
              <a:ext uri="{FF2B5EF4-FFF2-40B4-BE49-F238E27FC236}">
                <a16:creationId xmlns:a16="http://schemas.microsoft.com/office/drawing/2014/main" id="{03466551-B3B9-4111-B8A2-BCBFB3952EC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p:blipFill>
        <p:spPr bwMode="auto">
          <a:xfrm>
            <a:off x="5619699" y="4068161"/>
            <a:ext cx="1318792" cy="976619"/>
          </a:xfrm>
          <a:prstGeom prst="rect">
            <a:avLst/>
          </a:prstGeom>
          <a:effectLst>
            <a:outerShdw blurRad="76200" dir="18900000" sy="23000" kx="-1200000" algn="bl" rotWithShape="0">
              <a:prstClr val="black">
                <a:alpha val="20000"/>
              </a:prstClr>
            </a:outerShdw>
            <a:reflection blurRad="6350" stA="52000" endA="300" endPos="23000" dir="5400000" sy="-100000" algn="bl" rotWithShape="0"/>
          </a:effectLst>
          <a:extLst>
            <a:ext uri="{909E8E84-426E-40DD-AFC4-6F175D3DCCD1}">
              <a14:hiddenFill xmlns:a14="http://schemas.microsoft.com/office/drawing/2010/main">
                <a:solidFill>
                  <a:srgbClr val="FFFFFF"/>
                </a:solidFill>
              </a14:hiddenFill>
            </a:ext>
          </a:extLst>
        </p:spPr>
      </p:pic>
      <p:pic>
        <p:nvPicPr>
          <p:cNvPr id="63" name="Picture 2">
            <a:extLst>
              <a:ext uri="{FF2B5EF4-FFF2-40B4-BE49-F238E27FC236}">
                <a16:creationId xmlns:a16="http://schemas.microsoft.com/office/drawing/2014/main" id="{5E040D36-38A5-4B28-BE8C-3C5D5257197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p:blipFill>
        <p:spPr bwMode="auto">
          <a:xfrm>
            <a:off x="8250933" y="4407536"/>
            <a:ext cx="2269128" cy="512517"/>
          </a:xfrm>
          <a:prstGeom prst="rect">
            <a:avLst/>
          </a:prstGeom>
          <a:effectLst>
            <a:outerShdw blurRad="76200" dir="18900000" sy="23000" kx="-1200000" algn="bl" rotWithShape="0">
              <a:prstClr val="black">
                <a:alpha val="20000"/>
              </a:prstClr>
            </a:outerShdw>
            <a:reflection blurRad="6350" stA="52000" endA="300" endPos="23000" dir="5400000" sy="-100000" algn="bl" rotWithShape="0"/>
          </a:effectLst>
          <a:extLst>
            <a:ext uri="{909E8E84-426E-40DD-AFC4-6F175D3DCCD1}">
              <a14:hiddenFill xmlns:a14="http://schemas.microsoft.com/office/drawing/2010/main">
                <a:solidFill>
                  <a:srgbClr val="FFFFFF"/>
                </a:solidFill>
              </a14:hiddenFill>
            </a:ext>
          </a:extLst>
        </p:spPr>
      </p:pic>
      <p:pic>
        <p:nvPicPr>
          <p:cNvPr id="26" name="machine">
            <a:extLst>
              <a:ext uri="{FF2B5EF4-FFF2-40B4-BE49-F238E27FC236}">
                <a16:creationId xmlns:a16="http://schemas.microsoft.com/office/drawing/2014/main" id="{3481EF7A-3073-4D7D-97E3-5B9862AE38F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146009" y="3237709"/>
            <a:ext cx="999460" cy="877527"/>
          </a:xfrm>
          <a:prstGeom prst="rect">
            <a:avLst/>
          </a:prstGeom>
        </p:spPr>
      </p:pic>
      <p:pic>
        <p:nvPicPr>
          <p:cNvPr id="27" name="patch" descr="Image result for drug delivery patch transdermal">
            <a:extLst>
              <a:ext uri="{FF2B5EF4-FFF2-40B4-BE49-F238E27FC236}">
                <a16:creationId xmlns:a16="http://schemas.microsoft.com/office/drawing/2014/main" id="{7DC1481C-EADB-4351-BEC7-7AABD3F64219}"/>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3373" r="15592"/>
          <a:stretch/>
        </p:blipFill>
        <p:spPr bwMode="auto">
          <a:xfrm>
            <a:off x="10385596" y="3198186"/>
            <a:ext cx="953992" cy="796445"/>
          </a:xfrm>
          <a:prstGeom prst="rect">
            <a:avLst/>
          </a:prstGeom>
          <a:effectLst>
            <a:reflection blurRad="6350" stA="52000" endA="300" endPos="18000" dir="5400000" sy="-100000" algn="bl" rotWithShape="0"/>
          </a:effectLst>
          <a:extLst>
            <a:ext uri="{909E8E84-426E-40dd-AFC4-6F175D3DCCD1}">
              <a14:hiddenFill xmlns:a14="http://schemas.microsoft.com/office/drawing/2010/main" xmlns="">
                <a:solidFill>
                  <a:srgbClr val="FFFFFF"/>
                </a:solidFill>
              </a14:hiddenFill>
            </a:ext>
          </a:extLst>
        </p:spPr>
      </p:pic>
      <p:pic>
        <p:nvPicPr>
          <p:cNvPr id="29" name="dna strand" descr="Image result for dna straND ICON">
            <a:extLst>
              <a:ext uri="{FF2B5EF4-FFF2-40B4-BE49-F238E27FC236}">
                <a16:creationId xmlns:a16="http://schemas.microsoft.com/office/drawing/2014/main" id="{C2E53B09-63E8-4DDA-9F3B-7F5D2DDB1CF3}"/>
              </a:ext>
            </a:extLst>
          </p:cNvPr>
          <p:cNvPicPr>
            <a:picLocks noChangeAspect="1" noChangeArrowheads="1"/>
          </p:cNvPicPr>
          <p:nvPr/>
        </p:nvPicPr>
        <p:blipFill rotWithShape="1">
          <a:blip r:embed="rId12" cstate="print">
            <a:clrChange>
              <a:clrFrom>
                <a:srgbClr val="FFFFFF"/>
              </a:clrFrom>
              <a:clrTo>
                <a:srgbClr val="FFFFFF">
                  <a:alpha val="0"/>
                </a:srgbClr>
              </a:clrTo>
            </a:clrChange>
            <a:duotone>
              <a:prstClr val="black"/>
              <a:schemeClr val="accent4">
                <a:tint val="45000"/>
                <a:satMod val="400000"/>
              </a:schemeClr>
            </a:duotone>
            <a:extLst>
              <a:ext uri="{28A0092B-C50C-407E-A947-70E740481C1C}">
                <a14:useLocalDpi xmlns:a14="http://schemas.microsoft.com/office/drawing/2010/main" val="0"/>
              </a:ext>
            </a:extLst>
          </a:blip>
          <a:srcRect l="21200" t="20371" r="21007" b="26296"/>
          <a:stretch/>
        </p:blipFill>
        <p:spPr bwMode="auto">
          <a:xfrm rot="21240979">
            <a:off x="4823629" y="3819787"/>
            <a:ext cx="491255" cy="489616"/>
          </a:xfrm>
          <a:prstGeom prst="rect">
            <a:avLst/>
          </a:prstGeom>
          <a:extLst>
            <a:ext uri="{909E8E84-426E-40DD-AFC4-6F175D3DCCD1}">
              <a14:hiddenFill xmlns:a14="http://schemas.microsoft.com/office/drawing/2010/main">
                <a:solidFill>
                  <a:srgbClr val="FFFFFF"/>
                </a:solidFill>
              </a14:hiddenFill>
            </a:ext>
          </a:extLst>
        </p:spPr>
      </p:pic>
      <p:pic>
        <p:nvPicPr>
          <p:cNvPr id="30" name="dna strand" descr="Image result for dna straND ICON">
            <a:extLst>
              <a:ext uri="{FF2B5EF4-FFF2-40B4-BE49-F238E27FC236}">
                <a16:creationId xmlns:a16="http://schemas.microsoft.com/office/drawing/2014/main" id="{646096BE-7C4D-4244-8D01-3A70E78A06F5}"/>
              </a:ext>
            </a:extLst>
          </p:cNvPr>
          <p:cNvPicPr>
            <a:picLocks noChangeAspect="1" noChangeArrowheads="1"/>
          </p:cNvPicPr>
          <p:nvPr/>
        </p:nvPicPr>
        <p:blipFill rotWithShape="1">
          <a:blip r:embed="rId12" cstate="print">
            <a:clrChange>
              <a:clrFrom>
                <a:srgbClr val="FFFFFF"/>
              </a:clrFrom>
              <a:clrTo>
                <a:srgbClr val="FFFFFF">
                  <a:alpha val="0"/>
                </a:srgbClr>
              </a:clrTo>
            </a:clrChange>
            <a:duotone>
              <a:prstClr val="black"/>
              <a:schemeClr val="accent4">
                <a:tint val="45000"/>
                <a:satMod val="400000"/>
              </a:schemeClr>
            </a:duotone>
            <a:extLst>
              <a:ext uri="{28A0092B-C50C-407E-A947-70E740481C1C}">
                <a14:useLocalDpi xmlns:a14="http://schemas.microsoft.com/office/drawing/2010/main" val="0"/>
              </a:ext>
            </a:extLst>
          </a:blip>
          <a:srcRect l="21200" t="20371" r="21007" b="26296"/>
          <a:stretch/>
        </p:blipFill>
        <p:spPr bwMode="auto">
          <a:xfrm rot="19437112">
            <a:off x="4676155" y="3789725"/>
            <a:ext cx="491255" cy="489616"/>
          </a:xfrm>
          <a:prstGeom prst="rect">
            <a:avLst/>
          </a:prstGeom>
          <a:extLst>
            <a:ext uri="{909E8E84-426E-40DD-AFC4-6F175D3DCCD1}">
              <a14:hiddenFill xmlns:a14="http://schemas.microsoft.com/office/drawing/2010/main">
                <a:solidFill>
                  <a:srgbClr val="FFFFFF"/>
                </a:solidFill>
              </a14:hiddenFill>
            </a:ext>
          </a:extLst>
        </p:spPr>
      </p:pic>
      <p:sp>
        <p:nvSpPr>
          <p:cNvPr id="5" name="Slide Number Placeholder 4">
            <a:extLst>
              <a:ext uri="{FF2B5EF4-FFF2-40B4-BE49-F238E27FC236}">
                <a16:creationId xmlns:a16="http://schemas.microsoft.com/office/drawing/2014/main" id="{CF9DE1FB-D7E2-4D51-A822-B3A016E1F0E0}"/>
              </a:ext>
            </a:extLst>
          </p:cNvPr>
          <p:cNvSpPr>
            <a:spLocks noGrp="1"/>
          </p:cNvSpPr>
          <p:nvPr>
            <p:ph type="sldNum" sz="quarter" idx="12"/>
          </p:nvPr>
        </p:nvSpPr>
        <p:spPr/>
        <p:txBody>
          <a:bodyPr/>
          <a:lstStyle/>
          <a:p>
            <a:fld id="{D1541BB9-6530-43D2-B7E0-33A89042A350}" type="slidenum">
              <a:rPr lang="en-US" smtClean="0"/>
              <a:t>10</a:t>
            </a:fld>
            <a:endParaRPr lang="en-US"/>
          </a:p>
        </p:txBody>
      </p:sp>
    </p:spTree>
    <p:extLst>
      <p:ext uri="{BB962C8B-B14F-4D97-AF65-F5344CB8AC3E}">
        <p14:creationId xmlns:p14="http://schemas.microsoft.com/office/powerpoint/2010/main" val="17796666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1B9B5D-A227-49A1-9928-697D6CA6A983}"/>
              </a:ext>
            </a:extLst>
          </p:cNvPr>
          <p:cNvSpPr>
            <a:spLocks noGrp="1"/>
          </p:cNvSpPr>
          <p:nvPr>
            <p:ph type="title"/>
          </p:nvPr>
        </p:nvSpPr>
        <p:spPr/>
        <p:txBody>
          <a:bodyPr>
            <a:normAutofit fontScale="90000"/>
          </a:bodyPr>
          <a:lstStyle/>
          <a:p>
            <a:r>
              <a:rPr lang="en-US" dirty="0">
                <a:solidFill>
                  <a:schemeClr val="bg1"/>
                </a:solidFill>
              </a:rPr>
              <a:t>Vaccines and Vaccination Future Technologies</a:t>
            </a:r>
          </a:p>
        </p:txBody>
      </p:sp>
      <p:sp>
        <p:nvSpPr>
          <p:cNvPr id="5" name="Rectangle 4">
            <a:extLst>
              <a:ext uri="{FF2B5EF4-FFF2-40B4-BE49-F238E27FC236}">
                <a16:creationId xmlns:a16="http://schemas.microsoft.com/office/drawing/2014/main" id="{75A19F4B-84C6-418D-A8C6-780E25A993D1}"/>
              </a:ext>
            </a:extLst>
          </p:cNvPr>
          <p:cNvSpPr/>
          <p:nvPr/>
        </p:nvSpPr>
        <p:spPr>
          <a:xfrm>
            <a:off x="7112000" y="1481237"/>
            <a:ext cx="4757264" cy="461665"/>
          </a:xfrm>
          <a:prstGeom prst="rect">
            <a:avLst/>
          </a:prstGeom>
        </p:spPr>
        <p:txBody>
          <a:bodyPr wrap="none">
            <a:spAutoFit/>
          </a:bodyPr>
          <a:lstStyle/>
          <a:p>
            <a:pPr defTabSz="1219170"/>
            <a:r>
              <a:rPr lang="en-US" sz="2400" b="1" u="sng" dirty="0">
                <a:solidFill>
                  <a:srgbClr val="000104"/>
                </a:solidFill>
                <a:latin typeface="Arial"/>
              </a:rPr>
              <a:t>TECHNOLOGIES TO IMPROVE:</a:t>
            </a:r>
          </a:p>
        </p:txBody>
      </p:sp>
      <p:sp>
        <p:nvSpPr>
          <p:cNvPr id="12" name="Rectangle 11">
            <a:extLst>
              <a:ext uri="{FF2B5EF4-FFF2-40B4-BE49-F238E27FC236}">
                <a16:creationId xmlns:a16="http://schemas.microsoft.com/office/drawing/2014/main" id="{91D03729-E86E-44D0-89CC-1A791020DFFB}"/>
              </a:ext>
            </a:extLst>
          </p:cNvPr>
          <p:cNvSpPr/>
          <p:nvPr/>
        </p:nvSpPr>
        <p:spPr>
          <a:xfrm>
            <a:off x="9455830" y="2396466"/>
            <a:ext cx="1986441" cy="502766"/>
          </a:xfrm>
          <a:prstGeom prst="rect">
            <a:avLst/>
          </a:prstGeom>
          <a:solidFill>
            <a:schemeClr val="bg1"/>
          </a:solidFill>
        </p:spPr>
        <p:txBody>
          <a:bodyPr wrap="none">
            <a:spAutoFit/>
          </a:bodyPr>
          <a:lstStyle/>
          <a:p>
            <a:pPr defTabSz="1219170"/>
            <a:r>
              <a:rPr lang="en-US" sz="2667" b="1" dirty="0">
                <a:solidFill>
                  <a:srgbClr val="C00000"/>
                </a:solidFill>
                <a:latin typeface="Arial"/>
              </a:rPr>
              <a:t>Production</a:t>
            </a:r>
          </a:p>
        </p:txBody>
      </p:sp>
      <p:pic>
        <p:nvPicPr>
          <p:cNvPr id="3082" name="Picture 10" descr="Image result for time going fast">
            <a:extLst>
              <a:ext uri="{FF2B5EF4-FFF2-40B4-BE49-F238E27FC236}">
                <a16:creationId xmlns:a16="http://schemas.microsoft.com/office/drawing/2014/main" id="{CA1D40D7-2135-40D2-A6F8-FCE717B51F9D}"/>
              </a:ext>
            </a:extLst>
          </p:cNvPr>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t="1" b="-9528"/>
          <a:stretch/>
        </p:blipFill>
        <p:spPr bwMode="auto">
          <a:xfrm>
            <a:off x="3460896" y="1559506"/>
            <a:ext cx="2496451" cy="1640591"/>
          </a:xfrm>
          <a:prstGeom prst="rect">
            <a:avLst/>
          </a:prstGeom>
          <a:noFill/>
          <a:extLst>
            <a:ext uri="{909E8E84-426E-40dd-AFC4-6F175D3DCCD1}">
              <a14:hiddenFill xmlns:a14="http://schemas.microsoft.com/office/drawing/2010/main" xmlns="">
                <a:solidFill>
                  <a:srgbClr val="FFFFFF"/>
                </a:solidFill>
              </a14:hiddenFill>
            </a:ext>
          </a:extLst>
        </p:spPr>
      </p:pic>
      <p:cxnSp>
        <p:nvCxnSpPr>
          <p:cNvPr id="7" name="Straight Connector 6">
            <a:extLst>
              <a:ext uri="{FF2B5EF4-FFF2-40B4-BE49-F238E27FC236}">
                <a16:creationId xmlns:a16="http://schemas.microsoft.com/office/drawing/2014/main" id="{839A44FF-D2ED-453A-9587-87B26633670C}"/>
              </a:ext>
            </a:extLst>
          </p:cNvPr>
          <p:cNvCxnSpPr/>
          <p:nvPr/>
        </p:nvCxnSpPr>
        <p:spPr>
          <a:xfrm>
            <a:off x="6502400" y="1832967"/>
            <a:ext cx="0" cy="3981112"/>
          </a:xfrm>
          <a:prstGeom prst="line">
            <a:avLst/>
          </a:prstGeom>
        </p:spPr>
        <p:style>
          <a:lnRef idx="2">
            <a:schemeClr val="dk1"/>
          </a:lnRef>
          <a:fillRef idx="0">
            <a:schemeClr val="dk1"/>
          </a:fillRef>
          <a:effectRef idx="1">
            <a:schemeClr val="dk1"/>
          </a:effectRef>
          <a:fontRef idx="minor">
            <a:schemeClr val="tx1"/>
          </a:fontRef>
        </p:style>
      </p:cxnSp>
      <p:pic>
        <p:nvPicPr>
          <p:cNvPr id="16" name="Picture 15">
            <a:extLst>
              <a:ext uri="{FF2B5EF4-FFF2-40B4-BE49-F238E27FC236}">
                <a16:creationId xmlns:a16="http://schemas.microsoft.com/office/drawing/2014/main" id="{F5F90591-06E9-4EC7-B297-BA7F2263CF22}"/>
              </a:ext>
            </a:extLst>
          </p:cNvPr>
          <p:cNvPicPr>
            <a:picLocks noChangeAspect="1"/>
          </p:cNvPicPr>
          <p:nvPr/>
        </p:nvPicPr>
        <p:blipFill>
          <a:blip r:embed="rId4"/>
          <a:stretch>
            <a:fillRect/>
          </a:stretch>
        </p:blipFill>
        <p:spPr>
          <a:xfrm>
            <a:off x="6678150" y="4944441"/>
            <a:ext cx="1404801" cy="719124"/>
          </a:xfrm>
          <a:prstGeom prst="rect">
            <a:avLst/>
          </a:prstGeom>
        </p:spPr>
      </p:pic>
      <p:pic>
        <p:nvPicPr>
          <p:cNvPr id="19" name="Picture 18">
            <a:extLst>
              <a:ext uri="{FF2B5EF4-FFF2-40B4-BE49-F238E27FC236}">
                <a16:creationId xmlns:a16="http://schemas.microsoft.com/office/drawing/2014/main" id="{27B7DB9F-A3E8-490C-A5B2-07C33FDD36F2}"/>
              </a:ext>
            </a:extLst>
          </p:cNvPr>
          <p:cNvPicPr>
            <a:picLocks noChangeAspect="1"/>
          </p:cNvPicPr>
          <p:nvPr/>
        </p:nvPicPr>
        <p:blipFill>
          <a:blip r:embed="rId5"/>
          <a:stretch>
            <a:fillRect/>
          </a:stretch>
        </p:blipFill>
        <p:spPr>
          <a:xfrm>
            <a:off x="7694149" y="5055245"/>
            <a:ext cx="1365779" cy="891937"/>
          </a:xfrm>
          <a:prstGeom prst="rect">
            <a:avLst/>
          </a:prstGeom>
        </p:spPr>
      </p:pic>
      <p:sp>
        <p:nvSpPr>
          <p:cNvPr id="28" name="Rectangle 27">
            <a:extLst>
              <a:ext uri="{FF2B5EF4-FFF2-40B4-BE49-F238E27FC236}">
                <a16:creationId xmlns:a16="http://schemas.microsoft.com/office/drawing/2014/main" id="{A4000A09-8A93-49EA-9B74-904BB975C043}"/>
              </a:ext>
            </a:extLst>
          </p:cNvPr>
          <p:cNvSpPr/>
          <p:nvPr/>
        </p:nvSpPr>
        <p:spPr>
          <a:xfrm>
            <a:off x="9400259" y="3752988"/>
            <a:ext cx="2392001" cy="502766"/>
          </a:xfrm>
          <a:prstGeom prst="rect">
            <a:avLst/>
          </a:prstGeom>
          <a:solidFill>
            <a:schemeClr val="bg1"/>
          </a:solidFill>
        </p:spPr>
        <p:txBody>
          <a:bodyPr wrap="none">
            <a:spAutoFit/>
          </a:bodyPr>
          <a:lstStyle/>
          <a:p>
            <a:pPr defTabSz="1219170"/>
            <a:r>
              <a:rPr lang="en-US" sz="2667" b="1" dirty="0">
                <a:solidFill>
                  <a:srgbClr val="C00000"/>
                </a:solidFill>
                <a:latin typeface="Arial"/>
              </a:rPr>
              <a:t>Effectiveness</a:t>
            </a:r>
          </a:p>
        </p:txBody>
      </p:sp>
      <p:sp>
        <p:nvSpPr>
          <p:cNvPr id="29" name="Rectangle 28">
            <a:extLst>
              <a:ext uri="{FF2B5EF4-FFF2-40B4-BE49-F238E27FC236}">
                <a16:creationId xmlns:a16="http://schemas.microsoft.com/office/drawing/2014/main" id="{547BF1B8-02A5-4529-9DB2-110654105461}"/>
              </a:ext>
            </a:extLst>
          </p:cNvPr>
          <p:cNvSpPr/>
          <p:nvPr/>
        </p:nvSpPr>
        <p:spPr>
          <a:xfrm>
            <a:off x="9433263" y="5070476"/>
            <a:ext cx="2595582" cy="913199"/>
          </a:xfrm>
          <a:prstGeom prst="rect">
            <a:avLst/>
          </a:prstGeom>
          <a:solidFill>
            <a:schemeClr val="bg1"/>
          </a:solidFill>
        </p:spPr>
        <p:txBody>
          <a:bodyPr wrap="none">
            <a:spAutoFit/>
          </a:bodyPr>
          <a:lstStyle/>
          <a:p>
            <a:pPr defTabSz="1219170"/>
            <a:r>
              <a:rPr lang="en-US" sz="2667" b="1" dirty="0">
                <a:solidFill>
                  <a:srgbClr val="C00000"/>
                </a:solidFill>
                <a:latin typeface="Arial"/>
              </a:rPr>
              <a:t>Distribution/</a:t>
            </a:r>
          </a:p>
          <a:p>
            <a:pPr defTabSz="1219170"/>
            <a:r>
              <a:rPr lang="en-US" sz="2667" b="1" dirty="0">
                <a:solidFill>
                  <a:srgbClr val="C00000"/>
                </a:solidFill>
                <a:latin typeface="Arial"/>
              </a:rPr>
              <a:t>Administration</a:t>
            </a:r>
          </a:p>
        </p:txBody>
      </p:sp>
      <p:pic>
        <p:nvPicPr>
          <p:cNvPr id="21" name="Picture 4" descr="Image result for drug delivery patch transdermal"/>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3141" y="4741812"/>
            <a:ext cx="2496456" cy="1480523"/>
          </a:xfrm>
          <a:prstGeom prst="rect">
            <a:avLst/>
          </a:prstGeom>
          <a:noFill/>
          <a:extLst>
            <a:ext uri="{909E8E84-426E-40dd-AFC4-6F175D3DCCD1}">
              <a14:hiddenFill xmlns:a14="http://schemas.microsoft.com/office/drawing/2010/main" xmlns="">
                <a:solidFill>
                  <a:srgbClr val="FFFFFF"/>
                </a:solidFill>
              </a14:hiddenFill>
            </a:ext>
          </a:extLst>
        </p:spPr>
      </p:pic>
      <p:pic>
        <p:nvPicPr>
          <p:cNvPr id="24" name="Picture 14" descr="Image result for future medical production">
            <a:extLst>
              <a:ext uri="{FF2B5EF4-FFF2-40B4-BE49-F238E27FC236}">
                <a16:creationId xmlns:a16="http://schemas.microsoft.com/office/drawing/2014/main" id="{DDE22D3A-CA98-4AD0-B72F-E0B02F60BF54}"/>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9628"/>
          <a:stretch/>
        </p:blipFill>
        <p:spPr bwMode="auto">
          <a:xfrm>
            <a:off x="3465701" y="4741812"/>
            <a:ext cx="2496456" cy="1480523"/>
          </a:xfrm>
          <a:prstGeom prst="rect">
            <a:avLst/>
          </a:prstGeom>
          <a:noFill/>
          <a:extLst>
            <a:ext uri="{909E8E84-426E-40dd-AFC4-6F175D3DCCD1}">
              <a14:hiddenFill xmlns:a14="http://schemas.microsoft.com/office/drawing/2010/main" xmlns="">
                <a:solidFill>
                  <a:srgbClr val="FFFFFF"/>
                </a:solidFill>
              </a14:hiddenFill>
            </a:ext>
          </a:extLst>
        </p:spPr>
      </p:pic>
      <p:pic>
        <p:nvPicPr>
          <p:cNvPr id="22" name="Graphic 21">
            <a:extLst>
              <a:ext uri="{FF2B5EF4-FFF2-40B4-BE49-F238E27FC236}">
                <a16:creationId xmlns:a16="http://schemas.microsoft.com/office/drawing/2014/main" id="{4CB90E9E-95F4-4ECE-BD9A-85EDE97F683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1293997">
            <a:off x="5077435" y="2852889"/>
            <a:ext cx="1165117" cy="1128129"/>
          </a:xfrm>
          <a:prstGeom prst="rect">
            <a:avLst/>
          </a:prstGeom>
        </p:spPr>
      </p:pic>
      <p:grpSp>
        <p:nvGrpSpPr>
          <p:cNvPr id="8" name="Graphic 9">
            <a:extLst>
              <a:ext uri="{FF2B5EF4-FFF2-40B4-BE49-F238E27FC236}">
                <a16:creationId xmlns:a16="http://schemas.microsoft.com/office/drawing/2014/main" id="{845BFD67-4585-4277-888F-D8612551B33B}"/>
              </a:ext>
            </a:extLst>
          </p:cNvPr>
          <p:cNvGrpSpPr/>
          <p:nvPr/>
        </p:nvGrpSpPr>
        <p:grpSpPr>
          <a:xfrm>
            <a:off x="7190120" y="2091706"/>
            <a:ext cx="1600537" cy="1077284"/>
            <a:chOff x="5392589" y="1404473"/>
            <a:chExt cx="1200403" cy="807963"/>
          </a:xfrm>
        </p:grpSpPr>
        <p:sp>
          <p:nvSpPr>
            <p:cNvPr id="9" name="Freeform: Shape 8">
              <a:extLst>
                <a:ext uri="{FF2B5EF4-FFF2-40B4-BE49-F238E27FC236}">
                  <a16:creationId xmlns:a16="http://schemas.microsoft.com/office/drawing/2014/main" id="{35A6DCDC-F8A3-4196-B2B9-25E230410E21}"/>
                </a:ext>
              </a:extLst>
            </p:cNvPr>
            <p:cNvSpPr/>
            <p:nvPr/>
          </p:nvSpPr>
          <p:spPr>
            <a:xfrm>
              <a:off x="5392631" y="1778329"/>
              <a:ext cx="1188861" cy="392439"/>
            </a:xfrm>
            <a:custGeom>
              <a:avLst/>
              <a:gdLst>
                <a:gd name="connsiteX0" fmla="*/ 1108484 w 1188860"/>
                <a:gd name="connsiteY0" fmla="*/ 0 h 392439"/>
                <a:gd name="connsiteX1" fmla="*/ 1189626 w 1188860"/>
                <a:gd name="connsiteY1" fmla="*/ 40283 h 392439"/>
                <a:gd name="connsiteX2" fmla="*/ 1185356 w 1188860"/>
                <a:gd name="connsiteY2" fmla="*/ 109883 h 392439"/>
                <a:gd name="connsiteX3" fmla="*/ 1089670 w 1188860"/>
                <a:gd name="connsiteY3" fmla="*/ 192872 h 392439"/>
                <a:gd name="connsiteX4" fmla="*/ 921729 w 1188860"/>
                <a:gd name="connsiteY4" fmla="*/ 276439 h 392439"/>
                <a:gd name="connsiteX5" fmla="*/ 675184 w 1188860"/>
                <a:gd name="connsiteY5" fmla="*/ 350656 h 392439"/>
                <a:gd name="connsiteX6" fmla="*/ 543140 w 1188860"/>
                <a:gd name="connsiteY6" fmla="*/ 376857 h 392439"/>
                <a:gd name="connsiteX7" fmla="*/ 204603 w 1188860"/>
                <a:gd name="connsiteY7" fmla="*/ 389900 h 392439"/>
                <a:gd name="connsiteX8" fmla="*/ 85025 w 1188860"/>
                <a:gd name="connsiteY8" fmla="*/ 369008 h 392439"/>
                <a:gd name="connsiteX9" fmla="*/ 32276 w 1188860"/>
                <a:gd name="connsiteY9" fmla="*/ 345462 h 392439"/>
                <a:gd name="connsiteX10" fmla="*/ 38394 w 1188860"/>
                <a:gd name="connsiteY10" fmla="*/ 235579 h 392439"/>
                <a:gd name="connsiteX11" fmla="*/ 28698 w 1188860"/>
                <a:gd name="connsiteY11" fmla="*/ 250815 h 392439"/>
                <a:gd name="connsiteX12" fmla="*/ 55938 w 1188860"/>
                <a:gd name="connsiteY12" fmla="*/ 339806 h 392439"/>
                <a:gd name="connsiteX13" fmla="*/ 176671 w 1188860"/>
                <a:gd name="connsiteY13" fmla="*/ 361621 h 392439"/>
                <a:gd name="connsiteX14" fmla="*/ 392512 w 1188860"/>
                <a:gd name="connsiteY14" fmla="*/ 351233 h 392439"/>
                <a:gd name="connsiteX15" fmla="*/ 554913 w 1188860"/>
                <a:gd name="connsiteY15" fmla="*/ 328495 h 392439"/>
                <a:gd name="connsiteX16" fmla="*/ 716737 w 1188860"/>
                <a:gd name="connsiteY16" fmla="*/ 294329 h 392439"/>
                <a:gd name="connsiteX17" fmla="*/ 904184 w 1188860"/>
                <a:gd name="connsiteY17" fmla="*/ 242158 h 392439"/>
                <a:gd name="connsiteX18" fmla="*/ 1125451 w 1188860"/>
                <a:gd name="connsiteY18" fmla="*/ 143933 h 392439"/>
                <a:gd name="connsiteX19" fmla="*/ 1180970 w 1188860"/>
                <a:gd name="connsiteY19" fmla="*/ 88645 h 392439"/>
                <a:gd name="connsiteX20" fmla="*/ 1162848 w 1188860"/>
                <a:gd name="connsiteY20" fmla="*/ 27702 h 392439"/>
                <a:gd name="connsiteX21" fmla="*/ 1108484 w 1188860"/>
                <a:gd name="connsiteY21" fmla="*/ 0 h 39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8860" h="392439">
                  <a:moveTo>
                    <a:pt x="1108484" y="0"/>
                  </a:moveTo>
                  <a:cubicBezTo>
                    <a:pt x="1140110" y="4271"/>
                    <a:pt x="1170120" y="13274"/>
                    <a:pt x="1189626" y="40283"/>
                  </a:cubicBezTo>
                  <a:cubicBezTo>
                    <a:pt x="1206594" y="63714"/>
                    <a:pt x="1199668" y="87722"/>
                    <a:pt x="1185356" y="109883"/>
                  </a:cubicBezTo>
                  <a:cubicBezTo>
                    <a:pt x="1161694" y="146818"/>
                    <a:pt x="1126836" y="172327"/>
                    <a:pt x="1089670" y="192872"/>
                  </a:cubicBezTo>
                  <a:cubicBezTo>
                    <a:pt x="1035074" y="223229"/>
                    <a:pt x="979671" y="253354"/>
                    <a:pt x="921729" y="276439"/>
                  </a:cubicBezTo>
                  <a:cubicBezTo>
                    <a:pt x="841971" y="308180"/>
                    <a:pt x="759790" y="333804"/>
                    <a:pt x="675184" y="350656"/>
                  </a:cubicBezTo>
                  <a:cubicBezTo>
                    <a:pt x="631208" y="359428"/>
                    <a:pt x="587463" y="370278"/>
                    <a:pt x="543140" y="376857"/>
                  </a:cubicBezTo>
                  <a:cubicBezTo>
                    <a:pt x="430833" y="393363"/>
                    <a:pt x="318064" y="403635"/>
                    <a:pt x="204603" y="389900"/>
                  </a:cubicBezTo>
                  <a:cubicBezTo>
                    <a:pt x="164436" y="385052"/>
                    <a:pt x="124384" y="378011"/>
                    <a:pt x="85025" y="369008"/>
                  </a:cubicBezTo>
                  <a:cubicBezTo>
                    <a:pt x="66557" y="364853"/>
                    <a:pt x="47974" y="356196"/>
                    <a:pt x="32276" y="345462"/>
                  </a:cubicBezTo>
                  <a:cubicBezTo>
                    <a:pt x="-10661" y="316029"/>
                    <a:pt x="-12854" y="273322"/>
                    <a:pt x="38394" y="235579"/>
                  </a:cubicBezTo>
                  <a:cubicBezTo>
                    <a:pt x="35162" y="240658"/>
                    <a:pt x="32045" y="245852"/>
                    <a:pt x="28698" y="250815"/>
                  </a:cubicBezTo>
                  <a:cubicBezTo>
                    <a:pt x="881" y="291328"/>
                    <a:pt x="10692" y="321685"/>
                    <a:pt x="55938" y="339806"/>
                  </a:cubicBezTo>
                  <a:cubicBezTo>
                    <a:pt x="94836" y="355388"/>
                    <a:pt x="135696" y="362198"/>
                    <a:pt x="176671" y="361621"/>
                  </a:cubicBezTo>
                  <a:cubicBezTo>
                    <a:pt x="248695" y="360698"/>
                    <a:pt x="320719" y="357235"/>
                    <a:pt x="392512" y="351233"/>
                  </a:cubicBezTo>
                  <a:cubicBezTo>
                    <a:pt x="446877" y="346732"/>
                    <a:pt x="501126" y="337959"/>
                    <a:pt x="554913" y="328495"/>
                  </a:cubicBezTo>
                  <a:cubicBezTo>
                    <a:pt x="609162" y="318915"/>
                    <a:pt x="663296" y="307718"/>
                    <a:pt x="716737" y="294329"/>
                  </a:cubicBezTo>
                  <a:cubicBezTo>
                    <a:pt x="779643" y="278632"/>
                    <a:pt x="842202" y="261318"/>
                    <a:pt x="904184" y="242158"/>
                  </a:cubicBezTo>
                  <a:cubicBezTo>
                    <a:pt x="981633" y="218150"/>
                    <a:pt x="1057467" y="189525"/>
                    <a:pt x="1125451" y="143933"/>
                  </a:cubicBezTo>
                  <a:cubicBezTo>
                    <a:pt x="1147497" y="129159"/>
                    <a:pt x="1169658" y="114038"/>
                    <a:pt x="1180970" y="88645"/>
                  </a:cubicBezTo>
                  <a:cubicBezTo>
                    <a:pt x="1192974" y="61636"/>
                    <a:pt x="1188126" y="43399"/>
                    <a:pt x="1162848" y="27702"/>
                  </a:cubicBezTo>
                  <a:cubicBezTo>
                    <a:pt x="1145650" y="16967"/>
                    <a:pt x="1126721" y="9118"/>
                    <a:pt x="1108484" y="0"/>
                  </a:cubicBezTo>
                  <a:close/>
                </a:path>
              </a:pathLst>
            </a:custGeom>
            <a:solidFill>
              <a:srgbClr val="FF0000"/>
            </a:solidFill>
            <a:ln w="11540" cap="flat">
              <a:noFill/>
              <a:prstDash val="solid"/>
              <a:miter/>
            </a:ln>
          </p:spPr>
          <p:txBody>
            <a:bodyPr rtlCol="0" anchor="ctr"/>
            <a:lstStyle/>
            <a:p>
              <a:pPr defTabSz="1219170"/>
              <a:endParaRPr lang="en-US" sz="2400">
                <a:solidFill>
                  <a:srgbClr val="102B62"/>
                </a:solidFill>
                <a:latin typeface="Arial"/>
              </a:endParaRPr>
            </a:p>
          </p:txBody>
        </p:sp>
        <p:sp>
          <p:nvSpPr>
            <p:cNvPr id="11" name="Freeform: Shape 10">
              <a:extLst>
                <a:ext uri="{FF2B5EF4-FFF2-40B4-BE49-F238E27FC236}">
                  <a16:creationId xmlns:a16="http://schemas.microsoft.com/office/drawing/2014/main" id="{668FC479-7DA4-4448-8BDE-63D5BC3196BE}"/>
                </a:ext>
              </a:extLst>
            </p:cNvPr>
            <p:cNvSpPr/>
            <p:nvPr/>
          </p:nvSpPr>
          <p:spPr>
            <a:xfrm>
              <a:off x="5572320" y="1792910"/>
              <a:ext cx="103881" cy="196220"/>
            </a:xfrm>
            <a:custGeom>
              <a:avLst/>
              <a:gdLst>
                <a:gd name="connsiteX0" fmla="*/ 48577 w 103881"/>
                <a:gd name="connsiteY0" fmla="*/ 120695 h 196219"/>
                <a:gd name="connsiteX1" fmla="*/ 63236 w 103881"/>
                <a:gd name="connsiteY1" fmla="*/ 119079 h 196219"/>
                <a:gd name="connsiteX2" fmla="*/ 19606 w 103881"/>
                <a:gd name="connsiteY2" fmla="*/ 99688 h 196219"/>
                <a:gd name="connsiteX3" fmla="*/ 214 w 103881"/>
                <a:gd name="connsiteY3" fmla="*/ 52249 h 196219"/>
                <a:gd name="connsiteX4" fmla="*/ 53194 w 103881"/>
                <a:gd name="connsiteY4" fmla="*/ 309 h 196219"/>
                <a:gd name="connsiteX5" fmla="*/ 111713 w 103881"/>
                <a:gd name="connsiteY5" fmla="*/ 37244 h 196219"/>
                <a:gd name="connsiteX6" fmla="*/ 81126 w 103881"/>
                <a:gd name="connsiteY6" fmla="*/ 110423 h 196219"/>
                <a:gd name="connsiteX7" fmla="*/ 81126 w 103881"/>
                <a:gd name="connsiteY7" fmla="*/ 196759 h 196219"/>
                <a:gd name="connsiteX8" fmla="*/ 79510 w 103881"/>
                <a:gd name="connsiteY8" fmla="*/ 197683 h 196219"/>
                <a:gd name="connsiteX9" fmla="*/ 48461 w 103881"/>
                <a:gd name="connsiteY9" fmla="*/ 167788 h 196219"/>
                <a:gd name="connsiteX10" fmla="*/ 48577 w 103881"/>
                <a:gd name="connsiteY10" fmla="*/ 120695 h 196219"/>
                <a:gd name="connsiteX11" fmla="*/ 81242 w 103881"/>
                <a:gd name="connsiteY11" fmla="*/ 48209 h 196219"/>
                <a:gd name="connsiteX12" fmla="*/ 91861 w 103881"/>
                <a:gd name="connsiteY12" fmla="*/ 37013 h 196219"/>
                <a:gd name="connsiteX13" fmla="*/ 66352 w 103881"/>
                <a:gd name="connsiteY13" fmla="*/ 14967 h 196219"/>
                <a:gd name="connsiteX14" fmla="*/ 53309 w 103881"/>
                <a:gd name="connsiteY14" fmla="*/ 26279 h 196219"/>
                <a:gd name="connsiteX15" fmla="*/ 81242 w 103881"/>
                <a:gd name="connsiteY15" fmla="*/ 48209 h 196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3881" h="196219">
                  <a:moveTo>
                    <a:pt x="48577" y="120695"/>
                  </a:moveTo>
                  <a:cubicBezTo>
                    <a:pt x="56541" y="119772"/>
                    <a:pt x="61735" y="119195"/>
                    <a:pt x="63236" y="119079"/>
                  </a:cubicBezTo>
                  <a:cubicBezTo>
                    <a:pt x="50424" y="113654"/>
                    <a:pt x="33456" y="109037"/>
                    <a:pt x="19606" y="99688"/>
                  </a:cubicBezTo>
                  <a:cubicBezTo>
                    <a:pt x="4023" y="89069"/>
                    <a:pt x="-1171" y="70948"/>
                    <a:pt x="214" y="52249"/>
                  </a:cubicBezTo>
                  <a:cubicBezTo>
                    <a:pt x="2292" y="23740"/>
                    <a:pt x="23299" y="3656"/>
                    <a:pt x="53194" y="309"/>
                  </a:cubicBezTo>
                  <a:cubicBezTo>
                    <a:pt x="78356" y="-2461"/>
                    <a:pt x="105711" y="13698"/>
                    <a:pt x="111713" y="37244"/>
                  </a:cubicBezTo>
                  <a:cubicBezTo>
                    <a:pt x="118754" y="65407"/>
                    <a:pt x="115984" y="93917"/>
                    <a:pt x="81126" y="110423"/>
                  </a:cubicBezTo>
                  <a:cubicBezTo>
                    <a:pt x="81126" y="139625"/>
                    <a:pt x="81126" y="167788"/>
                    <a:pt x="81126" y="196759"/>
                  </a:cubicBezTo>
                  <a:cubicBezTo>
                    <a:pt x="81242" y="196644"/>
                    <a:pt x="80434" y="197683"/>
                    <a:pt x="79510" y="197683"/>
                  </a:cubicBezTo>
                  <a:cubicBezTo>
                    <a:pt x="48461" y="199068"/>
                    <a:pt x="48461" y="198952"/>
                    <a:pt x="48461" y="167788"/>
                  </a:cubicBezTo>
                  <a:cubicBezTo>
                    <a:pt x="48577" y="152321"/>
                    <a:pt x="48577" y="136739"/>
                    <a:pt x="48577" y="120695"/>
                  </a:cubicBezTo>
                  <a:close/>
                  <a:moveTo>
                    <a:pt x="81242" y="48209"/>
                  </a:moveTo>
                  <a:cubicBezTo>
                    <a:pt x="83550" y="45901"/>
                    <a:pt x="90245" y="42207"/>
                    <a:pt x="91861" y="37013"/>
                  </a:cubicBezTo>
                  <a:cubicBezTo>
                    <a:pt x="94400" y="28472"/>
                    <a:pt x="77202" y="13236"/>
                    <a:pt x="66352" y="14967"/>
                  </a:cubicBezTo>
                  <a:cubicBezTo>
                    <a:pt x="61389" y="15775"/>
                    <a:pt x="54694" y="21431"/>
                    <a:pt x="53309" y="26279"/>
                  </a:cubicBezTo>
                  <a:cubicBezTo>
                    <a:pt x="50539" y="35167"/>
                    <a:pt x="65198" y="47632"/>
                    <a:pt x="81242" y="48209"/>
                  </a:cubicBezTo>
                  <a:close/>
                </a:path>
              </a:pathLst>
            </a:custGeom>
            <a:solidFill>
              <a:srgbClr val="000000"/>
            </a:solidFill>
            <a:ln w="11540" cap="flat">
              <a:noFill/>
              <a:prstDash val="solid"/>
              <a:miter/>
            </a:ln>
          </p:spPr>
          <p:txBody>
            <a:bodyPr rtlCol="0" anchor="ctr"/>
            <a:lstStyle/>
            <a:p>
              <a:pPr defTabSz="1219170"/>
              <a:endParaRPr lang="en-US" sz="2400">
                <a:solidFill>
                  <a:srgbClr val="102B62"/>
                </a:solidFill>
                <a:latin typeface="Arial"/>
              </a:endParaRPr>
            </a:p>
          </p:txBody>
        </p:sp>
        <p:sp>
          <p:nvSpPr>
            <p:cNvPr id="13" name="Freeform: Shape 12">
              <a:extLst>
                <a:ext uri="{FF2B5EF4-FFF2-40B4-BE49-F238E27FC236}">
                  <a16:creationId xmlns:a16="http://schemas.microsoft.com/office/drawing/2014/main" id="{206B1367-696D-47A9-B465-BB60C1E8C2FC}"/>
                </a:ext>
              </a:extLst>
            </p:cNvPr>
            <p:cNvSpPr/>
            <p:nvPr/>
          </p:nvSpPr>
          <p:spPr>
            <a:xfrm>
              <a:off x="5928884" y="1916951"/>
              <a:ext cx="103881" cy="161593"/>
            </a:xfrm>
            <a:custGeom>
              <a:avLst/>
              <a:gdLst>
                <a:gd name="connsiteX0" fmla="*/ 2502 w 103881"/>
                <a:gd name="connsiteY0" fmla="*/ 157439 h 161592"/>
                <a:gd name="connsiteX1" fmla="*/ 42669 w 103881"/>
                <a:gd name="connsiteY1" fmla="*/ 81721 h 161592"/>
                <a:gd name="connsiteX2" fmla="*/ 43131 w 103881"/>
                <a:gd name="connsiteY2" fmla="*/ 10043 h 161592"/>
                <a:gd name="connsiteX3" fmla="*/ 53750 w 103881"/>
                <a:gd name="connsiteY3" fmla="*/ 2 h 161592"/>
                <a:gd name="connsiteX4" fmla="*/ 76834 w 103881"/>
                <a:gd name="connsiteY4" fmla="*/ 6465 h 161592"/>
                <a:gd name="connsiteX5" fmla="*/ 76950 w 103881"/>
                <a:gd name="connsiteY5" fmla="*/ 74450 h 161592"/>
                <a:gd name="connsiteX6" fmla="*/ 72333 w 103881"/>
                <a:gd name="connsiteY6" fmla="*/ 80913 h 161592"/>
                <a:gd name="connsiteX7" fmla="*/ 114578 w 103881"/>
                <a:gd name="connsiteY7" fmla="*/ 139202 h 161592"/>
                <a:gd name="connsiteX8" fmla="*/ 103151 w 103881"/>
                <a:gd name="connsiteY8" fmla="*/ 155130 h 161592"/>
                <a:gd name="connsiteX9" fmla="*/ 20623 w 103881"/>
                <a:gd name="connsiteY9" fmla="*/ 171751 h 161592"/>
                <a:gd name="connsiteX10" fmla="*/ 6426 w 103881"/>
                <a:gd name="connsiteY10" fmla="*/ 164480 h 161592"/>
                <a:gd name="connsiteX11" fmla="*/ 2502 w 103881"/>
                <a:gd name="connsiteY11" fmla="*/ 157439 h 161592"/>
                <a:gd name="connsiteX12" fmla="*/ 75911 w 103881"/>
                <a:gd name="connsiteY12" fmla="*/ 134239 h 161592"/>
                <a:gd name="connsiteX13" fmla="*/ 91724 w 103881"/>
                <a:gd name="connsiteY13" fmla="*/ 117733 h 161592"/>
                <a:gd name="connsiteX14" fmla="*/ 66215 w 103881"/>
                <a:gd name="connsiteY14" fmla="*/ 95687 h 161592"/>
                <a:gd name="connsiteX15" fmla="*/ 51095 w 103881"/>
                <a:gd name="connsiteY15" fmla="*/ 107576 h 161592"/>
                <a:gd name="connsiteX16" fmla="*/ 75911 w 103881"/>
                <a:gd name="connsiteY16" fmla="*/ 134239 h 161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881" h="161592">
                  <a:moveTo>
                    <a:pt x="2502" y="157439"/>
                  </a:moveTo>
                  <a:cubicBezTo>
                    <a:pt x="-6386" y="120273"/>
                    <a:pt x="8734" y="93148"/>
                    <a:pt x="42669" y="81721"/>
                  </a:cubicBezTo>
                  <a:cubicBezTo>
                    <a:pt x="42669" y="57251"/>
                    <a:pt x="42207" y="33590"/>
                    <a:pt x="43131" y="10043"/>
                  </a:cubicBezTo>
                  <a:cubicBezTo>
                    <a:pt x="43246" y="6350"/>
                    <a:pt x="50171" y="-114"/>
                    <a:pt x="53750" y="2"/>
                  </a:cubicBezTo>
                  <a:cubicBezTo>
                    <a:pt x="61945" y="348"/>
                    <a:pt x="76603" y="3580"/>
                    <a:pt x="76834" y="6465"/>
                  </a:cubicBezTo>
                  <a:cubicBezTo>
                    <a:pt x="78566" y="28973"/>
                    <a:pt x="77527" y="51711"/>
                    <a:pt x="76950" y="74450"/>
                  </a:cubicBezTo>
                  <a:cubicBezTo>
                    <a:pt x="76950" y="76643"/>
                    <a:pt x="73949" y="78720"/>
                    <a:pt x="72333" y="80913"/>
                  </a:cubicBezTo>
                  <a:cubicBezTo>
                    <a:pt x="101304" y="92802"/>
                    <a:pt x="116886" y="113463"/>
                    <a:pt x="114578" y="139202"/>
                  </a:cubicBezTo>
                  <a:cubicBezTo>
                    <a:pt x="114116" y="144973"/>
                    <a:pt x="108114" y="153861"/>
                    <a:pt x="103151" y="155130"/>
                  </a:cubicBezTo>
                  <a:cubicBezTo>
                    <a:pt x="75911" y="161940"/>
                    <a:pt x="48325" y="167134"/>
                    <a:pt x="20623" y="171751"/>
                  </a:cubicBezTo>
                  <a:cubicBezTo>
                    <a:pt x="16468" y="172444"/>
                    <a:pt x="11158" y="167019"/>
                    <a:pt x="6426" y="164480"/>
                  </a:cubicBezTo>
                  <a:cubicBezTo>
                    <a:pt x="5156" y="162287"/>
                    <a:pt x="3771" y="159863"/>
                    <a:pt x="2502" y="157439"/>
                  </a:cubicBezTo>
                  <a:close/>
                  <a:moveTo>
                    <a:pt x="75911" y="134239"/>
                  </a:moveTo>
                  <a:cubicBezTo>
                    <a:pt x="83529" y="126621"/>
                    <a:pt x="90108" y="122927"/>
                    <a:pt x="91724" y="117733"/>
                  </a:cubicBezTo>
                  <a:cubicBezTo>
                    <a:pt x="94032" y="110000"/>
                    <a:pt x="75795" y="93725"/>
                    <a:pt x="66215" y="95687"/>
                  </a:cubicBezTo>
                  <a:cubicBezTo>
                    <a:pt x="60560" y="96842"/>
                    <a:pt x="56058" y="103421"/>
                    <a:pt x="51095" y="107576"/>
                  </a:cubicBezTo>
                  <a:cubicBezTo>
                    <a:pt x="58482" y="115540"/>
                    <a:pt x="65984" y="123620"/>
                    <a:pt x="75911" y="134239"/>
                  </a:cubicBezTo>
                  <a:close/>
                </a:path>
              </a:pathLst>
            </a:custGeom>
            <a:solidFill>
              <a:srgbClr val="000000"/>
            </a:solidFill>
            <a:ln w="11540" cap="flat">
              <a:noFill/>
              <a:prstDash val="solid"/>
              <a:miter/>
            </a:ln>
          </p:spPr>
          <p:txBody>
            <a:bodyPr rtlCol="0" anchor="ctr"/>
            <a:lstStyle/>
            <a:p>
              <a:pPr defTabSz="1219170"/>
              <a:endParaRPr lang="en-US" sz="2400">
                <a:solidFill>
                  <a:srgbClr val="102B62"/>
                </a:solidFill>
                <a:latin typeface="Arial"/>
              </a:endParaRPr>
            </a:p>
          </p:txBody>
        </p:sp>
        <p:sp>
          <p:nvSpPr>
            <p:cNvPr id="14" name="Freeform: Shape 13">
              <a:extLst>
                <a:ext uri="{FF2B5EF4-FFF2-40B4-BE49-F238E27FC236}">
                  <a16:creationId xmlns:a16="http://schemas.microsoft.com/office/drawing/2014/main" id="{0E8F21D3-3992-49F3-8B82-8448E7F88AF0}"/>
                </a:ext>
              </a:extLst>
            </p:cNvPr>
            <p:cNvSpPr/>
            <p:nvPr/>
          </p:nvSpPr>
          <p:spPr>
            <a:xfrm>
              <a:off x="5577609" y="1993940"/>
              <a:ext cx="115423" cy="103881"/>
            </a:xfrm>
            <a:custGeom>
              <a:avLst/>
              <a:gdLst>
                <a:gd name="connsiteX0" fmla="*/ 59100 w 115423"/>
                <a:gd name="connsiteY0" fmla="*/ 115077 h 103880"/>
                <a:gd name="connsiteX1" fmla="*/ 3 w 115423"/>
                <a:gd name="connsiteY1" fmla="*/ 57712 h 103880"/>
                <a:gd name="connsiteX2" fmla="*/ 58523 w 115423"/>
                <a:gd name="connsiteY2" fmla="*/ 0 h 103880"/>
                <a:gd name="connsiteX3" fmla="*/ 117158 w 115423"/>
                <a:gd name="connsiteY3" fmla="*/ 57019 h 103880"/>
                <a:gd name="connsiteX4" fmla="*/ 59100 w 115423"/>
                <a:gd name="connsiteY4" fmla="*/ 115077 h 103880"/>
                <a:gd name="connsiteX5" fmla="*/ 63140 w 115423"/>
                <a:gd name="connsiteY5" fmla="*/ 16506 h 103880"/>
                <a:gd name="connsiteX6" fmla="*/ 54483 w 115423"/>
                <a:gd name="connsiteY6" fmla="*/ 26547 h 103880"/>
                <a:gd name="connsiteX7" fmla="*/ 79876 w 115423"/>
                <a:gd name="connsiteY7" fmla="*/ 47785 h 103880"/>
                <a:gd name="connsiteX8" fmla="*/ 92342 w 115423"/>
                <a:gd name="connsiteY8" fmla="*/ 36820 h 103880"/>
                <a:gd name="connsiteX9" fmla="*/ 63140 w 115423"/>
                <a:gd name="connsiteY9" fmla="*/ 16506 h 103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23" h="103880">
                  <a:moveTo>
                    <a:pt x="59100" y="115077"/>
                  </a:moveTo>
                  <a:cubicBezTo>
                    <a:pt x="27705" y="115077"/>
                    <a:pt x="350" y="88530"/>
                    <a:pt x="3" y="57712"/>
                  </a:cubicBezTo>
                  <a:cubicBezTo>
                    <a:pt x="-343" y="26663"/>
                    <a:pt x="26551" y="115"/>
                    <a:pt x="58523" y="0"/>
                  </a:cubicBezTo>
                  <a:cubicBezTo>
                    <a:pt x="91072" y="0"/>
                    <a:pt x="116927" y="25162"/>
                    <a:pt x="117158" y="57019"/>
                  </a:cubicBezTo>
                  <a:cubicBezTo>
                    <a:pt x="117389" y="88183"/>
                    <a:pt x="90495" y="115077"/>
                    <a:pt x="59100" y="115077"/>
                  </a:cubicBezTo>
                  <a:close/>
                  <a:moveTo>
                    <a:pt x="63140" y="16506"/>
                  </a:moveTo>
                  <a:cubicBezTo>
                    <a:pt x="61524" y="18237"/>
                    <a:pt x="55522" y="21815"/>
                    <a:pt x="54483" y="26547"/>
                  </a:cubicBezTo>
                  <a:cubicBezTo>
                    <a:pt x="52406" y="36935"/>
                    <a:pt x="67295" y="49747"/>
                    <a:pt x="79876" y="47785"/>
                  </a:cubicBezTo>
                  <a:cubicBezTo>
                    <a:pt x="84724" y="47093"/>
                    <a:pt x="91534" y="41206"/>
                    <a:pt x="92342" y="36820"/>
                  </a:cubicBezTo>
                  <a:cubicBezTo>
                    <a:pt x="94420" y="26894"/>
                    <a:pt x="80453" y="16506"/>
                    <a:pt x="63140" y="16506"/>
                  </a:cubicBezTo>
                  <a:close/>
                </a:path>
              </a:pathLst>
            </a:custGeom>
            <a:solidFill>
              <a:srgbClr val="000000"/>
            </a:solidFill>
            <a:ln w="11540" cap="flat">
              <a:noFill/>
              <a:prstDash val="solid"/>
              <a:miter/>
            </a:ln>
          </p:spPr>
          <p:txBody>
            <a:bodyPr rtlCol="0" anchor="ctr"/>
            <a:lstStyle/>
            <a:p>
              <a:pPr defTabSz="1219170"/>
              <a:endParaRPr lang="en-US" sz="2400">
                <a:solidFill>
                  <a:srgbClr val="102B62"/>
                </a:solidFill>
                <a:latin typeface="Arial"/>
              </a:endParaRPr>
            </a:p>
          </p:txBody>
        </p:sp>
        <p:sp>
          <p:nvSpPr>
            <p:cNvPr id="15" name="Freeform: Shape 14">
              <a:extLst>
                <a:ext uri="{FF2B5EF4-FFF2-40B4-BE49-F238E27FC236}">
                  <a16:creationId xmlns:a16="http://schemas.microsoft.com/office/drawing/2014/main" id="{34AF7BF1-041D-47FC-ADE2-029F3530B6ED}"/>
                </a:ext>
              </a:extLst>
            </p:cNvPr>
            <p:cNvSpPr/>
            <p:nvPr/>
          </p:nvSpPr>
          <p:spPr>
            <a:xfrm>
              <a:off x="6106091" y="1701457"/>
              <a:ext cx="115423" cy="103881"/>
            </a:xfrm>
            <a:custGeom>
              <a:avLst/>
              <a:gdLst>
                <a:gd name="connsiteX0" fmla="*/ 106235 w 115423"/>
                <a:gd name="connsiteY0" fmla="*/ 94763 h 103880"/>
                <a:gd name="connsiteX1" fmla="*/ 55333 w 115423"/>
                <a:gd name="connsiteY1" fmla="*/ 115193 h 103880"/>
                <a:gd name="connsiteX2" fmla="*/ 738 w 115423"/>
                <a:gd name="connsiteY2" fmla="*/ 64407 h 103880"/>
                <a:gd name="connsiteX3" fmla="*/ 39290 w 115423"/>
                <a:gd name="connsiteY3" fmla="*/ 3348 h 103880"/>
                <a:gd name="connsiteX4" fmla="*/ 105543 w 115423"/>
                <a:gd name="connsiteY4" fmla="*/ 23893 h 103880"/>
                <a:gd name="connsiteX5" fmla="*/ 115584 w 115423"/>
                <a:gd name="connsiteY5" fmla="*/ 76526 h 103880"/>
                <a:gd name="connsiteX6" fmla="*/ 106235 w 115423"/>
                <a:gd name="connsiteY6" fmla="*/ 94763 h 103880"/>
                <a:gd name="connsiteX7" fmla="*/ 83497 w 115423"/>
                <a:gd name="connsiteY7" fmla="*/ 48825 h 103880"/>
                <a:gd name="connsiteX8" fmla="*/ 93077 w 115423"/>
                <a:gd name="connsiteY8" fmla="*/ 37051 h 103880"/>
                <a:gd name="connsiteX9" fmla="*/ 68376 w 115423"/>
                <a:gd name="connsiteY9" fmla="*/ 17199 h 103880"/>
                <a:gd name="connsiteX10" fmla="*/ 55103 w 115423"/>
                <a:gd name="connsiteY10" fmla="*/ 28164 h 103880"/>
                <a:gd name="connsiteX11" fmla="*/ 83497 w 115423"/>
                <a:gd name="connsiteY11" fmla="*/ 48825 h 103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423" h="103880">
                  <a:moveTo>
                    <a:pt x="106235" y="94763"/>
                  </a:moveTo>
                  <a:cubicBezTo>
                    <a:pt x="91115" y="106075"/>
                    <a:pt x="76340" y="116809"/>
                    <a:pt x="55333" y="115193"/>
                  </a:cubicBezTo>
                  <a:cubicBezTo>
                    <a:pt x="27747" y="113115"/>
                    <a:pt x="6971" y="95109"/>
                    <a:pt x="738" y="64407"/>
                  </a:cubicBezTo>
                  <a:cubicBezTo>
                    <a:pt x="-3879" y="41784"/>
                    <a:pt x="13666" y="13967"/>
                    <a:pt x="39290" y="3348"/>
                  </a:cubicBezTo>
                  <a:cubicBezTo>
                    <a:pt x="61220" y="-5655"/>
                    <a:pt x="91230" y="4271"/>
                    <a:pt x="105543" y="23893"/>
                  </a:cubicBezTo>
                  <a:cubicBezTo>
                    <a:pt x="117316" y="40168"/>
                    <a:pt x="117662" y="57943"/>
                    <a:pt x="115584" y="76526"/>
                  </a:cubicBezTo>
                  <a:cubicBezTo>
                    <a:pt x="112583" y="82644"/>
                    <a:pt x="109352" y="88761"/>
                    <a:pt x="106235" y="94763"/>
                  </a:cubicBezTo>
                  <a:close/>
                  <a:moveTo>
                    <a:pt x="83497" y="48825"/>
                  </a:moveTo>
                  <a:cubicBezTo>
                    <a:pt x="85574" y="46401"/>
                    <a:pt x="92038" y="42246"/>
                    <a:pt x="93077" y="37051"/>
                  </a:cubicBezTo>
                  <a:cubicBezTo>
                    <a:pt x="94924" y="27933"/>
                    <a:pt x="79803" y="15583"/>
                    <a:pt x="68376" y="17199"/>
                  </a:cubicBezTo>
                  <a:cubicBezTo>
                    <a:pt x="63298" y="17891"/>
                    <a:pt x="56026" y="23662"/>
                    <a:pt x="55103" y="28164"/>
                  </a:cubicBezTo>
                  <a:cubicBezTo>
                    <a:pt x="53025" y="38206"/>
                    <a:pt x="66760" y="48825"/>
                    <a:pt x="83497" y="48825"/>
                  </a:cubicBezTo>
                  <a:close/>
                </a:path>
              </a:pathLst>
            </a:custGeom>
            <a:solidFill>
              <a:srgbClr val="000000"/>
            </a:solidFill>
            <a:ln w="11540" cap="flat">
              <a:noFill/>
              <a:prstDash val="solid"/>
              <a:miter/>
            </a:ln>
          </p:spPr>
          <p:txBody>
            <a:bodyPr rtlCol="0" anchor="ctr"/>
            <a:lstStyle/>
            <a:p>
              <a:pPr defTabSz="1219170"/>
              <a:endParaRPr lang="en-US" sz="2400">
                <a:solidFill>
                  <a:srgbClr val="102B62"/>
                </a:solidFill>
                <a:latin typeface="Arial"/>
              </a:endParaRPr>
            </a:p>
          </p:txBody>
        </p:sp>
        <p:sp>
          <p:nvSpPr>
            <p:cNvPr id="17" name="Freeform: Shape 16">
              <a:extLst>
                <a:ext uri="{FF2B5EF4-FFF2-40B4-BE49-F238E27FC236}">
                  <a16:creationId xmlns:a16="http://schemas.microsoft.com/office/drawing/2014/main" id="{1DE8F822-DCA1-45C2-A4F8-6E5D352C0E98}"/>
                </a:ext>
              </a:extLst>
            </p:cNvPr>
            <p:cNvSpPr/>
            <p:nvPr/>
          </p:nvSpPr>
          <p:spPr>
            <a:xfrm>
              <a:off x="6271533" y="1799565"/>
              <a:ext cx="115423" cy="103881"/>
            </a:xfrm>
            <a:custGeom>
              <a:avLst/>
              <a:gdLst>
                <a:gd name="connsiteX0" fmla="*/ 58871 w 115423"/>
                <a:gd name="connsiteY0" fmla="*/ 114501 h 103880"/>
                <a:gd name="connsiteX1" fmla="*/ 5 w 115423"/>
                <a:gd name="connsiteY1" fmla="*/ 56905 h 103880"/>
                <a:gd name="connsiteX2" fmla="*/ 59333 w 115423"/>
                <a:gd name="connsiteY2" fmla="*/ 1 h 103880"/>
                <a:gd name="connsiteX3" fmla="*/ 116929 w 115423"/>
                <a:gd name="connsiteY3" fmla="*/ 58175 h 103880"/>
                <a:gd name="connsiteX4" fmla="*/ 58871 w 115423"/>
                <a:gd name="connsiteY4" fmla="*/ 114501 h 103880"/>
                <a:gd name="connsiteX5" fmla="*/ 82533 w 115423"/>
                <a:gd name="connsiteY5" fmla="*/ 49518 h 103880"/>
                <a:gd name="connsiteX6" fmla="*/ 92690 w 115423"/>
                <a:gd name="connsiteY6" fmla="*/ 36821 h 103880"/>
                <a:gd name="connsiteX7" fmla="*/ 67759 w 115423"/>
                <a:gd name="connsiteY7" fmla="*/ 16276 h 103880"/>
                <a:gd name="connsiteX8" fmla="*/ 55062 w 115423"/>
                <a:gd name="connsiteY8" fmla="*/ 28857 h 103880"/>
                <a:gd name="connsiteX9" fmla="*/ 82533 w 115423"/>
                <a:gd name="connsiteY9" fmla="*/ 49518 h 103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423" h="103880">
                  <a:moveTo>
                    <a:pt x="58871" y="114501"/>
                  </a:moveTo>
                  <a:cubicBezTo>
                    <a:pt x="21474" y="117502"/>
                    <a:pt x="467" y="82991"/>
                    <a:pt x="5" y="56905"/>
                  </a:cubicBezTo>
                  <a:cubicBezTo>
                    <a:pt x="-456" y="27011"/>
                    <a:pt x="28861" y="-229"/>
                    <a:pt x="59333" y="1"/>
                  </a:cubicBezTo>
                  <a:cubicBezTo>
                    <a:pt x="90497" y="348"/>
                    <a:pt x="116698" y="27241"/>
                    <a:pt x="116929" y="58175"/>
                  </a:cubicBezTo>
                  <a:cubicBezTo>
                    <a:pt x="117160" y="86800"/>
                    <a:pt x="90844" y="117849"/>
                    <a:pt x="58871" y="114501"/>
                  </a:cubicBezTo>
                  <a:close/>
                  <a:moveTo>
                    <a:pt x="82533" y="49518"/>
                  </a:moveTo>
                  <a:cubicBezTo>
                    <a:pt x="85303" y="46171"/>
                    <a:pt x="91651" y="42016"/>
                    <a:pt x="92690" y="36821"/>
                  </a:cubicBezTo>
                  <a:cubicBezTo>
                    <a:pt x="94422" y="27588"/>
                    <a:pt x="79186" y="16507"/>
                    <a:pt x="67759" y="16276"/>
                  </a:cubicBezTo>
                  <a:cubicBezTo>
                    <a:pt x="58871" y="16161"/>
                    <a:pt x="54254" y="20201"/>
                    <a:pt x="55062" y="28857"/>
                  </a:cubicBezTo>
                  <a:cubicBezTo>
                    <a:pt x="56447" y="42939"/>
                    <a:pt x="67066" y="46632"/>
                    <a:pt x="82533" y="49518"/>
                  </a:cubicBezTo>
                  <a:close/>
                </a:path>
              </a:pathLst>
            </a:custGeom>
            <a:solidFill>
              <a:srgbClr val="000000"/>
            </a:solidFill>
            <a:ln w="11540" cap="flat">
              <a:noFill/>
              <a:prstDash val="solid"/>
              <a:miter/>
            </a:ln>
          </p:spPr>
          <p:txBody>
            <a:bodyPr rtlCol="0" anchor="ctr"/>
            <a:lstStyle/>
            <a:p>
              <a:pPr defTabSz="1219170"/>
              <a:endParaRPr lang="en-US" sz="2400">
                <a:solidFill>
                  <a:srgbClr val="102B62"/>
                </a:solidFill>
                <a:latin typeface="Arial"/>
              </a:endParaRPr>
            </a:p>
          </p:txBody>
        </p:sp>
        <p:sp>
          <p:nvSpPr>
            <p:cNvPr id="18" name="Freeform: Shape 17">
              <a:extLst>
                <a:ext uri="{FF2B5EF4-FFF2-40B4-BE49-F238E27FC236}">
                  <a16:creationId xmlns:a16="http://schemas.microsoft.com/office/drawing/2014/main" id="{6B4982AD-151B-4E00-8D9B-6ECFC4BD5841}"/>
                </a:ext>
              </a:extLst>
            </p:cNvPr>
            <p:cNvSpPr/>
            <p:nvPr/>
          </p:nvSpPr>
          <p:spPr>
            <a:xfrm>
              <a:off x="5757213" y="1697713"/>
              <a:ext cx="103881" cy="115423"/>
            </a:xfrm>
            <a:custGeom>
              <a:avLst/>
              <a:gdLst>
                <a:gd name="connsiteX0" fmla="*/ 110690 w 103881"/>
                <a:gd name="connsiteY0" fmla="*/ 87311 h 115423"/>
                <a:gd name="connsiteX1" fmla="*/ 79064 w 103881"/>
                <a:gd name="connsiteY1" fmla="*/ 111203 h 115423"/>
                <a:gd name="connsiteX2" fmla="*/ 13503 w 103881"/>
                <a:gd name="connsiteY2" fmla="*/ 95160 h 115423"/>
                <a:gd name="connsiteX3" fmla="*/ 8771 w 103881"/>
                <a:gd name="connsiteY3" fmla="*/ 27291 h 115423"/>
                <a:gd name="connsiteX4" fmla="*/ 72023 w 103881"/>
                <a:gd name="connsiteY4" fmla="*/ 2128 h 115423"/>
                <a:gd name="connsiteX5" fmla="*/ 114268 w 103881"/>
                <a:gd name="connsiteY5" fmla="*/ 56377 h 115423"/>
                <a:gd name="connsiteX6" fmla="*/ 113229 w 103881"/>
                <a:gd name="connsiteY6" fmla="*/ 79116 h 115423"/>
                <a:gd name="connsiteX7" fmla="*/ 110690 w 103881"/>
                <a:gd name="connsiteY7" fmla="*/ 87311 h 115423"/>
                <a:gd name="connsiteX8" fmla="*/ 82296 w 103881"/>
                <a:gd name="connsiteY8" fmla="*/ 48875 h 115423"/>
                <a:gd name="connsiteX9" fmla="*/ 92107 w 103881"/>
                <a:gd name="connsiteY9" fmla="*/ 37102 h 115423"/>
                <a:gd name="connsiteX10" fmla="*/ 67060 w 103881"/>
                <a:gd name="connsiteY10" fmla="*/ 17133 h 115423"/>
                <a:gd name="connsiteX11" fmla="*/ 52863 w 103881"/>
                <a:gd name="connsiteY11" fmla="*/ 27868 h 115423"/>
                <a:gd name="connsiteX12" fmla="*/ 82296 w 103881"/>
                <a:gd name="connsiteY12" fmla="*/ 48875 h 11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3881" h="115423">
                  <a:moveTo>
                    <a:pt x="110690" y="87311"/>
                  </a:moveTo>
                  <a:cubicBezTo>
                    <a:pt x="100186" y="95390"/>
                    <a:pt x="90606" y="105432"/>
                    <a:pt x="79064" y="111203"/>
                  </a:cubicBezTo>
                  <a:cubicBezTo>
                    <a:pt x="56441" y="122515"/>
                    <a:pt x="30701" y="115243"/>
                    <a:pt x="13503" y="95160"/>
                  </a:cubicBezTo>
                  <a:cubicBezTo>
                    <a:pt x="-2540" y="76346"/>
                    <a:pt x="-4503" y="48298"/>
                    <a:pt x="8771" y="27291"/>
                  </a:cubicBezTo>
                  <a:cubicBezTo>
                    <a:pt x="22506" y="5591"/>
                    <a:pt x="48592" y="-4797"/>
                    <a:pt x="72023" y="2128"/>
                  </a:cubicBezTo>
                  <a:cubicBezTo>
                    <a:pt x="98455" y="9862"/>
                    <a:pt x="114153" y="29945"/>
                    <a:pt x="114268" y="56377"/>
                  </a:cubicBezTo>
                  <a:cubicBezTo>
                    <a:pt x="114268" y="63995"/>
                    <a:pt x="113575" y="71498"/>
                    <a:pt x="113229" y="79116"/>
                  </a:cubicBezTo>
                  <a:cubicBezTo>
                    <a:pt x="112421" y="81886"/>
                    <a:pt x="111613" y="84541"/>
                    <a:pt x="110690" y="87311"/>
                  </a:cubicBezTo>
                  <a:close/>
                  <a:moveTo>
                    <a:pt x="82296" y="48875"/>
                  </a:moveTo>
                  <a:cubicBezTo>
                    <a:pt x="84258" y="46797"/>
                    <a:pt x="90837" y="42526"/>
                    <a:pt x="92107" y="37102"/>
                  </a:cubicBezTo>
                  <a:cubicBezTo>
                    <a:pt x="93953" y="29022"/>
                    <a:pt x="77910" y="15864"/>
                    <a:pt x="67060" y="17133"/>
                  </a:cubicBezTo>
                  <a:cubicBezTo>
                    <a:pt x="61750" y="17710"/>
                    <a:pt x="54132" y="23135"/>
                    <a:pt x="52863" y="27868"/>
                  </a:cubicBezTo>
                  <a:cubicBezTo>
                    <a:pt x="50554" y="36640"/>
                    <a:pt x="65559" y="48528"/>
                    <a:pt x="82296" y="48875"/>
                  </a:cubicBezTo>
                  <a:close/>
                </a:path>
              </a:pathLst>
            </a:custGeom>
            <a:solidFill>
              <a:srgbClr val="000000"/>
            </a:solidFill>
            <a:ln w="11540" cap="flat">
              <a:noFill/>
              <a:prstDash val="solid"/>
              <a:miter/>
            </a:ln>
          </p:spPr>
          <p:txBody>
            <a:bodyPr rtlCol="0" anchor="ctr"/>
            <a:lstStyle/>
            <a:p>
              <a:pPr defTabSz="1219170"/>
              <a:endParaRPr lang="en-US" sz="2400">
                <a:solidFill>
                  <a:srgbClr val="102B62"/>
                </a:solidFill>
                <a:latin typeface="Arial"/>
              </a:endParaRPr>
            </a:p>
          </p:txBody>
        </p:sp>
        <p:sp>
          <p:nvSpPr>
            <p:cNvPr id="25" name="Freeform: Shape 24">
              <a:extLst>
                <a:ext uri="{FF2B5EF4-FFF2-40B4-BE49-F238E27FC236}">
                  <a16:creationId xmlns:a16="http://schemas.microsoft.com/office/drawing/2014/main" id="{DAA1EB1A-D9A4-4DC5-A0D4-05CC75672886}"/>
                </a:ext>
              </a:extLst>
            </p:cNvPr>
            <p:cNvSpPr/>
            <p:nvPr/>
          </p:nvSpPr>
          <p:spPr>
            <a:xfrm>
              <a:off x="5751616" y="1496811"/>
              <a:ext cx="103881" cy="103881"/>
            </a:xfrm>
            <a:custGeom>
              <a:avLst/>
              <a:gdLst>
                <a:gd name="connsiteX0" fmla="*/ 55804 w 103881"/>
                <a:gd name="connsiteY0" fmla="*/ 114385 h 103880"/>
                <a:gd name="connsiteX1" fmla="*/ 55 w 103881"/>
                <a:gd name="connsiteY1" fmla="*/ 58174 h 103880"/>
                <a:gd name="connsiteX2" fmla="*/ 58459 w 103881"/>
                <a:gd name="connsiteY2" fmla="*/ 0 h 103880"/>
                <a:gd name="connsiteX3" fmla="*/ 115363 w 103881"/>
                <a:gd name="connsiteY3" fmla="*/ 57597 h 103880"/>
                <a:gd name="connsiteX4" fmla="*/ 55804 w 103881"/>
                <a:gd name="connsiteY4" fmla="*/ 114385 h 103880"/>
                <a:gd name="connsiteX5" fmla="*/ 60652 w 103881"/>
                <a:gd name="connsiteY5" fmla="*/ 16391 h 103880"/>
                <a:gd name="connsiteX6" fmla="*/ 51880 w 103881"/>
                <a:gd name="connsiteY6" fmla="*/ 28279 h 103880"/>
                <a:gd name="connsiteX7" fmla="*/ 76927 w 103881"/>
                <a:gd name="connsiteY7" fmla="*/ 48017 h 103880"/>
                <a:gd name="connsiteX8" fmla="*/ 89854 w 103881"/>
                <a:gd name="connsiteY8" fmla="*/ 36474 h 103880"/>
                <a:gd name="connsiteX9" fmla="*/ 60652 w 103881"/>
                <a:gd name="connsiteY9" fmla="*/ 16391 h 103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881" h="103880">
                  <a:moveTo>
                    <a:pt x="55804" y="114385"/>
                  </a:moveTo>
                  <a:cubicBezTo>
                    <a:pt x="22909" y="114269"/>
                    <a:pt x="1555" y="91531"/>
                    <a:pt x="55" y="58174"/>
                  </a:cubicBezTo>
                  <a:cubicBezTo>
                    <a:pt x="-1446" y="23778"/>
                    <a:pt x="28103" y="-115"/>
                    <a:pt x="58459" y="0"/>
                  </a:cubicBezTo>
                  <a:cubicBezTo>
                    <a:pt x="88007" y="116"/>
                    <a:pt x="115478" y="27933"/>
                    <a:pt x="115363" y="57597"/>
                  </a:cubicBezTo>
                  <a:cubicBezTo>
                    <a:pt x="115247" y="85067"/>
                    <a:pt x="91008" y="118540"/>
                    <a:pt x="55804" y="114385"/>
                  </a:cubicBezTo>
                  <a:close/>
                  <a:moveTo>
                    <a:pt x="60652" y="16391"/>
                  </a:moveTo>
                  <a:cubicBezTo>
                    <a:pt x="58805" y="18699"/>
                    <a:pt x="52919" y="22970"/>
                    <a:pt x="51880" y="28279"/>
                  </a:cubicBezTo>
                  <a:cubicBezTo>
                    <a:pt x="50149" y="37167"/>
                    <a:pt x="65615" y="49632"/>
                    <a:pt x="76927" y="48017"/>
                  </a:cubicBezTo>
                  <a:cubicBezTo>
                    <a:pt x="81890" y="47324"/>
                    <a:pt x="89046" y="41091"/>
                    <a:pt x="89854" y="36474"/>
                  </a:cubicBezTo>
                  <a:cubicBezTo>
                    <a:pt x="91586" y="26432"/>
                    <a:pt x="77388" y="16044"/>
                    <a:pt x="60652" y="16391"/>
                  </a:cubicBezTo>
                  <a:close/>
                </a:path>
              </a:pathLst>
            </a:custGeom>
            <a:solidFill>
              <a:srgbClr val="000000"/>
            </a:solidFill>
            <a:ln w="11540" cap="flat">
              <a:noFill/>
              <a:prstDash val="solid"/>
              <a:miter/>
            </a:ln>
          </p:spPr>
          <p:txBody>
            <a:bodyPr rtlCol="0" anchor="ctr"/>
            <a:lstStyle/>
            <a:p>
              <a:pPr defTabSz="1219170"/>
              <a:endParaRPr lang="en-US" sz="2400">
                <a:solidFill>
                  <a:srgbClr val="102B62"/>
                </a:solidFill>
                <a:latin typeface="Arial"/>
              </a:endParaRPr>
            </a:p>
          </p:txBody>
        </p:sp>
        <p:sp>
          <p:nvSpPr>
            <p:cNvPr id="26" name="Freeform: Shape 25">
              <a:extLst>
                <a:ext uri="{FF2B5EF4-FFF2-40B4-BE49-F238E27FC236}">
                  <a16:creationId xmlns:a16="http://schemas.microsoft.com/office/drawing/2014/main" id="{CF7EE7BC-FBAA-4F70-96A8-BA018F1924C7}"/>
                </a:ext>
              </a:extLst>
            </p:cNvPr>
            <p:cNvSpPr/>
            <p:nvPr/>
          </p:nvSpPr>
          <p:spPr>
            <a:xfrm>
              <a:off x="5934502" y="1404423"/>
              <a:ext cx="103881" cy="115423"/>
            </a:xfrm>
            <a:custGeom>
              <a:avLst/>
              <a:gdLst>
                <a:gd name="connsiteX0" fmla="*/ 102381 w 103881"/>
                <a:gd name="connsiteY0" fmla="*/ 98160 h 115423"/>
                <a:gd name="connsiteX1" fmla="*/ 92916 w 103881"/>
                <a:gd name="connsiteY1" fmla="*/ 103815 h 115423"/>
                <a:gd name="connsiteX2" fmla="*/ 14774 w 103881"/>
                <a:gd name="connsiteY2" fmla="*/ 97698 h 115423"/>
                <a:gd name="connsiteX3" fmla="*/ 4386 w 103881"/>
                <a:gd name="connsiteY3" fmla="*/ 88349 h 115423"/>
                <a:gd name="connsiteX4" fmla="*/ 3232 w 103881"/>
                <a:gd name="connsiteY4" fmla="*/ 77153 h 115423"/>
                <a:gd name="connsiteX5" fmla="*/ 35435 w 103881"/>
                <a:gd name="connsiteY5" fmla="*/ 4782 h 115423"/>
                <a:gd name="connsiteX6" fmla="*/ 106767 w 103881"/>
                <a:gd name="connsiteY6" fmla="*/ 29252 h 115423"/>
                <a:gd name="connsiteX7" fmla="*/ 107459 w 103881"/>
                <a:gd name="connsiteY7" fmla="*/ 87079 h 115423"/>
                <a:gd name="connsiteX8" fmla="*/ 102034 w 103881"/>
                <a:gd name="connsiteY8" fmla="*/ 98391 h 115423"/>
                <a:gd name="connsiteX9" fmla="*/ 102381 w 103881"/>
                <a:gd name="connsiteY9" fmla="*/ 98160 h 115423"/>
                <a:gd name="connsiteX10" fmla="*/ 81835 w 103881"/>
                <a:gd name="connsiteY10" fmla="*/ 48989 h 115423"/>
                <a:gd name="connsiteX11" fmla="*/ 91185 w 103881"/>
                <a:gd name="connsiteY11" fmla="*/ 38024 h 115423"/>
                <a:gd name="connsiteX12" fmla="*/ 66830 w 103881"/>
                <a:gd name="connsiteY12" fmla="*/ 17479 h 115423"/>
                <a:gd name="connsiteX13" fmla="*/ 52633 w 103881"/>
                <a:gd name="connsiteY13" fmla="*/ 28559 h 115423"/>
                <a:gd name="connsiteX14" fmla="*/ 81835 w 103881"/>
                <a:gd name="connsiteY14" fmla="*/ 48989 h 11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3881" h="115423">
                  <a:moveTo>
                    <a:pt x="102381" y="98160"/>
                  </a:moveTo>
                  <a:cubicBezTo>
                    <a:pt x="99264" y="100006"/>
                    <a:pt x="95802" y="101622"/>
                    <a:pt x="92916" y="103815"/>
                  </a:cubicBezTo>
                  <a:cubicBezTo>
                    <a:pt x="67407" y="122745"/>
                    <a:pt x="36820" y="120321"/>
                    <a:pt x="14774" y="97698"/>
                  </a:cubicBezTo>
                  <a:cubicBezTo>
                    <a:pt x="11543" y="94351"/>
                    <a:pt x="7849" y="91465"/>
                    <a:pt x="4386" y="88349"/>
                  </a:cubicBezTo>
                  <a:cubicBezTo>
                    <a:pt x="4040" y="84655"/>
                    <a:pt x="3578" y="80846"/>
                    <a:pt x="3232" y="77153"/>
                  </a:cubicBezTo>
                  <a:cubicBezTo>
                    <a:pt x="-6348" y="45180"/>
                    <a:pt x="5656" y="18171"/>
                    <a:pt x="35435" y="4782"/>
                  </a:cubicBezTo>
                  <a:cubicBezTo>
                    <a:pt x="61175" y="-6760"/>
                    <a:pt x="91762" y="3051"/>
                    <a:pt x="106767" y="29252"/>
                  </a:cubicBezTo>
                  <a:cubicBezTo>
                    <a:pt x="117501" y="47835"/>
                    <a:pt x="115770" y="67688"/>
                    <a:pt x="107459" y="87079"/>
                  </a:cubicBezTo>
                  <a:cubicBezTo>
                    <a:pt x="105843" y="90888"/>
                    <a:pt x="103881" y="94697"/>
                    <a:pt x="102034" y="98391"/>
                  </a:cubicBezTo>
                  <a:cubicBezTo>
                    <a:pt x="102150" y="98506"/>
                    <a:pt x="102381" y="98160"/>
                    <a:pt x="102381" y="98160"/>
                  </a:cubicBezTo>
                  <a:close/>
                  <a:moveTo>
                    <a:pt x="81835" y="48989"/>
                  </a:moveTo>
                  <a:cubicBezTo>
                    <a:pt x="83682" y="46912"/>
                    <a:pt x="89915" y="43103"/>
                    <a:pt x="91185" y="38024"/>
                  </a:cubicBezTo>
                  <a:cubicBezTo>
                    <a:pt x="93378" y="29137"/>
                    <a:pt x="78488" y="16209"/>
                    <a:pt x="66830" y="17479"/>
                  </a:cubicBezTo>
                  <a:cubicBezTo>
                    <a:pt x="61521" y="18056"/>
                    <a:pt x="53903" y="23712"/>
                    <a:pt x="52633" y="28559"/>
                  </a:cubicBezTo>
                  <a:cubicBezTo>
                    <a:pt x="50209" y="37562"/>
                    <a:pt x="64984" y="48989"/>
                    <a:pt x="81835" y="48989"/>
                  </a:cubicBezTo>
                  <a:close/>
                </a:path>
              </a:pathLst>
            </a:custGeom>
            <a:solidFill>
              <a:srgbClr val="000000"/>
            </a:solidFill>
            <a:ln w="11540" cap="flat">
              <a:noFill/>
              <a:prstDash val="solid"/>
              <a:miter/>
            </a:ln>
          </p:spPr>
          <p:txBody>
            <a:bodyPr rtlCol="0" anchor="ctr"/>
            <a:lstStyle/>
            <a:p>
              <a:pPr defTabSz="1219170"/>
              <a:endParaRPr lang="en-US" sz="2400">
                <a:solidFill>
                  <a:srgbClr val="102B62"/>
                </a:solidFill>
                <a:latin typeface="Arial"/>
              </a:endParaRPr>
            </a:p>
          </p:txBody>
        </p:sp>
        <p:sp>
          <p:nvSpPr>
            <p:cNvPr id="27" name="Freeform: Shape 26">
              <a:extLst>
                <a:ext uri="{FF2B5EF4-FFF2-40B4-BE49-F238E27FC236}">
                  <a16:creationId xmlns:a16="http://schemas.microsoft.com/office/drawing/2014/main" id="{06121A7F-41C6-46FB-9505-17FC8AC71B88}"/>
                </a:ext>
              </a:extLst>
            </p:cNvPr>
            <p:cNvSpPr/>
            <p:nvPr/>
          </p:nvSpPr>
          <p:spPr>
            <a:xfrm>
              <a:off x="6100965" y="1500788"/>
              <a:ext cx="103881" cy="103881"/>
            </a:xfrm>
            <a:custGeom>
              <a:avLst/>
              <a:gdLst>
                <a:gd name="connsiteX0" fmla="*/ 10249 w 103881"/>
                <a:gd name="connsiteY0" fmla="*/ 22225 h 103880"/>
                <a:gd name="connsiteX1" fmla="*/ 93585 w 103881"/>
                <a:gd name="connsiteY1" fmla="*/ 12644 h 103880"/>
                <a:gd name="connsiteX2" fmla="*/ 108590 w 103881"/>
                <a:gd name="connsiteY2" fmla="*/ 85592 h 103880"/>
                <a:gd name="connsiteX3" fmla="*/ 39105 w 103881"/>
                <a:gd name="connsiteY3" fmla="*/ 111909 h 103880"/>
                <a:gd name="connsiteX4" fmla="*/ 1246 w 103881"/>
                <a:gd name="connsiteY4" fmla="*/ 46810 h 103880"/>
                <a:gd name="connsiteX5" fmla="*/ 4594 w 103881"/>
                <a:gd name="connsiteY5" fmla="*/ 30881 h 103880"/>
                <a:gd name="connsiteX6" fmla="*/ 10249 w 103881"/>
                <a:gd name="connsiteY6" fmla="*/ 22225 h 103880"/>
                <a:gd name="connsiteX7" fmla="*/ 62883 w 103881"/>
                <a:gd name="connsiteY7" fmla="*/ 16107 h 103880"/>
                <a:gd name="connsiteX8" fmla="*/ 53533 w 103881"/>
                <a:gd name="connsiteY8" fmla="*/ 27534 h 103880"/>
                <a:gd name="connsiteX9" fmla="*/ 77310 w 103881"/>
                <a:gd name="connsiteY9" fmla="*/ 49003 h 103880"/>
                <a:gd name="connsiteX10" fmla="*/ 90930 w 103881"/>
                <a:gd name="connsiteY10" fmla="*/ 37461 h 103880"/>
                <a:gd name="connsiteX11" fmla="*/ 62883 w 103881"/>
                <a:gd name="connsiteY11" fmla="*/ 16107 h 103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3881" h="103880">
                  <a:moveTo>
                    <a:pt x="10249" y="22225"/>
                  </a:moveTo>
                  <a:cubicBezTo>
                    <a:pt x="39682" y="-3746"/>
                    <a:pt x="68192" y="-6977"/>
                    <a:pt x="93585" y="12644"/>
                  </a:cubicBezTo>
                  <a:cubicBezTo>
                    <a:pt x="115169" y="29381"/>
                    <a:pt x="121748" y="61353"/>
                    <a:pt x="108590" y="85592"/>
                  </a:cubicBezTo>
                  <a:cubicBezTo>
                    <a:pt x="95086" y="110293"/>
                    <a:pt x="65306" y="121604"/>
                    <a:pt x="39105" y="111909"/>
                  </a:cubicBezTo>
                  <a:cubicBezTo>
                    <a:pt x="10711" y="101405"/>
                    <a:pt x="-4640" y="75204"/>
                    <a:pt x="1246" y="46810"/>
                  </a:cubicBezTo>
                  <a:cubicBezTo>
                    <a:pt x="2285" y="41500"/>
                    <a:pt x="3439" y="36191"/>
                    <a:pt x="4594" y="30881"/>
                  </a:cubicBezTo>
                  <a:cubicBezTo>
                    <a:pt x="6440" y="27996"/>
                    <a:pt x="8403" y="25110"/>
                    <a:pt x="10249" y="22225"/>
                  </a:cubicBezTo>
                  <a:close/>
                  <a:moveTo>
                    <a:pt x="62883" y="16107"/>
                  </a:moveTo>
                  <a:cubicBezTo>
                    <a:pt x="60805" y="18416"/>
                    <a:pt x="54803" y="22455"/>
                    <a:pt x="53533" y="27534"/>
                  </a:cubicBezTo>
                  <a:cubicBezTo>
                    <a:pt x="51456" y="35960"/>
                    <a:pt x="66922" y="50272"/>
                    <a:pt x="77310" y="49003"/>
                  </a:cubicBezTo>
                  <a:cubicBezTo>
                    <a:pt x="82504" y="48310"/>
                    <a:pt x="89661" y="42424"/>
                    <a:pt x="90930" y="37461"/>
                  </a:cubicBezTo>
                  <a:cubicBezTo>
                    <a:pt x="93470" y="27650"/>
                    <a:pt x="80196" y="16684"/>
                    <a:pt x="62883" y="16107"/>
                  </a:cubicBezTo>
                  <a:close/>
                </a:path>
              </a:pathLst>
            </a:custGeom>
            <a:solidFill>
              <a:srgbClr val="000000"/>
            </a:solidFill>
            <a:ln w="11540" cap="flat">
              <a:noFill/>
              <a:prstDash val="solid"/>
              <a:miter/>
            </a:ln>
          </p:spPr>
          <p:txBody>
            <a:bodyPr rtlCol="0" anchor="ctr"/>
            <a:lstStyle/>
            <a:p>
              <a:pPr defTabSz="1219170"/>
              <a:endParaRPr lang="en-US" sz="2400">
                <a:solidFill>
                  <a:srgbClr val="102B62"/>
                </a:solidFill>
                <a:latin typeface="Arial"/>
              </a:endParaRPr>
            </a:p>
          </p:txBody>
        </p:sp>
        <p:sp>
          <p:nvSpPr>
            <p:cNvPr id="30" name="Freeform: Shape 29">
              <a:extLst>
                <a:ext uri="{FF2B5EF4-FFF2-40B4-BE49-F238E27FC236}">
                  <a16:creationId xmlns:a16="http://schemas.microsoft.com/office/drawing/2014/main" id="{5BBE8A2E-8ECA-44E0-8A3F-C4E319CE1471}"/>
                </a:ext>
              </a:extLst>
            </p:cNvPr>
            <p:cNvSpPr/>
            <p:nvPr/>
          </p:nvSpPr>
          <p:spPr>
            <a:xfrm>
              <a:off x="5934754" y="1799410"/>
              <a:ext cx="103881" cy="115423"/>
            </a:xfrm>
            <a:custGeom>
              <a:avLst/>
              <a:gdLst>
                <a:gd name="connsiteX0" fmla="*/ 14176 w 103881"/>
                <a:gd name="connsiteY0" fmla="*/ 15854 h 115423"/>
                <a:gd name="connsiteX1" fmla="*/ 29412 w 103881"/>
                <a:gd name="connsiteY1" fmla="*/ 7313 h 115423"/>
                <a:gd name="connsiteX2" fmla="*/ 100166 w 103881"/>
                <a:gd name="connsiteY2" fmla="*/ 19086 h 115423"/>
                <a:gd name="connsiteX3" fmla="*/ 108708 w 103881"/>
                <a:gd name="connsiteY3" fmla="*/ 25781 h 115423"/>
                <a:gd name="connsiteX4" fmla="*/ 108477 w 103881"/>
                <a:gd name="connsiteY4" fmla="*/ 25550 h 115423"/>
                <a:gd name="connsiteX5" fmla="*/ 112632 w 103881"/>
                <a:gd name="connsiteY5" fmla="*/ 69988 h 115423"/>
                <a:gd name="connsiteX6" fmla="*/ 74081 w 103881"/>
                <a:gd name="connsiteY6" fmla="*/ 113272 h 115423"/>
                <a:gd name="connsiteX7" fmla="*/ 10598 w 103881"/>
                <a:gd name="connsiteY7" fmla="*/ 91341 h 115423"/>
                <a:gd name="connsiteX8" fmla="*/ 7250 w 103881"/>
                <a:gd name="connsiteY8" fmla="*/ 29821 h 115423"/>
                <a:gd name="connsiteX9" fmla="*/ 14407 w 103881"/>
                <a:gd name="connsiteY9" fmla="*/ 15508 h 115423"/>
                <a:gd name="connsiteX10" fmla="*/ 14176 w 103881"/>
                <a:gd name="connsiteY10" fmla="*/ 15854 h 115423"/>
                <a:gd name="connsiteX11" fmla="*/ 82853 w 103881"/>
                <a:gd name="connsiteY11" fmla="*/ 48404 h 115423"/>
                <a:gd name="connsiteX12" fmla="*/ 91048 w 103881"/>
                <a:gd name="connsiteY12" fmla="*/ 35938 h 115423"/>
                <a:gd name="connsiteX13" fmla="*/ 65885 w 103881"/>
                <a:gd name="connsiteY13" fmla="*/ 16316 h 115423"/>
                <a:gd name="connsiteX14" fmla="*/ 52958 w 103881"/>
                <a:gd name="connsiteY14" fmla="*/ 28436 h 115423"/>
                <a:gd name="connsiteX15" fmla="*/ 82853 w 103881"/>
                <a:gd name="connsiteY15" fmla="*/ 48404 h 11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3881" h="115423">
                  <a:moveTo>
                    <a:pt x="14176" y="15854"/>
                  </a:moveTo>
                  <a:cubicBezTo>
                    <a:pt x="19254" y="12969"/>
                    <a:pt x="24218" y="9968"/>
                    <a:pt x="29412" y="7313"/>
                  </a:cubicBezTo>
                  <a:cubicBezTo>
                    <a:pt x="54343" y="-5614"/>
                    <a:pt x="80083" y="-1228"/>
                    <a:pt x="100166" y="19086"/>
                  </a:cubicBezTo>
                  <a:cubicBezTo>
                    <a:pt x="102706" y="21626"/>
                    <a:pt x="105822" y="23588"/>
                    <a:pt x="108708" y="25781"/>
                  </a:cubicBezTo>
                  <a:cubicBezTo>
                    <a:pt x="108708" y="25781"/>
                    <a:pt x="108477" y="25550"/>
                    <a:pt x="108477" y="25550"/>
                  </a:cubicBezTo>
                  <a:cubicBezTo>
                    <a:pt x="109977" y="40324"/>
                    <a:pt x="113555" y="55329"/>
                    <a:pt x="112632" y="69988"/>
                  </a:cubicBezTo>
                  <a:cubicBezTo>
                    <a:pt x="111131" y="93303"/>
                    <a:pt x="94626" y="106923"/>
                    <a:pt x="74081" y="113272"/>
                  </a:cubicBezTo>
                  <a:cubicBezTo>
                    <a:pt x="49726" y="120890"/>
                    <a:pt x="24218" y="111194"/>
                    <a:pt x="10598" y="91341"/>
                  </a:cubicBezTo>
                  <a:cubicBezTo>
                    <a:pt x="-2791" y="71719"/>
                    <a:pt x="-3022" y="50943"/>
                    <a:pt x="7250" y="29821"/>
                  </a:cubicBezTo>
                  <a:cubicBezTo>
                    <a:pt x="9559" y="25088"/>
                    <a:pt x="11983" y="20356"/>
                    <a:pt x="14407" y="15508"/>
                  </a:cubicBezTo>
                  <a:cubicBezTo>
                    <a:pt x="14291" y="15508"/>
                    <a:pt x="14176" y="15854"/>
                    <a:pt x="14176" y="15854"/>
                  </a:cubicBezTo>
                  <a:close/>
                  <a:moveTo>
                    <a:pt x="82853" y="48404"/>
                  </a:moveTo>
                  <a:cubicBezTo>
                    <a:pt x="84700" y="45749"/>
                    <a:pt x="90471" y="41132"/>
                    <a:pt x="91048" y="35938"/>
                  </a:cubicBezTo>
                  <a:cubicBezTo>
                    <a:pt x="92202" y="25896"/>
                    <a:pt x="78351" y="16316"/>
                    <a:pt x="65885" y="16316"/>
                  </a:cubicBezTo>
                  <a:cubicBezTo>
                    <a:pt x="57344" y="16316"/>
                    <a:pt x="52496" y="19317"/>
                    <a:pt x="52958" y="28436"/>
                  </a:cubicBezTo>
                  <a:cubicBezTo>
                    <a:pt x="53420" y="38593"/>
                    <a:pt x="66347" y="48981"/>
                    <a:pt x="82853" y="48404"/>
                  </a:cubicBezTo>
                  <a:close/>
                </a:path>
              </a:pathLst>
            </a:custGeom>
            <a:solidFill>
              <a:srgbClr val="000000"/>
            </a:solidFill>
            <a:ln w="11540" cap="flat">
              <a:noFill/>
              <a:prstDash val="solid"/>
              <a:miter/>
            </a:ln>
          </p:spPr>
          <p:txBody>
            <a:bodyPr rtlCol="0" anchor="ctr"/>
            <a:lstStyle/>
            <a:p>
              <a:pPr defTabSz="1219170"/>
              <a:endParaRPr lang="en-US" sz="2400">
                <a:solidFill>
                  <a:srgbClr val="102B62"/>
                </a:solidFill>
                <a:latin typeface="Arial"/>
              </a:endParaRPr>
            </a:p>
          </p:txBody>
        </p:sp>
        <p:sp>
          <p:nvSpPr>
            <p:cNvPr id="33" name="Freeform: Shape 32">
              <a:extLst>
                <a:ext uri="{FF2B5EF4-FFF2-40B4-BE49-F238E27FC236}">
                  <a16:creationId xmlns:a16="http://schemas.microsoft.com/office/drawing/2014/main" id="{A776B8A8-9F74-4CC0-9435-CE63C480348A}"/>
                </a:ext>
              </a:extLst>
            </p:cNvPr>
            <p:cNvSpPr/>
            <p:nvPr/>
          </p:nvSpPr>
          <p:spPr>
            <a:xfrm>
              <a:off x="6105133" y="2112595"/>
              <a:ext cx="103881" cy="92339"/>
            </a:xfrm>
            <a:custGeom>
              <a:avLst/>
              <a:gdLst>
                <a:gd name="connsiteX0" fmla="*/ 107308 w 103881"/>
                <a:gd name="connsiteY0" fmla="*/ 8541 h 92338"/>
                <a:gd name="connsiteX1" fmla="*/ 114695 w 103881"/>
                <a:gd name="connsiteY1" fmla="*/ 55172 h 92338"/>
                <a:gd name="connsiteX2" fmla="*/ 55598 w 103881"/>
                <a:gd name="connsiteY2" fmla="*/ 101803 h 92338"/>
                <a:gd name="connsiteX3" fmla="*/ 80 w 103881"/>
                <a:gd name="connsiteY3" fmla="*/ 45592 h 92338"/>
                <a:gd name="connsiteX4" fmla="*/ 16124 w 103881"/>
                <a:gd name="connsiteY4" fmla="*/ 21353 h 92338"/>
                <a:gd name="connsiteX5" fmla="*/ 37939 w 103881"/>
                <a:gd name="connsiteY5" fmla="*/ 15698 h 92338"/>
                <a:gd name="connsiteX6" fmla="*/ 56753 w 103881"/>
                <a:gd name="connsiteY6" fmla="*/ 22738 h 92338"/>
                <a:gd name="connsiteX7" fmla="*/ 67833 w 103881"/>
                <a:gd name="connsiteY7" fmla="*/ 31511 h 92338"/>
                <a:gd name="connsiteX8" fmla="*/ 90341 w 103881"/>
                <a:gd name="connsiteY8" fmla="*/ 30241 h 92338"/>
                <a:gd name="connsiteX9" fmla="*/ 87455 w 103881"/>
                <a:gd name="connsiteY9" fmla="*/ 11658 h 92338"/>
                <a:gd name="connsiteX10" fmla="*/ 87340 w 103881"/>
                <a:gd name="connsiteY10" fmla="*/ 0 h 92338"/>
                <a:gd name="connsiteX11" fmla="*/ 107423 w 103881"/>
                <a:gd name="connsiteY11" fmla="*/ 8772 h 92338"/>
                <a:gd name="connsiteX12" fmla="*/ 107308 w 103881"/>
                <a:gd name="connsiteY12" fmla="*/ 8541 h 9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3881" h="92338">
                  <a:moveTo>
                    <a:pt x="107308" y="8541"/>
                  </a:moveTo>
                  <a:cubicBezTo>
                    <a:pt x="110078" y="24123"/>
                    <a:pt x="116426" y="40052"/>
                    <a:pt x="114695" y="55172"/>
                  </a:cubicBezTo>
                  <a:cubicBezTo>
                    <a:pt x="111463" y="83336"/>
                    <a:pt x="82607" y="103996"/>
                    <a:pt x="55598" y="101803"/>
                  </a:cubicBezTo>
                  <a:cubicBezTo>
                    <a:pt x="25819" y="99264"/>
                    <a:pt x="1580" y="74679"/>
                    <a:pt x="80" y="45592"/>
                  </a:cubicBezTo>
                  <a:cubicBezTo>
                    <a:pt x="-613" y="33357"/>
                    <a:pt x="3081" y="24470"/>
                    <a:pt x="16124" y="21353"/>
                  </a:cubicBezTo>
                  <a:cubicBezTo>
                    <a:pt x="23511" y="19622"/>
                    <a:pt x="30667" y="15698"/>
                    <a:pt x="37939" y="15698"/>
                  </a:cubicBezTo>
                  <a:cubicBezTo>
                    <a:pt x="44287" y="15813"/>
                    <a:pt x="50866" y="19507"/>
                    <a:pt x="56753" y="22738"/>
                  </a:cubicBezTo>
                  <a:cubicBezTo>
                    <a:pt x="60908" y="24931"/>
                    <a:pt x="63909" y="30933"/>
                    <a:pt x="67833" y="31511"/>
                  </a:cubicBezTo>
                  <a:cubicBezTo>
                    <a:pt x="75105" y="32549"/>
                    <a:pt x="82838" y="30818"/>
                    <a:pt x="90341" y="30241"/>
                  </a:cubicBezTo>
                  <a:cubicBezTo>
                    <a:pt x="89417" y="24008"/>
                    <a:pt x="88609" y="17775"/>
                    <a:pt x="87455" y="11658"/>
                  </a:cubicBezTo>
                  <a:cubicBezTo>
                    <a:pt x="86993" y="9118"/>
                    <a:pt x="85724" y="6810"/>
                    <a:pt x="87340" y="0"/>
                  </a:cubicBezTo>
                  <a:cubicBezTo>
                    <a:pt x="94034" y="2886"/>
                    <a:pt x="100729" y="5887"/>
                    <a:pt x="107423" y="8772"/>
                  </a:cubicBezTo>
                  <a:lnTo>
                    <a:pt x="107308" y="8541"/>
                  </a:lnTo>
                  <a:close/>
                </a:path>
              </a:pathLst>
            </a:custGeom>
            <a:solidFill>
              <a:srgbClr val="000000"/>
            </a:solidFill>
            <a:ln w="11540" cap="flat">
              <a:noFill/>
              <a:prstDash val="solid"/>
              <a:miter/>
            </a:ln>
          </p:spPr>
          <p:txBody>
            <a:bodyPr rtlCol="0" anchor="ctr"/>
            <a:lstStyle/>
            <a:p>
              <a:pPr defTabSz="1219170"/>
              <a:endParaRPr lang="en-US" sz="2400">
                <a:solidFill>
                  <a:srgbClr val="102B62"/>
                </a:solidFill>
                <a:latin typeface="Arial"/>
              </a:endParaRPr>
            </a:p>
          </p:txBody>
        </p:sp>
        <p:sp>
          <p:nvSpPr>
            <p:cNvPr id="35" name="Freeform: Shape 34">
              <a:extLst>
                <a:ext uri="{FF2B5EF4-FFF2-40B4-BE49-F238E27FC236}">
                  <a16:creationId xmlns:a16="http://schemas.microsoft.com/office/drawing/2014/main" id="{9C2E05AF-5DA2-4C3C-805A-8B1C8F8C1C65}"/>
                </a:ext>
              </a:extLst>
            </p:cNvPr>
            <p:cNvSpPr/>
            <p:nvPr/>
          </p:nvSpPr>
          <p:spPr>
            <a:xfrm>
              <a:off x="6288166" y="2041243"/>
              <a:ext cx="103881" cy="69254"/>
            </a:xfrm>
            <a:custGeom>
              <a:avLst/>
              <a:gdLst>
                <a:gd name="connsiteX0" fmla="*/ 107452 w 103881"/>
                <a:gd name="connsiteY0" fmla="*/ 16756 h 69253"/>
                <a:gd name="connsiteX1" fmla="*/ 67631 w 103881"/>
                <a:gd name="connsiteY1" fmla="*/ 72967 h 69253"/>
                <a:gd name="connsiteX2" fmla="*/ 5880 w 103881"/>
                <a:gd name="connsiteY2" fmla="*/ 56346 h 69253"/>
                <a:gd name="connsiteX3" fmla="*/ 10381 w 103881"/>
                <a:gd name="connsiteY3" fmla="*/ 36840 h 69253"/>
                <a:gd name="connsiteX4" fmla="*/ 93486 w 103881"/>
                <a:gd name="connsiteY4" fmla="*/ 1867 h 69253"/>
                <a:gd name="connsiteX5" fmla="*/ 107452 w 103881"/>
                <a:gd name="connsiteY5" fmla="*/ 16756 h 69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881" h="69253">
                  <a:moveTo>
                    <a:pt x="107452" y="16756"/>
                  </a:moveTo>
                  <a:cubicBezTo>
                    <a:pt x="107452" y="38687"/>
                    <a:pt x="89331" y="64195"/>
                    <a:pt x="67631" y="72967"/>
                  </a:cubicBezTo>
                  <a:cubicBezTo>
                    <a:pt x="46855" y="81393"/>
                    <a:pt x="22616" y="74814"/>
                    <a:pt x="5880" y="56346"/>
                  </a:cubicBezTo>
                  <a:cubicBezTo>
                    <a:pt x="-1854" y="47805"/>
                    <a:pt x="-3469" y="42034"/>
                    <a:pt x="10381" y="36840"/>
                  </a:cubicBezTo>
                  <a:cubicBezTo>
                    <a:pt x="38429" y="26221"/>
                    <a:pt x="65900" y="13755"/>
                    <a:pt x="93486" y="1867"/>
                  </a:cubicBezTo>
                  <a:cubicBezTo>
                    <a:pt x="103990" y="-2750"/>
                    <a:pt x="107452" y="828"/>
                    <a:pt x="107452" y="16756"/>
                  </a:cubicBezTo>
                  <a:close/>
                </a:path>
              </a:pathLst>
            </a:custGeom>
            <a:solidFill>
              <a:srgbClr val="000000"/>
            </a:solidFill>
            <a:ln w="11540" cap="flat">
              <a:noFill/>
              <a:prstDash val="solid"/>
              <a:miter/>
            </a:ln>
          </p:spPr>
          <p:txBody>
            <a:bodyPr rtlCol="0" anchor="ctr"/>
            <a:lstStyle/>
            <a:p>
              <a:pPr defTabSz="1219170"/>
              <a:endParaRPr lang="en-US" sz="2400">
                <a:solidFill>
                  <a:srgbClr val="102B62"/>
                </a:solidFill>
                <a:latin typeface="Arial"/>
              </a:endParaRPr>
            </a:p>
          </p:txBody>
        </p:sp>
        <p:sp>
          <p:nvSpPr>
            <p:cNvPr id="36" name="Freeform: Shape 35">
              <a:extLst>
                <a:ext uri="{FF2B5EF4-FFF2-40B4-BE49-F238E27FC236}">
                  <a16:creationId xmlns:a16="http://schemas.microsoft.com/office/drawing/2014/main" id="{D552FEE6-9803-45E4-9CC3-C82CD0FBB540}"/>
                </a:ext>
              </a:extLst>
            </p:cNvPr>
            <p:cNvSpPr/>
            <p:nvPr/>
          </p:nvSpPr>
          <p:spPr>
            <a:xfrm>
              <a:off x="5862491" y="1477517"/>
              <a:ext cx="80796" cy="69254"/>
            </a:xfrm>
            <a:custGeom>
              <a:avLst/>
              <a:gdLst>
                <a:gd name="connsiteX0" fmla="*/ 75243 w 80796"/>
                <a:gd name="connsiteY0" fmla="*/ 4058 h 69253"/>
                <a:gd name="connsiteX1" fmla="*/ 76397 w 80796"/>
                <a:gd name="connsiteY1" fmla="*/ 15255 h 69253"/>
                <a:gd name="connsiteX2" fmla="*/ 81937 w 80796"/>
                <a:gd name="connsiteY2" fmla="*/ 28528 h 69253"/>
                <a:gd name="connsiteX3" fmla="*/ 11644 w 80796"/>
                <a:gd name="connsiteY3" fmla="*/ 69388 h 69253"/>
                <a:gd name="connsiteX4" fmla="*/ 8990 w 80796"/>
                <a:gd name="connsiteY4" fmla="*/ 67426 h 69253"/>
                <a:gd name="connsiteX5" fmla="*/ 23187 w 80796"/>
                <a:gd name="connsiteY5" fmla="*/ 22295 h 69253"/>
                <a:gd name="connsiteX6" fmla="*/ 53658 w 80796"/>
                <a:gd name="connsiteY6" fmla="*/ 4058 h 69253"/>
                <a:gd name="connsiteX7" fmla="*/ 75243 w 80796"/>
                <a:gd name="connsiteY7" fmla="*/ 4058 h 69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96" h="69253">
                  <a:moveTo>
                    <a:pt x="75243" y="4058"/>
                  </a:moveTo>
                  <a:cubicBezTo>
                    <a:pt x="75589" y="7752"/>
                    <a:pt x="75935" y="11561"/>
                    <a:pt x="76397" y="15255"/>
                  </a:cubicBezTo>
                  <a:cubicBezTo>
                    <a:pt x="78013" y="19179"/>
                    <a:pt x="79629" y="23103"/>
                    <a:pt x="81937" y="28528"/>
                  </a:cubicBezTo>
                  <a:cubicBezTo>
                    <a:pt x="58275" y="42264"/>
                    <a:pt x="34614" y="55999"/>
                    <a:pt x="11644" y="69388"/>
                  </a:cubicBezTo>
                  <a:cubicBezTo>
                    <a:pt x="9798" y="68003"/>
                    <a:pt x="9220" y="67772"/>
                    <a:pt x="8990" y="67426"/>
                  </a:cubicBezTo>
                  <a:cubicBezTo>
                    <a:pt x="-4746" y="39263"/>
                    <a:pt x="-4746" y="39147"/>
                    <a:pt x="23187" y="22295"/>
                  </a:cubicBezTo>
                  <a:cubicBezTo>
                    <a:pt x="33344" y="16178"/>
                    <a:pt x="44425" y="11330"/>
                    <a:pt x="53658" y="4058"/>
                  </a:cubicBezTo>
                  <a:cubicBezTo>
                    <a:pt x="61738" y="-2290"/>
                    <a:pt x="68086" y="-328"/>
                    <a:pt x="75243" y="4058"/>
                  </a:cubicBezTo>
                  <a:close/>
                </a:path>
              </a:pathLst>
            </a:custGeom>
            <a:solidFill>
              <a:srgbClr val="000000"/>
            </a:solidFill>
            <a:ln w="11540" cap="flat">
              <a:noFill/>
              <a:prstDash val="solid"/>
              <a:miter/>
            </a:ln>
          </p:spPr>
          <p:txBody>
            <a:bodyPr rtlCol="0" anchor="ctr"/>
            <a:lstStyle/>
            <a:p>
              <a:pPr defTabSz="1219170"/>
              <a:endParaRPr lang="en-US" sz="2400">
                <a:solidFill>
                  <a:srgbClr val="102B62"/>
                </a:solidFill>
                <a:latin typeface="Arial"/>
              </a:endParaRPr>
            </a:p>
          </p:txBody>
        </p:sp>
        <p:sp>
          <p:nvSpPr>
            <p:cNvPr id="37" name="Freeform: Shape 36">
              <a:extLst>
                <a:ext uri="{FF2B5EF4-FFF2-40B4-BE49-F238E27FC236}">
                  <a16:creationId xmlns:a16="http://schemas.microsoft.com/office/drawing/2014/main" id="{3C8D6B61-53D4-44C8-A955-9D5C5CC37720}"/>
                </a:ext>
              </a:extLst>
            </p:cNvPr>
            <p:cNvSpPr/>
            <p:nvPr/>
          </p:nvSpPr>
          <p:spPr>
            <a:xfrm>
              <a:off x="5860054" y="1774255"/>
              <a:ext cx="80796" cy="57712"/>
            </a:xfrm>
            <a:custGeom>
              <a:avLst/>
              <a:gdLst>
                <a:gd name="connsiteX0" fmla="*/ 7849 w 80796"/>
                <a:gd name="connsiteY0" fmla="*/ 10769 h 57711"/>
                <a:gd name="connsiteX1" fmla="*/ 10388 w 80796"/>
                <a:gd name="connsiteY1" fmla="*/ 2689 h 57711"/>
                <a:gd name="connsiteX2" fmla="*/ 21584 w 80796"/>
                <a:gd name="connsiteY2" fmla="*/ 381 h 57711"/>
                <a:gd name="connsiteX3" fmla="*/ 88876 w 80796"/>
                <a:gd name="connsiteY3" fmla="*/ 41010 h 57711"/>
                <a:gd name="connsiteX4" fmla="*/ 89107 w 80796"/>
                <a:gd name="connsiteY4" fmla="*/ 40779 h 57711"/>
                <a:gd name="connsiteX5" fmla="*/ 78950 w 80796"/>
                <a:gd name="connsiteY5" fmla="*/ 52898 h 57711"/>
                <a:gd name="connsiteX6" fmla="*/ 54826 w 80796"/>
                <a:gd name="connsiteY6" fmla="*/ 59477 h 57711"/>
                <a:gd name="connsiteX7" fmla="*/ 0 w 80796"/>
                <a:gd name="connsiteY7" fmla="*/ 27390 h 57711"/>
                <a:gd name="connsiteX8" fmla="*/ 7849 w 80796"/>
                <a:gd name="connsiteY8" fmla="*/ 10769 h 5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796" h="57711">
                  <a:moveTo>
                    <a:pt x="7849" y="10769"/>
                  </a:moveTo>
                  <a:cubicBezTo>
                    <a:pt x="8657" y="8114"/>
                    <a:pt x="9465" y="5344"/>
                    <a:pt x="10388" y="2689"/>
                  </a:cubicBezTo>
                  <a:cubicBezTo>
                    <a:pt x="14197" y="1766"/>
                    <a:pt x="19045" y="-1004"/>
                    <a:pt x="21584" y="381"/>
                  </a:cubicBezTo>
                  <a:cubicBezTo>
                    <a:pt x="44207" y="13539"/>
                    <a:pt x="66484" y="27390"/>
                    <a:pt x="88876" y="41010"/>
                  </a:cubicBezTo>
                  <a:cubicBezTo>
                    <a:pt x="88876" y="41010"/>
                    <a:pt x="88991" y="40779"/>
                    <a:pt x="89107" y="40779"/>
                  </a:cubicBezTo>
                  <a:cubicBezTo>
                    <a:pt x="85644" y="44819"/>
                    <a:pt x="80335" y="48281"/>
                    <a:pt x="78950" y="52898"/>
                  </a:cubicBezTo>
                  <a:cubicBezTo>
                    <a:pt x="74217" y="69173"/>
                    <a:pt x="65560" y="65941"/>
                    <a:pt x="54826" y="59477"/>
                  </a:cubicBezTo>
                  <a:cubicBezTo>
                    <a:pt x="36935" y="48628"/>
                    <a:pt x="18814" y="38355"/>
                    <a:pt x="0" y="27390"/>
                  </a:cubicBezTo>
                  <a:cubicBezTo>
                    <a:pt x="2886" y="21042"/>
                    <a:pt x="5425" y="15847"/>
                    <a:pt x="7849" y="10769"/>
                  </a:cubicBezTo>
                  <a:close/>
                </a:path>
              </a:pathLst>
            </a:custGeom>
            <a:solidFill>
              <a:srgbClr val="000000"/>
            </a:solidFill>
            <a:ln w="11540" cap="flat">
              <a:noFill/>
              <a:prstDash val="solid"/>
              <a:miter/>
            </a:ln>
          </p:spPr>
          <p:txBody>
            <a:bodyPr rtlCol="0" anchor="ctr"/>
            <a:lstStyle/>
            <a:p>
              <a:pPr defTabSz="1219170"/>
              <a:endParaRPr lang="en-US" sz="2400">
                <a:solidFill>
                  <a:srgbClr val="102B62"/>
                </a:solidFill>
                <a:latin typeface="Arial"/>
              </a:endParaRPr>
            </a:p>
          </p:txBody>
        </p:sp>
        <p:sp>
          <p:nvSpPr>
            <p:cNvPr id="38" name="Freeform: Shape 37">
              <a:extLst>
                <a:ext uri="{FF2B5EF4-FFF2-40B4-BE49-F238E27FC236}">
                  <a16:creationId xmlns:a16="http://schemas.microsoft.com/office/drawing/2014/main" id="{C186E0D0-7F7C-4474-9480-B5F74D57B78F}"/>
                </a:ext>
              </a:extLst>
            </p:cNvPr>
            <p:cNvSpPr/>
            <p:nvPr/>
          </p:nvSpPr>
          <p:spPr>
            <a:xfrm>
              <a:off x="5681988" y="1770827"/>
              <a:ext cx="69254" cy="57712"/>
            </a:xfrm>
            <a:custGeom>
              <a:avLst/>
              <a:gdLst>
                <a:gd name="connsiteX0" fmla="*/ 66913 w 69254"/>
                <a:gd name="connsiteY0" fmla="*/ 0 h 57711"/>
                <a:gd name="connsiteX1" fmla="*/ 70029 w 69254"/>
                <a:gd name="connsiteY1" fmla="*/ 1847 h 57711"/>
                <a:gd name="connsiteX2" fmla="*/ 55255 w 69254"/>
                <a:gd name="connsiteY2" fmla="*/ 46862 h 57711"/>
                <a:gd name="connsiteX3" fmla="*/ 20166 w 69254"/>
                <a:gd name="connsiteY3" fmla="*/ 67061 h 57711"/>
                <a:gd name="connsiteX4" fmla="*/ 8277 w 69254"/>
                <a:gd name="connsiteY4" fmla="*/ 63252 h 57711"/>
                <a:gd name="connsiteX5" fmla="*/ 17627 w 69254"/>
                <a:gd name="connsiteY5" fmla="*/ 28048 h 57711"/>
                <a:gd name="connsiteX6" fmla="*/ 66913 w 69254"/>
                <a:gd name="connsiteY6" fmla="*/ 0 h 5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254" h="57711">
                  <a:moveTo>
                    <a:pt x="66913" y="0"/>
                  </a:moveTo>
                  <a:cubicBezTo>
                    <a:pt x="69106" y="1385"/>
                    <a:pt x="69798" y="1501"/>
                    <a:pt x="70029" y="1847"/>
                  </a:cubicBezTo>
                  <a:cubicBezTo>
                    <a:pt x="83649" y="30356"/>
                    <a:pt x="83649" y="30356"/>
                    <a:pt x="55255" y="46862"/>
                  </a:cubicBezTo>
                  <a:cubicBezTo>
                    <a:pt x="43597" y="53672"/>
                    <a:pt x="32286" y="61174"/>
                    <a:pt x="20166" y="67061"/>
                  </a:cubicBezTo>
                  <a:cubicBezTo>
                    <a:pt x="17396" y="68446"/>
                    <a:pt x="9778" y="66022"/>
                    <a:pt x="8277" y="63252"/>
                  </a:cubicBezTo>
                  <a:cubicBezTo>
                    <a:pt x="-4188" y="41437"/>
                    <a:pt x="-3727" y="40514"/>
                    <a:pt x="17627" y="28048"/>
                  </a:cubicBezTo>
                  <a:cubicBezTo>
                    <a:pt x="34248" y="18468"/>
                    <a:pt x="51100" y="9118"/>
                    <a:pt x="66913" y="0"/>
                  </a:cubicBezTo>
                  <a:close/>
                </a:path>
              </a:pathLst>
            </a:custGeom>
            <a:solidFill>
              <a:srgbClr val="000000"/>
            </a:solidFill>
            <a:ln w="11540" cap="flat">
              <a:noFill/>
              <a:prstDash val="solid"/>
              <a:miter/>
            </a:ln>
          </p:spPr>
          <p:txBody>
            <a:bodyPr rtlCol="0" anchor="ctr"/>
            <a:lstStyle/>
            <a:p>
              <a:pPr defTabSz="1219170"/>
              <a:endParaRPr lang="en-US" sz="2400">
                <a:solidFill>
                  <a:srgbClr val="102B62"/>
                </a:solidFill>
                <a:latin typeface="Arial"/>
              </a:endParaRPr>
            </a:p>
          </p:txBody>
        </p:sp>
        <p:sp>
          <p:nvSpPr>
            <p:cNvPr id="39" name="Freeform: Shape 38">
              <a:extLst>
                <a:ext uri="{FF2B5EF4-FFF2-40B4-BE49-F238E27FC236}">
                  <a16:creationId xmlns:a16="http://schemas.microsoft.com/office/drawing/2014/main" id="{64A1B28C-41FA-4BD6-8A80-A946B5F14E0A}"/>
                </a:ext>
              </a:extLst>
            </p:cNvPr>
            <p:cNvSpPr/>
            <p:nvPr/>
          </p:nvSpPr>
          <p:spPr>
            <a:xfrm>
              <a:off x="6037429" y="1770249"/>
              <a:ext cx="69254" cy="57712"/>
            </a:xfrm>
            <a:custGeom>
              <a:avLst/>
              <a:gdLst>
                <a:gd name="connsiteX0" fmla="*/ 5917 w 69254"/>
                <a:gd name="connsiteY0" fmla="*/ 54826 h 57711"/>
                <a:gd name="connsiteX1" fmla="*/ 12842 w 69254"/>
                <a:gd name="connsiteY1" fmla="*/ 28510 h 57711"/>
                <a:gd name="connsiteX2" fmla="*/ 62936 w 69254"/>
                <a:gd name="connsiteY2" fmla="*/ 0 h 57711"/>
                <a:gd name="connsiteX3" fmla="*/ 67322 w 69254"/>
                <a:gd name="connsiteY3" fmla="*/ 4848 h 57711"/>
                <a:gd name="connsiteX4" fmla="*/ 50701 w 69254"/>
                <a:gd name="connsiteY4" fmla="*/ 47324 h 57711"/>
                <a:gd name="connsiteX5" fmla="*/ 30040 w 69254"/>
                <a:gd name="connsiteY5" fmla="*/ 60136 h 57711"/>
                <a:gd name="connsiteX6" fmla="*/ 5571 w 69254"/>
                <a:gd name="connsiteY6" fmla="*/ 54595 h 57711"/>
                <a:gd name="connsiteX7" fmla="*/ 5917 w 69254"/>
                <a:gd name="connsiteY7" fmla="*/ 54826 h 5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54" h="57711">
                  <a:moveTo>
                    <a:pt x="5917" y="54826"/>
                  </a:moveTo>
                  <a:cubicBezTo>
                    <a:pt x="-4702" y="42591"/>
                    <a:pt x="-201" y="35204"/>
                    <a:pt x="12842" y="28510"/>
                  </a:cubicBezTo>
                  <a:cubicBezTo>
                    <a:pt x="29925" y="19737"/>
                    <a:pt x="46315" y="9580"/>
                    <a:pt x="62936" y="0"/>
                  </a:cubicBezTo>
                  <a:cubicBezTo>
                    <a:pt x="65360" y="2539"/>
                    <a:pt x="66860" y="3463"/>
                    <a:pt x="67322" y="4848"/>
                  </a:cubicBezTo>
                  <a:cubicBezTo>
                    <a:pt x="76787" y="31857"/>
                    <a:pt x="76787" y="31857"/>
                    <a:pt x="50701" y="47324"/>
                  </a:cubicBezTo>
                  <a:cubicBezTo>
                    <a:pt x="43776" y="51479"/>
                    <a:pt x="36273" y="55057"/>
                    <a:pt x="30040" y="60136"/>
                  </a:cubicBezTo>
                  <a:cubicBezTo>
                    <a:pt x="19075" y="69139"/>
                    <a:pt x="11688" y="65676"/>
                    <a:pt x="5571" y="54595"/>
                  </a:cubicBezTo>
                  <a:cubicBezTo>
                    <a:pt x="5686" y="54595"/>
                    <a:pt x="5917" y="54826"/>
                    <a:pt x="5917" y="54826"/>
                  </a:cubicBezTo>
                  <a:close/>
                </a:path>
              </a:pathLst>
            </a:custGeom>
            <a:solidFill>
              <a:srgbClr val="000000"/>
            </a:solidFill>
            <a:ln w="11540" cap="flat">
              <a:noFill/>
              <a:prstDash val="solid"/>
              <a:miter/>
            </a:ln>
          </p:spPr>
          <p:txBody>
            <a:bodyPr rtlCol="0" anchor="ctr"/>
            <a:lstStyle/>
            <a:p>
              <a:pPr defTabSz="1219170"/>
              <a:endParaRPr lang="en-US" sz="2400">
                <a:solidFill>
                  <a:srgbClr val="102B62"/>
                </a:solidFill>
                <a:latin typeface="Arial"/>
              </a:endParaRPr>
            </a:p>
          </p:txBody>
        </p:sp>
        <p:sp>
          <p:nvSpPr>
            <p:cNvPr id="40" name="Freeform: Shape 39">
              <a:extLst>
                <a:ext uri="{FF2B5EF4-FFF2-40B4-BE49-F238E27FC236}">
                  <a16:creationId xmlns:a16="http://schemas.microsoft.com/office/drawing/2014/main" id="{78B6E854-7AC3-4261-908B-91E775C53BA2}"/>
                </a:ext>
              </a:extLst>
            </p:cNvPr>
            <p:cNvSpPr/>
            <p:nvPr/>
          </p:nvSpPr>
          <p:spPr>
            <a:xfrm>
              <a:off x="6313275" y="1917386"/>
              <a:ext cx="34627" cy="69254"/>
            </a:xfrm>
            <a:custGeom>
              <a:avLst/>
              <a:gdLst>
                <a:gd name="connsiteX0" fmla="*/ 623 w 34627"/>
                <a:gd name="connsiteY0" fmla="*/ 79439 h 69253"/>
                <a:gd name="connsiteX1" fmla="*/ 1200 w 34627"/>
                <a:gd name="connsiteY1" fmla="*/ 8108 h 69253"/>
                <a:gd name="connsiteX2" fmla="*/ 25670 w 34627"/>
                <a:gd name="connsiteY2" fmla="*/ 1298 h 69253"/>
                <a:gd name="connsiteX3" fmla="*/ 35250 w 34627"/>
                <a:gd name="connsiteY3" fmla="*/ 9839 h 69253"/>
                <a:gd name="connsiteX4" fmla="*/ 35135 w 34627"/>
                <a:gd name="connsiteY4" fmla="*/ 60048 h 69253"/>
                <a:gd name="connsiteX5" fmla="*/ 24516 w 34627"/>
                <a:gd name="connsiteY5" fmla="*/ 72283 h 69253"/>
                <a:gd name="connsiteX6" fmla="*/ 623 w 34627"/>
                <a:gd name="connsiteY6" fmla="*/ 79439 h 69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627" h="69253">
                  <a:moveTo>
                    <a:pt x="623" y="79439"/>
                  </a:moveTo>
                  <a:cubicBezTo>
                    <a:pt x="623" y="54046"/>
                    <a:pt x="-1108" y="30846"/>
                    <a:pt x="1200" y="8108"/>
                  </a:cubicBezTo>
                  <a:cubicBezTo>
                    <a:pt x="2701" y="-6897"/>
                    <a:pt x="17475" y="4068"/>
                    <a:pt x="25670" y="1298"/>
                  </a:cubicBezTo>
                  <a:cubicBezTo>
                    <a:pt x="27863" y="605"/>
                    <a:pt x="35135" y="6607"/>
                    <a:pt x="35250" y="9839"/>
                  </a:cubicBezTo>
                  <a:cubicBezTo>
                    <a:pt x="36289" y="26575"/>
                    <a:pt x="36405" y="43427"/>
                    <a:pt x="35135" y="60048"/>
                  </a:cubicBezTo>
                  <a:cubicBezTo>
                    <a:pt x="34789" y="64434"/>
                    <a:pt x="29017" y="69744"/>
                    <a:pt x="24516" y="72283"/>
                  </a:cubicBezTo>
                  <a:cubicBezTo>
                    <a:pt x="18745" y="75399"/>
                    <a:pt x="11473" y="76323"/>
                    <a:pt x="623" y="79439"/>
                  </a:cubicBezTo>
                  <a:close/>
                </a:path>
              </a:pathLst>
            </a:custGeom>
            <a:solidFill>
              <a:srgbClr val="000000"/>
            </a:solidFill>
            <a:ln w="11540" cap="flat">
              <a:noFill/>
              <a:prstDash val="solid"/>
              <a:miter/>
            </a:ln>
          </p:spPr>
          <p:txBody>
            <a:bodyPr rtlCol="0" anchor="ctr"/>
            <a:lstStyle/>
            <a:p>
              <a:pPr defTabSz="1219170"/>
              <a:endParaRPr lang="en-US" sz="2400">
                <a:solidFill>
                  <a:srgbClr val="102B62"/>
                </a:solidFill>
                <a:latin typeface="Arial"/>
              </a:endParaRPr>
            </a:p>
          </p:txBody>
        </p:sp>
        <p:sp>
          <p:nvSpPr>
            <p:cNvPr id="41" name="Freeform: Shape 40">
              <a:extLst>
                <a:ext uri="{FF2B5EF4-FFF2-40B4-BE49-F238E27FC236}">
                  <a16:creationId xmlns:a16="http://schemas.microsoft.com/office/drawing/2014/main" id="{45F48ADE-9110-48F4-81C6-B4F21FCA29AA}"/>
                </a:ext>
              </a:extLst>
            </p:cNvPr>
            <p:cNvSpPr/>
            <p:nvPr/>
          </p:nvSpPr>
          <p:spPr>
            <a:xfrm>
              <a:off x="6143649" y="1620545"/>
              <a:ext cx="23085" cy="69254"/>
            </a:xfrm>
            <a:custGeom>
              <a:avLst/>
              <a:gdLst>
                <a:gd name="connsiteX0" fmla="*/ 0 w 23084"/>
                <a:gd name="connsiteY0" fmla="*/ 77795 h 69253"/>
                <a:gd name="connsiteX1" fmla="*/ 0 w 23084"/>
                <a:gd name="connsiteY1" fmla="*/ 0 h 69253"/>
                <a:gd name="connsiteX2" fmla="*/ 33127 w 23084"/>
                <a:gd name="connsiteY2" fmla="*/ 0 h 69253"/>
                <a:gd name="connsiteX3" fmla="*/ 32665 w 23084"/>
                <a:gd name="connsiteY3" fmla="*/ 69369 h 69253"/>
                <a:gd name="connsiteX4" fmla="*/ 21815 w 23084"/>
                <a:gd name="connsiteY4" fmla="*/ 77449 h 69253"/>
                <a:gd name="connsiteX5" fmla="*/ 0 w 23084"/>
                <a:gd name="connsiteY5" fmla="*/ 77795 h 69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84" h="69253">
                  <a:moveTo>
                    <a:pt x="0" y="77795"/>
                  </a:moveTo>
                  <a:cubicBezTo>
                    <a:pt x="0" y="51133"/>
                    <a:pt x="0" y="26086"/>
                    <a:pt x="0" y="0"/>
                  </a:cubicBezTo>
                  <a:cubicBezTo>
                    <a:pt x="10157" y="0"/>
                    <a:pt x="19968" y="0"/>
                    <a:pt x="33127" y="0"/>
                  </a:cubicBezTo>
                  <a:cubicBezTo>
                    <a:pt x="33127" y="23431"/>
                    <a:pt x="33588" y="46400"/>
                    <a:pt x="32665" y="69369"/>
                  </a:cubicBezTo>
                  <a:cubicBezTo>
                    <a:pt x="32549" y="72370"/>
                    <a:pt x="25970" y="76526"/>
                    <a:pt x="21815" y="77449"/>
                  </a:cubicBezTo>
                  <a:cubicBezTo>
                    <a:pt x="15467" y="78834"/>
                    <a:pt x="8888" y="77795"/>
                    <a:pt x="0" y="77795"/>
                  </a:cubicBezTo>
                  <a:close/>
                </a:path>
              </a:pathLst>
            </a:custGeom>
            <a:solidFill>
              <a:srgbClr val="000000"/>
            </a:solidFill>
            <a:ln w="11540" cap="flat">
              <a:noFill/>
              <a:prstDash val="solid"/>
              <a:miter/>
            </a:ln>
          </p:spPr>
          <p:txBody>
            <a:bodyPr rtlCol="0" anchor="ctr"/>
            <a:lstStyle/>
            <a:p>
              <a:pPr defTabSz="1219170"/>
              <a:endParaRPr lang="en-US" sz="2400">
                <a:solidFill>
                  <a:srgbClr val="102B62"/>
                </a:solidFill>
                <a:latin typeface="Arial"/>
              </a:endParaRPr>
            </a:p>
          </p:txBody>
        </p:sp>
        <p:sp>
          <p:nvSpPr>
            <p:cNvPr id="42" name="Freeform: Shape 41">
              <a:extLst>
                <a:ext uri="{FF2B5EF4-FFF2-40B4-BE49-F238E27FC236}">
                  <a16:creationId xmlns:a16="http://schemas.microsoft.com/office/drawing/2014/main" id="{B7A6F19E-84A5-4EE7-B493-7E6D0BDE1C00}"/>
                </a:ext>
              </a:extLst>
            </p:cNvPr>
            <p:cNvSpPr/>
            <p:nvPr/>
          </p:nvSpPr>
          <p:spPr>
            <a:xfrm>
              <a:off x="5800611" y="1612812"/>
              <a:ext cx="34627" cy="80796"/>
            </a:xfrm>
            <a:custGeom>
              <a:avLst/>
              <a:gdLst>
                <a:gd name="connsiteX0" fmla="*/ 115 w 34627"/>
                <a:gd name="connsiteY0" fmla="*/ 80796 h 80796"/>
                <a:gd name="connsiteX1" fmla="*/ 577 w 34627"/>
                <a:gd name="connsiteY1" fmla="*/ 14082 h 80796"/>
                <a:gd name="connsiteX2" fmla="*/ 10504 w 34627"/>
                <a:gd name="connsiteY2" fmla="*/ 4271 h 80796"/>
                <a:gd name="connsiteX3" fmla="*/ 34396 w 34627"/>
                <a:gd name="connsiteY3" fmla="*/ 0 h 80796"/>
                <a:gd name="connsiteX4" fmla="*/ 34742 w 34627"/>
                <a:gd name="connsiteY4" fmla="*/ 61867 h 80796"/>
                <a:gd name="connsiteX5" fmla="*/ 13389 w 34627"/>
                <a:gd name="connsiteY5" fmla="*/ 81720 h 80796"/>
                <a:gd name="connsiteX6" fmla="*/ 115 w 34627"/>
                <a:gd name="connsiteY6" fmla="*/ 80796 h 80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627" h="80796">
                  <a:moveTo>
                    <a:pt x="115" y="80796"/>
                  </a:moveTo>
                  <a:cubicBezTo>
                    <a:pt x="115" y="57250"/>
                    <a:pt x="-346" y="35666"/>
                    <a:pt x="577" y="14082"/>
                  </a:cubicBezTo>
                  <a:cubicBezTo>
                    <a:pt x="693" y="10504"/>
                    <a:pt x="6348" y="5887"/>
                    <a:pt x="10504" y="4271"/>
                  </a:cubicBezTo>
                  <a:cubicBezTo>
                    <a:pt x="16736" y="1847"/>
                    <a:pt x="23777" y="1731"/>
                    <a:pt x="34396" y="0"/>
                  </a:cubicBezTo>
                  <a:cubicBezTo>
                    <a:pt x="34396" y="22277"/>
                    <a:pt x="33473" y="42130"/>
                    <a:pt x="34742" y="61867"/>
                  </a:cubicBezTo>
                  <a:cubicBezTo>
                    <a:pt x="35781" y="78719"/>
                    <a:pt x="29548" y="84721"/>
                    <a:pt x="13389" y="81720"/>
                  </a:cubicBezTo>
                  <a:cubicBezTo>
                    <a:pt x="9811" y="81027"/>
                    <a:pt x="6002" y="81143"/>
                    <a:pt x="115" y="80796"/>
                  </a:cubicBezTo>
                  <a:close/>
                </a:path>
              </a:pathLst>
            </a:custGeom>
            <a:solidFill>
              <a:srgbClr val="000000"/>
            </a:solidFill>
            <a:ln w="11540" cap="flat">
              <a:noFill/>
              <a:prstDash val="solid"/>
              <a:miter/>
            </a:ln>
          </p:spPr>
          <p:txBody>
            <a:bodyPr rtlCol="0" anchor="ctr"/>
            <a:lstStyle/>
            <a:p>
              <a:pPr defTabSz="1219170"/>
              <a:endParaRPr lang="en-US" sz="2400">
                <a:solidFill>
                  <a:srgbClr val="102B62"/>
                </a:solidFill>
                <a:latin typeface="Arial"/>
              </a:endParaRPr>
            </a:p>
          </p:txBody>
        </p:sp>
        <p:sp>
          <p:nvSpPr>
            <p:cNvPr id="43" name="Freeform: Shape 42">
              <a:extLst>
                <a:ext uri="{FF2B5EF4-FFF2-40B4-BE49-F238E27FC236}">
                  <a16:creationId xmlns:a16="http://schemas.microsoft.com/office/drawing/2014/main" id="{E56B7A85-504A-4917-A072-8705C5AEA559}"/>
                </a:ext>
              </a:extLst>
            </p:cNvPr>
            <p:cNvSpPr/>
            <p:nvPr/>
          </p:nvSpPr>
          <p:spPr>
            <a:xfrm>
              <a:off x="6036536" y="1478806"/>
              <a:ext cx="69254" cy="57712"/>
            </a:xfrm>
            <a:custGeom>
              <a:avLst/>
              <a:gdLst>
                <a:gd name="connsiteX0" fmla="*/ 74679 w 69254"/>
                <a:gd name="connsiteY0" fmla="*/ 44207 h 57711"/>
                <a:gd name="connsiteX1" fmla="*/ 68908 w 69254"/>
                <a:gd name="connsiteY1" fmla="*/ 52864 h 57711"/>
                <a:gd name="connsiteX2" fmla="*/ 47670 w 69254"/>
                <a:gd name="connsiteY2" fmla="*/ 57712 h 57711"/>
                <a:gd name="connsiteX3" fmla="*/ 9234 w 69254"/>
                <a:gd name="connsiteY3" fmla="*/ 34973 h 57711"/>
                <a:gd name="connsiteX4" fmla="*/ 231 w 69254"/>
                <a:gd name="connsiteY4" fmla="*/ 23777 h 57711"/>
                <a:gd name="connsiteX5" fmla="*/ 0 w 69254"/>
                <a:gd name="connsiteY5" fmla="*/ 24123 h 57711"/>
                <a:gd name="connsiteX6" fmla="*/ 18352 w 69254"/>
                <a:gd name="connsiteY6" fmla="*/ 0 h 57711"/>
                <a:gd name="connsiteX7" fmla="*/ 70639 w 69254"/>
                <a:gd name="connsiteY7" fmla="*/ 30933 h 57711"/>
                <a:gd name="connsiteX8" fmla="*/ 74679 w 69254"/>
                <a:gd name="connsiteY8" fmla="*/ 44207 h 5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254" h="57711">
                  <a:moveTo>
                    <a:pt x="74679" y="44207"/>
                  </a:moveTo>
                  <a:cubicBezTo>
                    <a:pt x="72717" y="47093"/>
                    <a:pt x="70870" y="49978"/>
                    <a:pt x="68908" y="52864"/>
                  </a:cubicBezTo>
                  <a:cubicBezTo>
                    <a:pt x="63598" y="62098"/>
                    <a:pt x="58058" y="65330"/>
                    <a:pt x="47670" y="57712"/>
                  </a:cubicBezTo>
                  <a:cubicBezTo>
                    <a:pt x="35666" y="48939"/>
                    <a:pt x="21815" y="42937"/>
                    <a:pt x="9234" y="34973"/>
                  </a:cubicBezTo>
                  <a:cubicBezTo>
                    <a:pt x="5425" y="32549"/>
                    <a:pt x="3232" y="27586"/>
                    <a:pt x="231" y="23777"/>
                  </a:cubicBezTo>
                  <a:cubicBezTo>
                    <a:pt x="231" y="23777"/>
                    <a:pt x="0" y="24123"/>
                    <a:pt x="0" y="24123"/>
                  </a:cubicBezTo>
                  <a:cubicBezTo>
                    <a:pt x="5771" y="16621"/>
                    <a:pt x="11427" y="9003"/>
                    <a:pt x="18352" y="0"/>
                  </a:cubicBezTo>
                  <a:cubicBezTo>
                    <a:pt x="35781" y="10157"/>
                    <a:pt x="53556" y="19968"/>
                    <a:pt x="70639" y="30933"/>
                  </a:cubicBezTo>
                  <a:cubicBezTo>
                    <a:pt x="73756" y="32780"/>
                    <a:pt x="73525" y="39590"/>
                    <a:pt x="74679" y="44207"/>
                  </a:cubicBezTo>
                  <a:close/>
                </a:path>
              </a:pathLst>
            </a:custGeom>
            <a:solidFill>
              <a:srgbClr val="000000"/>
            </a:solidFill>
            <a:ln w="11540" cap="flat">
              <a:noFill/>
              <a:prstDash val="solid"/>
              <a:miter/>
            </a:ln>
          </p:spPr>
          <p:txBody>
            <a:bodyPr rtlCol="0" anchor="ctr"/>
            <a:lstStyle/>
            <a:p>
              <a:pPr defTabSz="1219170"/>
              <a:endParaRPr lang="en-US" sz="2400">
                <a:solidFill>
                  <a:srgbClr val="102B62"/>
                </a:solidFill>
                <a:latin typeface="Arial"/>
              </a:endParaRPr>
            </a:p>
          </p:txBody>
        </p:sp>
        <p:sp>
          <p:nvSpPr>
            <p:cNvPr id="44" name="Freeform: Shape 43">
              <a:extLst>
                <a:ext uri="{FF2B5EF4-FFF2-40B4-BE49-F238E27FC236}">
                  <a16:creationId xmlns:a16="http://schemas.microsoft.com/office/drawing/2014/main" id="{8EB30396-6414-47FB-BFD0-8927980334A7}"/>
                </a:ext>
              </a:extLst>
            </p:cNvPr>
            <p:cNvSpPr/>
            <p:nvPr/>
          </p:nvSpPr>
          <p:spPr>
            <a:xfrm>
              <a:off x="6212239" y="1778098"/>
              <a:ext cx="69254" cy="57712"/>
            </a:xfrm>
            <a:custGeom>
              <a:avLst/>
              <a:gdLst>
                <a:gd name="connsiteX0" fmla="*/ 87 w 69254"/>
                <a:gd name="connsiteY0" fmla="*/ 18121 h 57711"/>
                <a:gd name="connsiteX1" fmla="*/ 9436 w 69254"/>
                <a:gd name="connsiteY1" fmla="*/ 0 h 57711"/>
                <a:gd name="connsiteX2" fmla="*/ 73957 w 69254"/>
                <a:gd name="connsiteY2" fmla="*/ 32319 h 57711"/>
                <a:gd name="connsiteX3" fmla="*/ 56182 w 69254"/>
                <a:gd name="connsiteY3" fmla="*/ 64175 h 57711"/>
                <a:gd name="connsiteX4" fmla="*/ 1472 w 69254"/>
                <a:gd name="connsiteY4" fmla="*/ 32434 h 57711"/>
                <a:gd name="connsiteX5" fmla="*/ 87 w 69254"/>
                <a:gd name="connsiteY5" fmla="*/ 18121 h 5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254" h="57711">
                  <a:moveTo>
                    <a:pt x="87" y="18121"/>
                  </a:moveTo>
                  <a:cubicBezTo>
                    <a:pt x="3203" y="12119"/>
                    <a:pt x="6319" y="6002"/>
                    <a:pt x="9436" y="0"/>
                  </a:cubicBezTo>
                  <a:cubicBezTo>
                    <a:pt x="30443" y="10504"/>
                    <a:pt x="51450" y="21007"/>
                    <a:pt x="73957" y="32319"/>
                  </a:cubicBezTo>
                  <a:cubicBezTo>
                    <a:pt x="67609" y="43745"/>
                    <a:pt x="62531" y="52864"/>
                    <a:pt x="56182" y="64175"/>
                  </a:cubicBezTo>
                  <a:cubicBezTo>
                    <a:pt x="37368" y="53441"/>
                    <a:pt x="19016" y="43630"/>
                    <a:pt x="1472" y="32434"/>
                  </a:cubicBezTo>
                  <a:cubicBezTo>
                    <a:pt x="-952" y="30818"/>
                    <a:pt x="433" y="23085"/>
                    <a:pt x="87" y="18121"/>
                  </a:cubicBezTo>
                  <a:close/>
                </a:path>
              </a:pathLst>
            </a:custGeom>
            <a:solidFill>
              <a:srgbClr val="000000"/>
            </a:solidFill>
            <a:ln w="11540" cap="flat">
              <a:noFill/>
              <a:prstDash val="solid"/>
              <a:miter/>
            </a:ln>
          </p:spPr>
          <p:txBody>
            <a:bodyPr rtlCol="0" anchor="ctr"/>
            <a:lstStyle/>
            <a:p>
              <a:pPr defTabSz="1219170"/>
              <a:endParaRPr lang="en-US" sz="2400">
                <a:solidFill>
                  <a:srgbClr val="102B62"/>
                </a:solidFill>
                <a:latin typeface="Arial"/>
              </a:endParaRPr>
            </a:p>
          </p:txBody>
        </p:sp>
        <p:sp>
          <p:nvSpPr>
            <p:cNvPr id="45" name="Freeform: Shape 44">
              <a:extLst>
                <a:ext uri="{FF2B5EF4-FFF2-40B4-BE49-F238E27FC236}">
                  <a16:creationId xmlns:a16="http://schemas.microsoft.com/office/drawing/2014/main" id="{1CFD476A-083A-4781-9B92-52EDE77FA327}"/>
                </a:ext>
              </a:extLst>
            </p:cNvPr>
            <p:cNvSpPr/>
            <p:nvPr/>
          </p:nvSpPr>
          <p:spPr>
            <a:xfrm>
              <a:off x="5682533" y="2069200"/>
              <a:ext cx="80796" cy="46169"/>
            </a:xfrm>
            <a:custGeom>
              <a:avLst/>
              <a:gdLst>
                <a:gd name="connsiteX0" fmla="*/ 0 w 80796"/>
                <a:gd name="connsiteY0" fmla="*/ 26658 h 46169"/>
                <a:gd name="connsiteX1" fmla="*/ 12350 w 80796"/>
                <a:gd name="connsiteY1" fmla="*/ 3343 h 46169"/>
                <a:gd name="connsiteX2" fmla="*/ 20084 w 80796"/>
                <a:gd name="connsiteY2" fmla="*/ 226 h 46169"/>
                <a:gd name="connsiteX3" fmla="*/ 87491 w 80796"/>
                <a:gd name="connsiteY3" fmla="*/ 37854 h 46169"/>
                <a:gd name="connsiteX4" fmla="*/ 0 w 80796"/>
                <a:gd name="connsiteY4" fmla="*/ 26658 h 46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96" h="46169">
                  <a:moveTo>
                    <a:pt x="0" y="26658"/>
                  </a:moveTo>
                  <a:cubicBezTo>
                    <a:pt x="4271" y="18232"/>
                    <a:pt x="7849" y="10499"/>
                    <a:pt x="12350" y="3343"/>
                  </a:cubicBezTo>
                  <a:cubicBezTo>
                    <a:pt x="13620" y="1380"/>
                    <a:pt x="18468" y="-697"/>
                    <a:pt x="20084" y="226"/>
                  </a:cubicBezTo>
                  <a:cubicBezTo>
                    <a:pt x="42476" y="12346"/>
                    <a:pt x="64637" y="25042"/>
                    <a:pt x="87491" y="37854"/>
                  </a:cubicBezTo>
                  <a:cubicBezTo>
                    <a:pt x="67407" y="57591"/>
                    <a:pt x="35089" y="52744"/>
                    <a:pt x="0" y="26658"/>
                  </a:cubicBezTo>
                  <a:close/>
                </a:path>
              </a:pathLst>
            </a:custGeom>
            <a:solidFill>
              <a:srgbClr val="000000"/>
            </a:solidFill>
            <a:ln w="11540" cap="flat">
              <a:noFill/>
              <a:prstDash val="solid"/>
              <a:miter/>
            </a:ln>
          </p:spPr>
          <p:txBody>
            <a:bodyPr rtlCol="0" anchor="ctr"/>
            <a:lstStyle/>
            <a:p>
              <a:pPr defTabSz="1219170"/>
              <a:endParaRPr lang="en-US" sz="2400">
                <a:solidFill>
                  <a:srgbClr val="102B62"/>
                </a:solidFill>
                <a:latin typeface="Arial"/>
              </a:endParaRPr>
            </a:p>
          </p:txBody>
        </p:sp>
        <p:sp>
          <p:nvSpPr>
            <p:cNvPr id="46" name="Freeform: Shape 45">
              <a:extLst>
                <a:ext uri="{FF2B5EF4-FFF2-40B4-BE49-F238E27FC236}">
                  <a16:creationId xmlns:a16="http://schemas.microsoft.com/office/drawing/2014/main" id="{9B2D0824-902B-4B04-A0BF-BBDA7C830A41}"/>
                </a:ext>
              </a:extLst>
            </p:cNvPr>
            <p:cNvSpPr/>
            <p:nvPr/>
          </p:nvSpPr>
          <p:spPr>
            <a:xfrm>
              <a:off x="6209556" y="2089573"/>
              <a:ext cx="69254" cy="46169"/>
            </a:xfrm>
            <a:custGeom>
              <a:avLst/>
              <a:gdLst>
                <a:gd name="connsiteX0" fmla="*/ 3116 w 69254"/>
                <a:gd name="connsiteY0" fmla="*/ 31909 h 46169"/>
                <a:gd name="connsiteX1" fmla="*/ 0 w 69254"/>
                <a:gd name="connsiteY1" fmla="*/ 20136 h 46169"/>
                <a:gd name="connsiteX2" fmla="*/ 57827 w 69254"/>
                <a:gd name="connsiteY2" fmla="*/ 283 h 46169"/>
                <a:gd name="connsiteX3" fmla="*/ 77218 w 69254"/>
                <a:gd name="connsiteY3" fmla="*/ 5708 h 46169"/>
                <a:gd name="connsiteX4" fmla="*/ 65445 w 69254"/>
                <a:gd name="connsiteY4" fmla="*/ 18867 h 46169"/>
                <a:gd name="connsiteX5" fmla="*/ 16275 w 69254"/>
                <a:gd name="connsiteY5" fmla="*/ 47145 h 46169"/>
                <a:gd name="connsiteX6" fmla="*/ 2886 w 69254"/>
                <a:gd name="connsiteY6" fmla="*/ 31678 h 46169"/>
                <a:gd name="connsiteX7" fmla="*/ 3116 w 69254"/>
                <a:gd name="connsiteY7" fmla="*/ 31909 h 46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54" h="46169">
                  <a:moveTo>
                    <a:pt x="3116" y="31909"/>
                  </a:moveTo>
                  <a:cubicBezTo>
                    <a:pt x="2193" y="28331"/>
                    <a:pt x="1270" y="24638"/>
                    <a:pt x="0" y="20136"/>
                  </a:cubicBezTo>
                  <a:cubicBezTo>
                    <a:pt x="19391" y="13211"/>
                    <a:pt x="38321" y="5708"/>
                    <a:pt x="57827" y="283"/>
                  </a:cubicBezTo>
                  <a:cubicBezTo>
                    <a:pt x="63367" y="-1217"/>
                    <a:pt x="70639" y="3631"/>
                    <a:pt x="77218" y="5708"/>
                  </a:cubicBezTo>
                  <a:cubicBezTo>
                    <a:pt x="73294" y="10210"/>
                    <a:pt x="70293" y="15866"/>
                    <a:pt x="65445" y="18867"/>
                  </a:cubicBezTo>
                  <a:cubicBezTo>
                    <a:pt x="49517" y="28793"/>
                    <a:pt x="33011" y="37681"/>
                    <a:pt x="16275" y="47145"/>
                  </a:cubicBezTo>
                  <a:cubicBezTo>
                    <a:pt x="11658" y="41836"/>
                    <a:pt x="7272" y="36757"/>
                    <a:pt x="2886" y="31678"/>
                  </a:cubicBezTo>
                  <a:cubicBezTo>
                    <a:pt x="2886" y="31563"/>
                    <a:pt x="3116" y="31909"/>
                    <a:pt x="3116" y="31909"/>
                  </a:cubicBezTo>
                  <a:close/>
                </a:path>
              </a:pathLst>
            </a:custGeom>
            <a:solidFill>
              <a:srgbClr val="000000"/>
            </a:solidFill>
            <a:ln w="11540" cap="flat">
              <a:noFill/>
              <a:prstDash val="solid"/>
              <a:miter/>
            </a:ln>
          </p:spPr>
          <p:txBody>
            <a:bodyPr rtlCol="0" anchor="ctr"/>
            <a:lstStyle/>
            <a:p>
              <a:pPr defTabSz="1219170"/>
              <a:endParaRPr lang="en-US" sz="2400">
                <a:solidFill>
                  <a:srgbClr val="102B62"/>
                </a:solidFill>
                <a:latin typeface="Arial"/>
              </a:endParaRPr>
            </a:p>
          </p:txBody>
        </p:sp>
        <p:sp>
          <p:nvSpPr>
            <p:cNvPr id="47" name="Freeform: Shape 46">
              <a:extLst>
                <a:ext uri="{FF2B5EF4-FFF2-40B4-BE49-F238E27FC236}">
                  <a16:creationId xmlns:a16="http://schemas.microsoft.com/office/drawing/2014/main" id="{B667BB4E-1B24-4687-A373-BB7EB6C885BB}"/>
                </a:ext>
              </a:extLst>
            </p:cNvPr>
            <p:cNvSpPr/>
            <p:nvPr/>
          </p:nvSpPr>
          <p:spPr>
            <a:xfrm>
              <a:off x="5773717" y="2183234"/>
              <a:ext cx="80796" cy="23085"/>
            </a:xfrm>
            <a:custGeom>
              <a:avLst/>
              <a:gdLst>
                <a:gd name="connsiteX0" fmla="*/ 0 w 80796"/>
                <a:gd name="connsiteY0" fmla="*/ 5656 h 23084"/>
                <a:gd name="connsiteX1" fmla="*/ 86337 w 80796"/>
                <a:gd name="connsiteY1" fmla="*/ 0 h 23084"/>
                <a:gd name="connsiteX2" fmla="*/ 53787 w 80796"/>
                <a:gd name="connsiteY2" fmla="*/ 24816 h 23084"/>
                <a:gd name="connsiteX3" fmla="*/ 0 w 80796"/>
                <a:gd name="connsiteY3" fmla="*/ 5656 h 23084"/>
              </a:gdLst>
              <a:ahLst/>
              <a:cxnLst>
                <a:cxn ang="0">
                  <a:pos x="connsiteX0" y="connsiteY0"/>
                </a:cxn>
                <a:cxn ang="0">
                  <a:pos x="connsiteX1" y="connsiteY1"/>
                </a:cxn>
                <a:cxn ang="0">
                  <a:pos x="connsiteX2" y="connsiteY2"/>
                </a:cxn>
                <a:cxn ang="0">
                  <a:pos x="connsiteX3" y="connsiteY3"/>
                </a:cxn>
              </a:cxnLst>
              <a:rect l="l" t="t" r="r" b="b"/>
              <a:pathLst>
                <a:path w="80796" h="23084">
                  <a:moveTo>
                    <a:pt x="0" y="5656"/>
                  </a:moveTo>
                  <a:cubicBezTo>
                    <a:pt x="27932" y="3809"/>
                    <a:pt x="55980" y="1962"/>
                    <a:pt x="86337" y="0"/>
                  </a:cubicBezTo>
                  <a:cubicBezTo>
                    <a:pt x="79180" y="15698"/>
                    <a:pt x="67754" y="21353"/>
                    <a:pt x="53787" y="24816"/>
                  </a:cubicBezTo>
                  <a:cubicBezTo>
                    <a:pt x="32665" y="30010"/>
                    <a:pt x="15236" y="24123"/>
                    <a:pt x="0" y="5656"/>
                  </a:cubicBezTo>
                  <a:close/>
                </a:path>
              </a:pathLst>
            </a:custGeom>
            <a:solidFill>
              <a:srgbClr val="000000"/>
            </a:solidFill>
            <a:ln w="11540" cap="flat">
              <a:noFill/>
              <a:prstDash val="solid"/>
              <a:miter/>
            </a:ln>
          </p:spPr>
          <p:txBody>
            <a:bodyPr rtlCol="0" anchor="ctr"/>
            <a:lstStyle/>
            <a:p>
              <a:pPr defTabSz="1219170"/>
              <a:endParaRPr lang="en-US" sz="2400">
                <a:solidFill>
                  <a:srgbClr val="102B62"/>
                </a:solidFill>
                <a:latin typeface="Arial"/>
              </a:endParaRPr>
            </a:p>
          </p:txBody>
        </p:sp>
        <p:sp>
          <p:nvSpPr>
            <p:cNvPr id="48" name="Freeform: Shape 47">
              <a:extLst>
                <a:ext uri="{FF2B5EF4-FFF2-40B4-BE49-F238E27FC236}">
                  <a16:creationId xmlns:a16="http://schemas.microsoft.com/office/drawing/2014/main" id="{36A2659A-9A90-4BB8-9409-283B029A89BB}"/>
                </a:ext>
              </a:extLst>
            </p:cNvPr>
            <p:cNvSpPr/>
            <p:nvPr/>
          </p:nvSpPr>
          <p:spPr>
            <a:xfrm>
              <a:off x="5866748" y="2068131"/>
              <a:ext cx="57712" cy="23085"/>
            </a:xfrm>
            <a:custGeom>
              <a:avLst/>
              <a:gdLst>
                <a:gd name="connsiteX0" fmla="*/ 64637 w 57711"/>
                <a:gd name="connsiteY0" fmla="*/ 6259 h 23084"/>
                <a:gd name="connsiteX1" fmla="*/ 68561 w 57711"/>
                <a:gd name="connsiteY1" fmla="*/ 13415 h 23084"/>
                <a:gd name="connsiteX2" fmla="*/ 57481 w 57711"/>
                <a:gd name="connsiteY2" fmla="*/ 24842 h 23084"/>
                <a:gd name="connsiteX3" fmla="*/ 1962 w 57711"/>
                <a:gd name="connsiteY3" fmla="*/ 33845 h 23084"/>
                <a:gd name="connsiteX4" fmla="*/ 0 w 57711"/>
                <a:gd name="connsiteY4" fmla="*/ 29343 h 23084"/>
                <a:gd name="connsiteX5" fmla="*/ 52748 w 57711"/>
                <a:gd name="connsiteY5" fmla="*/ 141 h 23084"/>
                <a:gd name="connsiteX6" fmla="*/ 64637 w 57711"/>
                <a:gd name="connsiteY6" fmla="*/ 6259 h 23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11" h="23084">
                  <a:moveTo>
                    <a:pt x="64637" y="6259"/>
                  </a:moveTo>
                  <a:cubicBezTo>
                    <a:pt x="65907" y="8682"/>
                    <a:pt x="67292" y="10991"/>
                    <a:pt x="68561" y="13415"/>
                  </a:cubicBezTo>
                  <a:cubicBezTo>
                    <a:pt x="64868" y="17339"/>
                    <a:pt x="61751" y="23918"/>
                    <a:pt x="57481" y="24842"/>
                  </a:cubicBezTo>
                  <a:cubicBezTo>
                    <a:pt x="39129" y="28766"/>
                    <a:pt x="20545" y="30959"/>
                    <a:pt x="1962" y="33845"/>
                  </a:cubicBezTo>
                  <a:cubicBezTo>
                    <a:pt x="1270" y="32344"/>
                    <a:pt x="693" y="30844"/>
                    <a:pt x="0" y="29343"/>
                  </a:cubicBezTo>
                  <a:cubicBezTo>
                    <a:pt x="17544" y="19417"/>
                    <a:pt x="34858" y="9260"/>
                    <a:pt x="52748" y="141"/>
                  </a:cubicBezTo>
                  <a:cubicBezTo>
                    <a:pt x="55172" y="-898"/>
                    <a:pt x="60597" y="4066"/>
                    <a:pt x="64637" y="6259"/>
                  </a:cubicBezTo>
                  <a:close/>
                </a:path>
              </a:pathLst>
            </a:custGeom>
            <a:solidFill>
              <a:srgbClr val="000000"/>
            </a:solidFill>
            <a:ln w="11540" cap="flat">
              <a:noFill/>
              <a:prstDash val="solid"/>
              <a:miter/>
            </a:ln>
          </p:spPr>
          <p:txBody>
            <a:bodyPr rtlCol="0" anchor="ctr"/>
            <a:lstStyle/>
            <a:p>
              <a:pPr defTabSz="1219170"/>
              <a:endParaRPr lang="en-US" sz="2400">
                <a:solidFill>
                  <a:srgbClr val="102B62"/>
                </a:solidFill>
                <a:latin typeface="Arial"/>
              </a:endParaRPr>
            </a:p>
          </p:txBody>
        </p:sp>
        <p:sp>
          <p:nvSpPr>
            <p:cNvPr id="49" name="Freeform: Shape 48">
              <a:extLst>
                <a:ext uri="{FF2B5EF4-FFF2-40B4-BE49-F238E27FC236}">
                  <a16:creationId xmlns:a16="http://schemas.microsoft.com/office/drawing/2014/main" id="{32A50A46-11A6-4AF9-B815-29B15EF385A2}"/>
                </a:ext>
              </a:extLst>
            </p:cNvPr>
            <p:cNvSpPr/>
            <p:nvPr/>
          </p:nvSpPr>
          <p:spPr>
            <a:xfrm>
              <a:off x="5773255" y="2096026"/>
              <a:ext cx="57712" cy="11542"/>
            </a:xfrm>
            <a:custGeom>
              <a:avLst/>
              <a:gdLst>
                <a:gd name="connsiteX0" fmla="*/ 66138 w 57711"/>
                <a:gd name="connsiteY0" fmla="*/ 10682 h 11542"/>
                <a:gd name="connsiteX1" fmla="*/ 0 w 57711"/>
                <a:gd name="connsiteY1" fmla="*/ 18415 h 11542"/>
                <a:gd name="connsiteX2" fmla="*/ 66138 w 57711"/>
                <a:gd name="connsiteY2" fmla="*/ 10682 h 11542"/>
              </a:gdLst>
              <a:ahLst/>
              <a:cxnLst>
                <a:cxn ang="0">
                  <a:pos x="connsiteX0" y="connsiteY0"/>
                </a:cxn>
                <a:cxn ang="0">
                  <a:pos x="connsiteX1" y="connsiteY1"/>
                </a:cxn>
                <a:cxn ang="0">
                  <a:pos x="connsiteX2" y="connsiteY2"/>
                </a:cxn>
              </a:cxnLst>
              <a:rect l="l" t="t" r="r" b="b"/>
              <a:pathLst>
                <a:path w="57711" h="11542">
                  <a:moveTo>
                    <a:pt x="66138" y="10682"/>
                  </a:moveTo>
                  <a:cubicBezTo>
                    <a:pt x="45246" y="13106"/>
                    <a:pt x="24470" y="15530"/>
                    <a:pt x="0" y="18415"/>
                  </a:cubicBezTo>
                  <a:cubicBezTo>
                    <a:pt x="19853" y="-2707"/>
                    <a:pt x="45708" y="-6170"/>
                    <a:pt x="66138" y="10682"/>
                  </a:cubicBezTo>
                  <a:close/>
                </a:path>
              </a:pathLst>
            </a:custGeom>
            <a:solidFill>
              <a:srgbClr val="000000"/>
            </a:solidFill>
            <a:ln w="11540" cap="flat">
              <a:noFill/>
              <a:prstDash val="solid"/>
              <a:miter/>
            </a:ln>
          </p:spPr>
          <p:txBody>
            <a:bodyPr rtlCol="0" anchor="ctr"/>
            <a:lstStyle/>
            <a:p>
              <a:pPr defTabSz="1219170"/>
              <a:endParaRPr lang="en-US" sz="2400">
                <a:solidFill>
                  <a:srgbClr val="102B62"/>
                </a:solidFill>
                <a:latin typeface="Arial"/>
              </a:endParaRPr>
            </a:p>
          </p:txBody>
        </p:sp>
      </p:grpSp>
      <p:grpSp>
        <p:nvGrpSpPr>
          <p:cNvPr id="50" name="Graphic 5">
            <a:extLst>
              <a:ext uri="{FF2B5EF4-FFF2-40B4-BE49-F238E27FC236}">
                <a16:creationId xmlns:a16="http://schemas.microsoft.com/office/drawing/2014/main" id="{FC30F44B-1CA9-46A2-93ED-B52CC0191BB1}"/>
              </a:ext>
            </a:extLst>
          </p:cNvPr>
          <p:cNvGrpSpPr/>
          <p:nvPr/>
        </p:nvGrpSpPr>
        <p:grpSpPr>
          <a:xfrm>
            <a:off x="7512685" y="3570269"/>
            <a:ext cx="1001355" cy="960015"/>
            <a:chOff x="5634514" y="2513395"/>
            <a:chExt cx="751016" cy="720011"/>
          </a:xfrm>
        </p:grpSpPr>
        <p:sp>
          <p:nvSpPr>
            <p:cNvPr id="51" name="Freeform: Shape 50">
              <a:extLst>
                <a:ext uri="{FF2B5EF4-FFF2-40B4-BE49-F238E27FC236}">
                  <a16:creationId xmlns:a16="http://schemas.microsoft.com/office/drawing/2014/main" id="{047267DD-D5D7-42CD-806C-829F4383D55B}"/>
                </a:ext>
              </a:extLst>
            </p:cNvPr>
            <p:cNvSpPr/>
            <p:nvPr/>
          </p:nvSpPr>
          <p:spPr>
            <a:xfrm>
              <a:off x="5634514" y="2513395"/>
              <a:ext cx="423738" cy="716566"/>
            </a:xfrm>
            <a:custGeom>
              <a:avLst/>
              <a:gdLst>
                <a:gd name="connsiteX0" fmla="*/ 0 w 423738"/>
                <a:gd name="connsiteY0" fmla="*/ 166050 h 716565"/>
                <a:gd name="connsiteX1" fmla="*/ 2756 w 423738"/>
                <a:gd name="connsiteY1" fmla="*/ 162605 h 716565"/>
                <a:gd name="connsiteX2" fmla="*/ 43407 w 423738"/>
                <a:gd name="connsiteY2" fmla="*/ 127811 h 716565"/>
                <a:gd name="connsiteX3" fmla="*/ 68212 w 423738"/>
                <a:gd name="connsiteY3" fmla="*/ 127122 h 716565"/>
                <a:gd name="connsiteX4" fmla="*/ 73724 w 423738"/>
                <a:gd name="connsiteY4" fmla="*/ 122299 h 716565"/>
                <a:gd name="connsiteX5" fmla="*/ 82681 w 423738"/>
                <a:gd name="connsiteY5" fmla="*/ 36862 h 716565"/>
                <a:gd name="connsiteX6" fmla="*/ 122987 w 423738"/>
                <a:gd name="connsiteY6" fmla="*/ 0 h 716565"/>
                <a:gd name="connsiteX7" fmla="*/ 175696 w 423738"/>
                <a:gd name="connsiteY7" fmla="*/ 0 h 716565"/>
                <a:gd name="connsiteX8" fmla="*/ 284559 w 423738"/>
                <a:gd name="connsiteY8" fmla="*/ 0 h 716565"/>
                <a:gd name="connsiteX9" fmla="*/ 327622 w 423738"/>
                <a:gd name="connsiteY9" fmla="*/ 39962 h 716565"/>
                <a:gd name="connsiteX10" fmla="*/ 336235 w 423738"/>
                <a:gd name="connsiteY10" fmla="*/ 121954 h 716565"/>
                <a:gd name="connsiteX11" fmla="*/ 342436 w 423738"/>
                <a:gd name="connsiteY11" fmla="*/ 127122 h 716565"/>
                <a:gd name="connsiteX12" fmla="*/ 366895 w 423738"/>
                <a:gd name="connsiteY12" fmla="*/ 129189 h 716565"/>
                <a:gd name="connsiteX13" fmla="*/ 404446 w 423738"/>
                <a:gd name="connsiteY13" fmla="*/ 178797 h 716565"/>
                <a:gd name="connsiteX14" fmla="*/ 404446 w 423738"/>
                <a:gd name="connsiteY14" fmla="*/ 224616 h 716565"/>
                <a:gd name="connsiteX15" fmla="*/ 408580 w 423738"/>
                <a:gd name="connsiteY15" fmla="*/ 228750 h 716565"/>
                <a:gd name="connsiteX16" fmla="*/ 426150 w 423738"/>
                <a:gd name="connsiteY16" fmla="*/ 245975 h 716565"/>
                <a:gd name="connsiteX17" fmla="*/ 426150 w 423738"/>
                <a:gd name="connsiteY17" fmla="*/ 288693 h 716565"/>
                <a:gd name="connsiteX18" fmla="*/ 407547 w 423738"/>
                <a:gd name="connsiteY18" fmla="*/ 305919 h 716565"/>
                <a:gd name="connsiteX19" fmla="*/ 404446 w 423738"/>
                <a:gd name="connsiteY19" fmla="*/ 308675 h 716565"/>
                <a:gd name="connsiteX20" fmla="*/ 404446 w 423738"/>
                <a:gd name="connsiteY20" fmla="*/ 358972 h 716565"/>
                <a:gd name="connsiteX21" fmla="*/ 407547 w 423738"/>
                <a:gd name="connsiteY21" fmla="*/ 362073 h 716565"/>
                <a:gd name="connsiteX22" fmla="*/ 426150 w 423738"/>
                <a:gd name="connsiteY22" fmla="*/ 380331 h 716565"/>
                <a:gd name="connsiteX23" fmla="*/ 426150 w 423738"/>
                <a:gd name="connsiteY23" fmla="*/ 463701 h 716565"/>
                <a:gd name="connsiteX24" fmla="*/ 406858 w 423738"/>
                <a:gd name="connsiteY24" fmla="*/ 481615 h 716565"/>
                <a:gd name="connsiteX25" fmla="*/ 404446 w 423738"/>
                <a:gd name="connsiteY25" fmla="*/ 485060 h 716565"/>
                <a:gd name="connsiteX26" fmla="*/ 404446 w 423738"/>
                <a:gd name="connsiteY26" fmla="*/ 538114 h 716565"/>
                <a:gd name="connsiteX27" fmla="*/ 351393 w 423738"/>
                <a:gd name="connsiteY27" fmla="*/ 591511 h 716565"/>
                <a:gd name="connsiteX28" fmla="*/ 343469 w 423738"/>
                <a:gd name="connsiteY28" fmla="*/ 591511 h 716565"/>
                <a:gd name="connsiteX29" fmla="*/ 336235 w 423738"/>
                <a:gd name="connsiteY29" fmla="*/ 597713 h 716565"/>
                <a:gd name="connsiteX30" fmla="*/ 327622 w 423738"/>
                <a:gd name="connsiteY30" fmla="*/ 682116 h 716565"/>
                <a:gd name="connsiteX31" fmla="*/ 288349 w 423738"/>
                <a:gd name="connsiteY31" fmla="*/ 718633 h 716565"/>
                <a:gd name="connsiteX32" fmla="*/ 264923 w 423738"/>
                <a:gd name="connsiteY32" fmla="*/ 718633 h 716565"/>
                <a:gd name="connsiteX33" fmla="*/ 125744 w 423738"/>
                <a:gd name="connsiteY33" fmla="*/ 718633 h 716565"/>
                <a:gd name="connsiteX34" fmla="*/ 82681 w 423738"/>
                <a:gd name="connsiteY34" fmla="*/ 678671 h 716565"/>
                <a:gd name="connsiteX35" fmla="*/ 73724 w 423738"/>
                <a:gd name="connsiteY35" fmla="*/ 595301 h 716565"/>
                <a:gd name="connsiteX36" fmla="*/ 69245 w 423738"/>
                <a:gd name="connsiteY36" fmla="*/ 591511 h 716565"/>
                <a:gd name="connsiteX37" fmla="*/ 42718 w 423738"/>
                <a:gd name="connsiteY37" fmla="*/ 590822 h 716565"/>
                <a:gd name="connsiteX38" fmla="*/ 3101 w 423738"/>
                <a:gd name="connsiteY38" fmla="*/ 556372 h 716565"/>
                <a:gd name="connsiteX39" fmla="*/ 345 w 423738"/>
                <a:gd name="connsiteY39" fmla="*/ 552927 h 716565"/>
                <a:gd name="connsiteX40" fmla="*/ 0 w 423738"/>
                <a:gd name="connsiteY40" fmla="*/ 166050 h 716565"/>
                <a:gd name="connsiteX41" fmla="*/ 371374 w 423738"/>
                <a:gd name="connsiteY41" fmla="*/ 359317 h 716565"/>
                <a:gd name="connsiteX42" fmla="*/ 371374 w 423738"/>
                <a:gd name="connsiteY42" fmla="*/ 182242 h 716565"/>
                <a:gd name="connsiteX43" fmla="*/ 349326 w 423738"/>
                <a:gd name="connsiteY43" fmla="*/ 160538 h 716565"/>
                <a:gd name="connsiteX44" fmla="*/ 54431 w 423738"/>
                <a:gd name="connsiteY44" fmla="*/ 160538 h 716565"/>
                <a:gd name="connsiteX45" fmla="*/ 32728 w 423738"/>
                <a:gd name="connsiteY45" fmla="*/ 182242 h 716565"/>
                <a:gd name="connsiteX46" fmla="*/ 32728 w 423738"/>
                <a:gd name="connsiteY46" fmla="*/ 536736 h 716565"/>
                <a:gd name="connsiteX47" fmla="*/ 54431 w 423738"/>
                <a:gd name="connsiteY47" fmla="*/ 558784 h 716565"/>
                <a:gd name="connsiteX48" fmla="*/ 349670 w 423738"/>
                <a:gd name="connsiteY48" fmla="*/ 558784 h 716565"/>
                <a:gd name="connsiteX49" fmla="*/ 371374 w 423738"/>
                <a:gd name="connsiteY49" fmla="*/ 537080 h 716565"/>
                <a:gd name="connsiteX50" fmla="*/ 371374 w 423738"/>
                <a:gd name="connsiteY50" fmla="*/ 359317 h 716565"/>
                <a:gd name="connsiteX51" fmla="*/ 204979 w 423738"/>
                <a:gd name="connsiteY51" fmla="*/ 591511 h 716565"/>
                <a:gd name="connsiteX52" fmla="*/ 170184 w 423738"/>
                <a:gd name="connsiteY52" fmla="*/ 591511 h 716565"/>
                <a:gd name="connsiteX53" fmla="*/ 110585 w 423738"/>
                <a:gd name="connsiteY53" fmla="*/ 591511 h 716565"/>
                <a:gd name="connsiteX54" fmla="*/ 106107 w 423738"/>
                <a:gd name="connsiteY54" fmla="*/ 595301 h 716565"/>
                <a:gd name="connsiteX55" fmla="*/ 115064 w 423738"/>
                <a:gd name="connsiteY55" fmla="*/ 675226 h 716565"/>
                <a:gd name="connsiteX56" fmla="*/ 126433 w 423738"/>
                <a:gd name="connsiteY56" fmla="*/ 685561 h 716565"/>
                <a:gd name="connsiteX57" fmla="*/ 283181 w 423738"/>
                <a:gd name="connsiteY57" fmla="*/ 685561 h 716565"/>
                <a:gd name="connsiteX58" fmla="*/ 288004 w 423738"/>
                <a:gd name="connsiteY58" fmla="*/ 685216 h 716565"/>
                <a:gd name="connsiteX59" fmla="*/ 294550 w 423738"/>
                <a:gd name="connsiteY59" fmla="*/ 678326 h 716565"/>
                <a:gd name="connsiteX60" fmla="*/ 303162 w 423738"/>
                <a:gd name="connsiteY60" fmla="*/ 596679 h 716565"/>
                <a:gd name="connsiteX61" fmla="*/ 297995 w 423738"/>
                <a:gd name="connsiteY61" fmla="*/ 591167 h 716565"/>
                <a:gd name="connsiteX62" fmla="*/ 204979 w 423738"/>
                <a:gd name="connsiteY62" fmla="*/ 591511 h 716565"/>
                <a:gd name="connsiteX63" fmla="*/ 204635 w 423738"/>
                <a:gd name="connsiteY63" fmla="*/ 127122 h 716565"/>
                <a:gd name="connsiteX64" fmla="*/ 297995 w 423738"/>
                <a:gd name="connsiteY64" fmla="*/ 127122 h 716565"/>
                <a:gd name="connsiteX65" fmla="*/ 303507 w 423738"/>
                <a:gd name="connsiteY65" fmla="*/ 121610 h 716565"/>
                <a:gd name="connsiteX66" fmla="*/ 294894 w 423738"/>
                <a:gd name="connsiteY66" fmla="*/ 44785 h 716565"/>
                <a:gd name="connsiteX67" fmla="*/ 281459 w 423738"/>
                <a:gd name="connsiteY67" fmla="*/ 33072 h 716565"/>
                <a:gd name="connsiteX68" fmla="*/ 127811 w 423738"/>
                <a:gd name="connsiteY68" fmla="*/ 33072 h 716565"/>
                <a:gd name="connsiteX69" fmla="*/ 123676 w 423738"/>
                <a:gd name="connsiteY69" fmla="*/ 33072 h 716565"/>
                <a:gd name="connsiteX70" fmla="*/ 115753 w 423738"/>
                <a:gd name="connsiteY70" fmla="*/ 40996 h 716565"/>
                <a:gd name="connsiteX71" fmla="*/ 107140 w 423738"/>
                <a:gd name="connsiteY71" fmla="*/ 121610 h 716565"/>
                <a:gd name="connsiteX72" fmla="*/ 112308 w 423738"/>
                <a:gd name="connsiteY72" fmla="*/ 127466 h 716565"/>
                <a:gd name="connsiteX73" fmla="*/ 204635 w 423738"/>
                <a:gd name="connsiteY73" fmla="*/ 127122 h 716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23738" h="716565">
                  <a:moveTo>
                    <a:pt x="0" y="166050"/>
                  </a:moveTo>
                  <a:cubicBezTo>
                    <a:pt x="2756" y="166395"/>
                    <a:pt x="2067" y="163983"/>
                    <a:pt x="2756" y="162605"/>
                  </a:cubicBezTo>
                  <a:cubicBezTo>
                    <a:pt x="9991" y="143313"/>
                    <a:pt x="23426" y="131600"/>
                    <a:pt x="43407" y="127811"/>
                  </a:cubicBezTo>
                  <a:cubicBezTo>
                    <a:pt x="51675" y="126088"/>
                    <a:pt x="59943" y="126777"/>
                    <a:pt x="68212" y="127122"/>
                  </a:cubicBezTo>
                  <a:cubicBezTo>
                    <a:pt x="72001" y="127122"/>
                    <a:pt x="73379" y="126088"/>
                    <a:pt x="73724" y="122299"/>
                  </a:cubicBezTo>
                  <a:cubicBezTo>
                    <a:pt x="76480" y="93705"/>
                    <a:pt x="79925" y="65456"/>
                    <a:pt x="82681" y="36862"/>
                  </a:cubicBezTo>
                  <a:cubicBezTo>
                    <a:pt x="84748" y="16192"/>
                    <a:pt x="101628" y="0"/>
                    <a:pt x="122987" y="0"/>
                  </a:cubicBezTo>
                  <a:cubicBezTo>
                    <a:pt x="140213" y="0"/>
                    <a:pt x="158127" y="0"/>
                    <a:pt x="175696" y="0"/>
                  </a:cubicBezTo>
                  <a:cubicBezTo>
                    <a:pt x="211869" y="0"/>
                    <a:pt x="248042" y="0"/>
                    <a:pt x="284559" y="0"/>
                  </a:cubicBezTo>
                  <a:cubicBezTo>
                    <a:pt x="309363" y="0"/>
                    <a:pt x="325555" y="15158"/>
                    <a:pt x="327622" y="39962"/>
                  </a:cubicBezTo>
                  <a:cubicBezTo>
                    <a:pt x="330034" y="67178"/>
                    <a:pt x="333479" y="94738"/>
                    <a:pt x="336235" y="121954"/>
                  </a:cubicBezTo>
                  <a:cubicBezTo>
                    <a:pt x="336579" y="126088"/>
                    <a:pt x="338302" y="127122"/>
                    <a:pt x="342436" y="127122"/>
                  </a:cubicBezTo>
                  <a:cubicBezTo>
                    <a:pt x="350704" y="126777"/>
                    <a:pt x="358972" y="126777"/>
                    <a:pt x="366895" y="129189"/>
                  </a:cubicBezTo>
                  <a:cubicBezTo>
                    <a:pt x="388944" y="135734"/>
                    <a:pt x="404102" y="155715"/>
                    <a:pt x="404446" y="178797"/>
                  </a:cubicBezTo>
                  <a:cubicBezTo>
                    <a:pt x="404446" y="193955"/>
                    <a:pt x="404446" y="209458"/>
                    <a:pt x="404446" y="224616"/>
                  </a:cubicBezTo>
                  <a:cubicBezTo>
                    <a:pt x="404446" y="227716"/>
                    <a:pt x="405135" y="228750"/>
                    <a:pt x="408580" y="228750"/>
                  </a:cubicBezTo>
                  <a:cubicBezTo>
                    <a:pt x="419260" y="228405"/>
                    <a:pt x="426150" y="234951"/>
                    <a:pt x="426150" y="245975"/>
                  </a:cubicBezTo>
                  <a:cubicBezTo>
                    <a:pt x="426150" y="260100"/>
                    <a:pt x="426150" y="274569"/>
                    <a:pt x="426150" y="288693"/>
                  </a:cubicBezTo>
                  <a:cubicBezTo>
                    <a:pt x="426150" y="300062"/>
                    <a:pt x="418915" y="306952"/>
                    <a:pt x="407547" y="305919"/>
                  </a:cubicBezTo>
                  <a:cubicBezTo>
                    <a:pt x="405135" y="305574"/>
                    <a:pt x="404102" y="306263"/>
                    <a:pt x="404446" y="308675"/>
                  </a:cubicBezTo>
                  <a:cubicBezTo>
                    <a:pt x="404446" y="325555"/>
                    <a:pt x="404446" y="342091"/>
                    <a:pt x="404446" y="358972"/>
                  </a:cubicBezTo>
                  <a:cubicBezTo>
                    <a:pt x="404446" y="361384"/>
                    <a:pt x="405135" y="362073"/>
                    <a:pt x="407547" y="362073"/>
                  </a:cubicBezTo>
                  <a:cubicBezTo>
                    <a:pt x="419949" y="362073"/>
                    <a:pt x="426150" y="368274"/>
                    <a:pt x="426150" y="380331"/>
                  </a:cubicBezTo>
                  <a:cubicBezTo>
                    <a:pt x="426150" y="408236"/>
                    <a:pt x="426150" y="435796"/>
                    <a:pt x="426150" y="463701"/>
                  </a:cubicBezTo>
                  <a:cubicBezTo>
                    <a:pt x="426150" y="475759"/>
                    <a:pt x="418915" y="482649"/>
                    <a:pt x="406858" y="481615"/>
                  </a:cubicBezTo>
                  <a:cubicBezTo>
                    <a:pt x="403068" y="481271"/>
                    <a:pt x="404446" y="483682"/>
                    <a:pt x="404446" y="485060"/>
                  </a:cubicBezTo>
                  <a:cubicBezTo>
                    <a:pt x="404446" y="502630"/>
                    <a:pt x="404446" y="520544"/>
                    <a:pt x="404446" y="538114"/>
                  </a:cubicBezTo>
                  <a:cubicBezTo>
                    <a:pt x="404446" y="568774"/>
                    <a:pt x="381709" y="591511"/>
                    <a:pt x="351393" y="591511"/>
                  </a:cubicBezTo>
                  <a:cubicBezTo>
                    <a:pt x="348637" y="591511"/>
                    <a:pt x="345881" y="591856"/>
                    <a:pt x="343469" y="591511"/>
                  </a:cubicBezTo>
                  <a:cubicBezTo>
                    <a:pt x="338646" y="590822"/>
                    <a:pt x="336924" y="592545"/>
                    <a:pt x="336235" y="597713"/>
                  </a:cubicBezTo>
                  <a:cubicBezTo>
                    <a:pt x="333479" y="625962"/>
                    <a:pt x="330378" y="653866"/>
                    <a:pt x="327622" y="682116"/>
                  </a:cubicBezTo>
                  <a:cubicBezTo>
                    <a:pt x="325555" y="702441"/>
                    <a:pt x="309019" y="717944"/>
                    <a:pt x="288349" y="718633"/>
                  </a:cubicBezTo>
                  <a:cubicBezTo>
                    <a:pt x="280425" y="718978"/>
                    <a:pt x="272846" y="718633"/>
                    <a:pt x="264923" y="718633"/>
                  </a:cubicBezTo>
                  <a:cubicBezTo>
                    <a:pt x="218415" y="718633"/>
                    <a:pt x="172251" y="718633"/>
                    <a:pt x="125744" y="718633"/>
                  </a:cubicBezTo>
                  <a:cubicBezTo>
                    <a:pt x="100939" y="718633"/>
                    <a:pt x="85092" y="703475"/>
                    <a:pt x="82681" y="678671"/>
                  </a:cubicBezTo>
                  <a:cubicBezTo>
                    <a:pt x="80269" y="650766"/>
                    <a:pt x="76824" y="623206"/>
                    <a:pt x="73724" y="595301"/>
                  </a:cubicBezTo>
                  <a:cubicBezTo>
                    <a:pt x="73379" y="592200"/>
                    <a:pt x="72001" y="591511"/>
                    <a:pt x="69245" y="591511"/>
                  </a:cubicBezTo>
                  <a:cubicBezTo>
                    <a:pt x="60288" y="591511"/>
                    <a:pt x="51331" y="592545"/>
                    <a:pt x="42718" y="590822"/>
                  </a:cubicBezTo>
                  <a:cubicBezTo>
                    <a:pt x="23082" y="586688"/>
                    <a:pt x="9991" y="574975"/>
                    <a:pt x="3101" y="556372"/>
                  </a:cubicBezTo>
                  <a:cubicBezTo>
                    <a:pt x="2067" y="553616"/>
                    <a:pt x="2067" y="553616"/>
                    <a:pt x="345" y="552927"/>
                  </a:cubicBezTo>
                  <a:cubicBezTo>
                    <a:pt x="0" y="423739"/>
                    <a:pt x="0" y="294894"/>
                    <a:pt x="0" y="166050"/>
                  </a:cubicBezTo>
                  <a:close/>
                  <a:moveTo>
                    <a:pt x="371374" y="359317"/>
                  </a:moveTo>
                  <a:cubicBezTo>
                    <a:pt x="371374" y="300407"/>
                    <a:pt x="371374" y="241152"/>
                    <a:pt x="371374" y="182242"/>
                  </a:cubicBezTo>
                  <a:cubicBezTo>
                    <a:pt x="371374" y="167773"/>
                    <a:pt x="363795" y="160538"/>
                    <a:pt x="349326" y="160538"/>
                  </a:cubicBezTo>
                  <a:cubicBezTo>
                    <a:pt x="251143" y="160538"/>
                    <a:pt x="152615" y="160538"/>
                    <a:pt x="54431" y="160538"/>
                  </a:cubicBezTo>
                  <a:cubicBezTo>
                    <a:pt x="40307" y="160538"/>
                    <a:pt x="32728" y="168117"/>
                    <a:pt x="32728" y="182242"/>
                  </a:cubicBezTo>
                  <a:cubicBezTo>
                    <a:pt x="32728" y="300407"/>
                    <a:pt x="32728" y="418571"/>
                    <a:pt x="32728" y="536736"/>
                  </a:cubicBezTo>
                  <a:cubicBezTo>
                    <a:pt x="32728" y="549827"/>
                    <a:pt x="41685" y="558784"/>
                    <a:pt x="54431" y="558784"/>
                  </a:cubicBezTo>
                  <a:cubicBezTo>
                    <a:pt x="152959" y="558439"/>
                    <a:pt x="251487" y="558439"/>
                    <a:pt x="349670" y="558784"/>
                  </a:cubicBezTo>
                  <a:cubicBezTo>
                    <a:pt x="364139" y="558784"/>
                    <a:pt x="371718" y="548104"/>
                    <a:pt x="371374" y="537080"/>
                  </a:cubicBezTo>
                  <a:cubicBezTo>
                    <a:pt x="371374" y="477481"/>
                    <a:pt x="371374" y="418571"/>
                    <a:pt x="371374" y="359317"/>
                  </a:cubicBezTo>
                  <a:close/>
                  <a:moveTo>
                    <a:pt x="204979" y="591511"/>
                  </a:moveTo>
                  <a:cubicBezTo>
                    <a:pt x="193266" y="591511"/>
                    <a:pt x="181897" y="591511"/>
                    <a:pt x="170184" y="591511"/>
                  </a:cubicBezTo>
                  <a:cubicBezTo>
                    <a:pt x="150203" y="591511"/>
                    <a:pt x="130567" y="591511"/>
                    <a:pt x="110585" y="591511"/>
                  </a:cubicBezTo>
                  <a:cubicBezTo>
                    <a:pt x="108174" y="591511"/>
                    <a:pt x="105418" y="590822"/>
                    <a:pt x="106107" y="595301"/>
                  </a:cubicBezTo>
                  <a:cubicBezTo>
                    <a:pt x="109207" y="621828"/>
                    <a:pt x="111963" y="648699"/>
                    <a:pt x="115064" y="675226"/>
                  </a:cubicBezTo>
                  <a:cubicBezTo>
                    <a:pt x="116097" y="684183"/>
                    <a:pt x="117820" y="685561"/>
                    <a:pt x="126433" y="685561"/>
                  </a:cubicBezTo>
                  <a:cubicBezTo>
                    <a:pt x="178797" y="685561"/>
                    <a:pt x="230817" y="685561"/>
                    <a:pt x="283181" y="685561"/>
                  </a:cubicBezTo>
                  <a:cubicBezTo>
                    <a:pt x="284904" y="685561"/>
                    <a:pt x="286282" y="685561"/>
                    <a:pt x="288004" y="685216"/>
                  </a:cubicBezTo>
                  <a:cubicBezTo>
                    <a:pt x="291794" y="684527"/>
                    <a:pt x="294205" y="682460"/>
                    <a:pt x="294550" y="678326"/>
                  </a:cubicBezTo>
                  <a:cubicBezTo>
                    <a:pt x="297306" y="651110"/>
                    <a:pt x="300062" y="623895"/>
                    <a:pt x="303162" y="596679"/>
                  </a:cubicBezTo>
                  <a:cubicBezTo>
                    <a:pt x="303851" y="591511"/>
                    <a:pt x="302129" y="591167"/>
                    <a:pt x="297995" y="591167"/>
                  </a:cubicBezTo>
                  <a:cubicBezTo>
                    <a:pt x="266990" y="591511"/>
                    <a:pt x="235984" y="591511"/>
                    <a:pt x="204979" y="591511"/>
                  </a:cubicBezTo>
                  <a:close/>
                  <a:moveTo>
                    <a:pt x="204635" y="127122"/>
                  </a:moveTo>
                  <a:cubicBezTo>
                    <a:pt x="235640" y="127122"/>
                    <a:pt x="266645" y="127122"/>
                    <a:pt x="297995" y="127122"/>
                  </a:cubicBezTo>
                  <a:cubicBezTo>
                    <a:pt x="302129" y="127122"/>
                    <a:pt x="303851" y="126433"/>
                    <a:pt x="303507" y="121610"/>
                  </a:cubicBezTo>
                  <a:cubicBezTo>
                    <a:pt x="300406" y="96116"/>
                    <a:pt x="297995" y="70279"/>
                    <a:pt x="294894" y="44785"/>
                  </a:cubicBezTo>
                  <a:cubicBezTo>
                    <a:pt x="293516" y="33761"/>
                    <a:pt x="292827" y="33072"/>
                    <a:pt x="281459" y="33072"/>
                  </a:cubicBezTo>
                  <a:cubicBezTo>
                    <a:pt x="230128" y="33072"/>
                    <a:pt x="179141" y="33072"/>
                    <a:pt x="127811" y="33072"/>
                  </a:cubicBezTo>
                  <a:cubicBezTo>
                    <a:pt x="126433" y="33072"/>
                    <a:pt x="125055" y="33072"/>
                    <a:pt x="123676" y="33072"/>
                  </a:cubicBezTo>
                  <a:cubicBezTo>
                    <a:pt x="118509" y="33417"/>
                    <a:pt x="116097" y="35828"/>
                    <a:pt x="115753" y="40996"/>
                  </a:cubicBezTo>
                  <a:cubicBezTo>
                    <a:pt x="112997" y="67867"/>
                    <a:pt x="110241" y="94738"/>
                    <a:pt x="107140" y="121610"/>
                  </a:cubicBezTo>
                  <a:cubicBezTo>
                    <a:pt x="106451" y="126433"/>
                    <a:pt x="107829" y="127466"/>
                    <a:pt x="112308" y="127466"/>
                  </a:cubicBezTo>
                  <a:cubicBezTo>
                    <a:pt x="142624" y="127122"/>
                    <a:pt x="173629" y="127122"/>
                    <a:pt x="204635" y="127122"/>
                  </a:cubicBezTo>
                  <a:close/>
                </a:path>
              </a:pathLst>
            </a:custGeom>
            <a:solidFill>
              <a:srgbClr val="000000"/>
            </a:solidFill>
            <a:ln w="3408" cap="flat">
              <a:noFill/>
              <a:prstDash val="solid"/>
              <a:miter/>
            </a:ln>
          </p:spPr>
          <p:txBody>
            <a:bodyPr rtlCol="0" anchor="ctr"/>
            <a:lstStyle/>
            <a:p>
              <a:pPr defTabSz="1219170"/>
              <a:endParaRPr lang="en-US" sz="2400">
                <a:solidFill>
                  <a:srgbClr val="102B62"/>
                </a:solidFill>
                <a:latin typeface="Arial"/>
              </a:endParaRPr>
            </a:p>
          </p:txBody>
        </p:sp>
        <p:sp>
          <p:nvSpPr>
            <p:cNvPr id="52" name="Freeform: Shape 51">
              <a:extLst>
                <a:ext uri="{FF2B5EF4-FFF2-40B4-BE49-F238E27FC236}">
                  <a16:creationId xmlns:a16="http://schemas.microsoft.com/office/drawing/2014/main" id="{2D00EA28-F69D-4938-A67B-8F5CAC981F0F}"/>
                </a:ext>
              </a:extLst>
            </p:cNvPr>
            <p:cNvSpPr/>
            <p:nvPr/>
          </p:nvSpPr>
          <p:spPr>
            <a:xfrm>
              <a:off x="6100971" y="2512987"/>
              <a:ext cx="282492" cy="716566"/>
            </a:xfrm>
            <a:custGeom>
              <a:avLst/>
              <a:gdLst>
                <a:gd name="connsiteX0" fmla="*/ 283870 w 282492"/>
                <a:gd name="connsiteY0" fmla="*/ 106515 h 716565"/>
                <a:gd name="connsiteX1" fmla="*/ 260789 w 282492"/>
                <a:gd name="connsiteY1" fmla="*/ 106515 h 716565"/>
                <a:gd name="connsiteX2" fmla="*/ 257344 w 282492"/>
                <a:gd name="connsiteY2" fmla="*/ 109960 h 716565"/>
                <a:gd name="connsiteX3" fmla="*/ 257344 w 282492"/>
                <a:gd name="connsiteY3" fmla="*/ 114783 h 716565"/>
                <a:gd name="connsiteX4" fmla="*/ 257344 w 282492"/>
                <a:gd name="connsiteY4" fmla="*/ 604321 h 716565"/>
                <a:gd name="connsiteX5" fmla="*/ 130567 w 282492"/>
                <a:gd name="connsiteY5" fmla="*/ 718352 h 716565"/>
                <a:gd name="connsiteX6" fmla="*/ 34795 w 282492"/>
                <a:gd name="connsiteY6" fmla="*/ 648073 h 716565"/>
                <a:gd name="connsiteX7" fmla="*/ 26871 w 282492"/>
                <a:gd name="connsiteY7" fmla="*/ 599843 h 716565"/>
                <a:gd name="connsiteX8" fmla="*/ 26871 w 282492"/>
                <a:gd name="connsiteY8" fmla="*/ 113060 h 716565"/>
                <a:gd name="connsiteX9" fmla="*/ 19981 w 282492"/>
                <a:gd name="connsiteY9" fmla="*/ 106515 h 716565"/>
                <a:gd name="connsiteX10" fmla="*/ 4823 w 282492"/>
                <a:gd name="connsiteY10" fmla="*/ 106515 h 716565"/>
                <a:gd name="connsiteX11" fmla="*/ 0 w 282492"/>
                <a:gd name="connsiteY11" fmla="*/ 101692 h 716565"/>
                <a:gd name="connsiteX12" fmla="*/ 0 w 282492"/>
                <a:gd name="connsiteY12" fmla="*/ 24179 h 716565"/>
                <a:gd name="connsiteX13" fmla="*/ 0 w 282492"/>
                <a:gd name="connsiteY13" fmla="*/ 3853 h 716565"/>
                <a:gd name="connsiteX14" fmla="*/ 4134 w 282492"/>
                <a:gd name="connsiteY14" fmla="*/ 63 h 716565"/>
                <a:gd name="connsiteX15" fmla="*/ 5857 w 282492"/>
                <a:gd name="connsiteY15" fmla="*/ 63 h 716565"/>
                <a:gd name="connsiteX16" fmla="*/ 283526 w 282492"/>
                <a:gd name="connsiteY16" fmla="*/ 63 h 716565"/>
                <a:gd name="connsiteX17" fmla="*/ 283870 w 282492"/>
                <a:gd name="connsiteY17" fmla="*/ 106515 h 716565"/>
                <a:gd name="connsiteX18" fmla="*/ 221860 w 282492"/>
                <a:gd name="connsiteY18" fmla="*/ 458941 h 716565"/>
                <a:gd name="connsiteX19" fmla="*/ 221860 w 282492"/>
                <a:gd name="connsiteY19" fmla="*/ 309771 h 716565"/>
                <a:gd name="connsiteX20" fmla="*/ 217381 w 282492"/>
                <a:gd name="connsiteY20" fmla="*/ 304604 h 716565"/>
                <a:gd name="connsiteX21" fmla="*/ 62700 w 282492"/>
                <a:gd name="connsiteY21" fmla="*/ 304604 h 716565"/>
                <a:gd name="connsiteX22" fmla="*/ 58221 w 282492"/>
                <a:gd name="connsiteY22" fmla="*/ 309427 h 716565"/>
                <a:gd name="connsiteX23" fmla="*/ 58221 w 282492"/>
                <a:gd name="connsiteY23" fmla="*/ 338021 h 716565"/>
                <a:gd name="connsiteX24" fmla="*/ 64422 w 282492"/>
                <a:gd name="connsiteY24" fmla="*/ 344222 h 716565"/>
                <a:gd name="connsiteX25" fmla="*/ 137112 w 282492"/>
                <a:gd name="connsiteY25" fmla="*/ 344222 h 716565"/>
                <a:gd name="connsiteX26" fmla="*/ 142280 w 282492"/>
                <a:gd name="connsiteY26" fmla="*/ 349389 h 716565"/>
                <a:gd name="connsiteX27" fmla="*/ 142280 w 282492"/>
                <a:gd name="connsiteY27" fmla="*/ 369370 h 716565"/>
                <a:gd name="connsiteX28" fmla="*/ 136768 w 282492"/>
                <a:gd name="connsiteY28" fmla="*/ 375227 h 716565"/>
                <a:gd name="connsiteX29" fmla="*/ 63044 w 282492"/>
                <a:gd name="connsiteY29" fmla="*/ 375227 h 716565"/>
                <a:gd name="connsiteX30" fmla="*/ 58221 w 282492"/>
                <a:gd name="connsiteY30" fmla="*/ 380050 h 716565"/>
                <a:gd name="connsiteX31" fmla="*/ 58221 w 282492"/>
                <a:gd name="connsiteY31" fmla="*/ 409677 h 716565"/>
                <a:gd name="connsiteX32" fmla="*/ 63733 w 282492"/>
                <a:gd name="connsiteY32" fmla="*/ 414845 h 716565"/>
                <a:gd name="connsiteX33" fmla="*/ 115753 w 282492"/>
                <a:gd name="connsiteY33" fmla="*/ 414845 h 716565"/>
                <a:gd name="connsiteX34" fmla="*/ 120231 w 282492"/>
                <a:gd name="connsiteY34" fmla="*/ 419323 h 716565"/>
                <a:gd name="connsiteX35" fmla="*/ 120231 w 282492"/>
                <a:gd name="connsiteY35" fmla="*/ 445161 h 716565"/>
                <a:gd name="connsiteX36" fmla="*/ 114719 w 282492"/>
                <a:gd name="connsiteY36" fmla="*/ 450673 h 716565"/>
                <a:gd name="connsiteX37" fmla="*/ 62700 w 282492"/>
                <a:gd name="connsiteY37" fmla="*/ 450673 h 716565"/>
                <a:gd name="connsiteX38" fmla="*/ 58221 w 282492"/>
                <a:gd name="connsiteY38" fmla="*/ 455152 h 716565"/>
                <a:gd name="connsiteX39" fmla="*/ 58221 w 282492"/>
                <a:gd name="connsiteY39" fmla="*/ 482367 h 716565"/>
                <a:gd name="connsiteX40" fmla="*/ 65800 w 282492"/>
                <a:gd name="connsiteY40" fmla="*/ 489946 h 716565"/>
                <a:gd name="connsiteX41" fmla="*/ 137112 w 282492"/>
                <a:gd name="connsiteY41" fmla="*/ 489946 h 716565"/>
                <a:gd name="connsiteX42" fmla="*/ 142280 w 282492"/>
                <a:gd name="connsiteY42" fmla="*/ 495114 h 716565"/>
                <a:gd name="connsiteX43" fmla="*/ 142280 w 282492"/>
                <a:gd name="connsiteY43" fmla="*/ 515784 h 716565"/>
                <a:gd name="connsiteX44" fmla="*/ 136768 w 282492"/>
                <a:gd name="connsiteY44" fmla="*/ 521296 h 716565"/>
                <a:gd name="connsiteX45" fmla="*/ 63733 w 282492"/>
                <a:gd name="connsiteY45" fmla="*/ 520952 h 716565"/>
                <a:gd name="connsiteX46" fmla="*/ 58221 w 282492"/>
                <a:gd name="connsiteY46" fmla="*/ 526464 h 716565"/>
                <a:gd name="connsiteX47" fmla="*/ 58221 w 282492"/>
                <a:gd name="connsiteY47" fmla="*/ 555057 h 716565"/>
                <a:gd name="connsiteX48" fmla="*/ 63389 w 282492"/>
                <a:gd name="connsiteY48" fmla="*/ 560570 h 716565"/>
                <a:gd name="connsiteX49" fmla="*/ 115408 w 282492"/>
                <a:gd name="connsiteY49" fmla="*/ 560570 h 716565"/>
                <a:gd name="connsiteX50" fmla="*/ 120231 w 282492"/>
                <a:gd name="connsiteY50" fmla="*/ 565393 h 716565"/>
                <a:gd name="connsiteX51" fmla="*/ 120231 w 282492"/>
                <a:gd name="connsiteY51" fmla="*/ 590541 h 716565"/>
                <a:gd name="connsiteX52" fmla="*/ 114375 w 282492"/>
                <a:gd name="connsiteY52" fmla="*/ 596398 h 716565"/>
                <a:gd name="connsiteX53" fmla="*/ 63733 w 282492"/>
                <a:gd name="connsiteY53" fmla="*/ 596053 h 716565"/>
                <a:gd name="connsiteX54" fmla="*/ 57876 w 282492"/>
                <a:gd name="connsiteY54" fmla="*/ 601910 h 716565"/>
                <a:gd name="connsiteX55" fmla="*/ 59255 w 282492"/>
                <a:gd name="connsiteY55" fmla="*/ 621547 h 716565"/>
                <a:gd name="connsiteX56" fmla="*/ 111963 w 282492"/>
                <a:gd name="connsiteY56" fmla="*/ 683213 h 716565"/>
                <a:gd name="connsiteX57" fmla="*/ 193955 w 282492"/>
                <a:gd name="connsiteY57" fmla="*/ 668399 h 716565"/>
                <a:gd name="connsiteX58" fmla="*/ 221171 w 282492"/>
                <a:gd name="connsiteY58" fmla="*/ 606044 h 716565"/>
                <a:gd name="connsiteX59" fmla="*/ 221860 w 282492"/>
                <a:gd name="connsiteY59" fmla="*/ 458941 h 716565"/>
                <a:gd name="connsiteX60" fmla="*/ 221860 w 282492"/>
                <a:gd name="connsiteY60" fmla="*/ 189884 h 716565"/>
                <a:gd name="connsiteX61" fmla="*/ 221860 w 282492"/>
                <a:gd name="connsiteY61" fmla="*/ 111682 h 716565"/>
                <a:gd name="connsiteX62" fmla="*/ 216692 w 282492"/>
                <a:gd name="connsiteY62" fmla="*/ 106515 h 716565"/>
                <a:gd name="connsiteX63" fmla="*/ 63389 w 282492"/>
                <a:gd name="connsiteY63" fmla="*/ 106515 h 716565"/>
                <a:gd name="connsiteX64" fmla="*/ 58221 w 282492"/>
                <a:gd name="connsiteY64" fmla="*/ 111682 h 716565"/>
                <a:gd name="connsiteX65" fmla="*/ 58221 w 282492"/>
                <a:gd name="connsiteY65" fmla="*/ 268776 h 716565"/>
                <a:gd name="connsiteX66" fmla="*/ 63044 w 282492"/>
                <a:gd name="connsiteY66" fmla="*/ 273943 h 716565"/>
                <a:gd name="connsiteX67" fmla="*/ 216692 w 282492"/>
                <a:gd name="connsiteY67" fmla="*/ 273943 h 716565"/>
                <a:gd name="connsiteX68" fmla="*/ 221515 w 282492"/>
                <a:gd name="connsiteY68" fmla="*/ 268776 h 716565"/>
                <a:gd name="connsiteX69" fmla="*/ 221860 w 282492"/>
                <a:gd name="connsiteY69" fmla="*/ 189884 h 716565"/>
                <a:gd name="connsiteX70" fmla="*/ 139524 w 282492"/>
                <a:gd name="connsiteY70" fmla="*/ 75509 h 716565"/>
                <a:gd name="connsiteX71" fmla="*/ 243563 w 282492"/>
                <a:gd name="connsiteY71" fmla="*/ 75509 h 716565"/>
                <a:gd name="connsiteX72" fmla="*/ 248387 w 282492"/>
                <a:gd name="connsiteY72" fmla="*/ 71031 h 716565"/>
                <a:gd name="connsiteX73" fmla="*/ 248387 w 282492"/>
                <a:gd name="connsiteY73" fmla="*/ 35892 h 716565"/>
                <a:gd name="connsiteX74" fmla="*/ 244252 w 282492"/>
                <a:gd name="connsiteY74" fmla="*/ 31413 h 716565"/>
                <a:gd name="connsiteX75" fmla="*/ 35828 w 282492"/>
                <a:gd name="connsiteY75" fmla="*/ 31413 h 716565"/>
                <a:gd name="connsiteX76" fmla="*/ 31694 w 282492"/>
                <a:gd name="connsiteY76" fmla="*/ 35892 h 716565"/>
                <a:gd name="connsiteX77" fmla="*/ 31694 w 282492"/>
                <a:gd name="connsiteY77" fmla="*/ 69653 h 716565"/>
                <a:gd name="connsiteX78" fmla="*/ 37551 w 282492"/>
                <a:gd name="connsiteY78" fmla="*/ 75509 h 716565"/>
                <a:gd name="connsiteX79" fmla="*/ 139524 w 282492"/>
                <a:gd name="connsiteY79" fmla="*/ 75509 h 716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82492" h="716565">
                  <a:moveTo>
                    <a:pt x="283870" y="106515"/>
                  </a:moveTo>
                  <a:cubicBezTo>
                    <a:pt x="276291" y="106515"/>
                    <a:pt x="268712" y="106515"/>
                    <a:pt x="260789" y="106515"/>
                  </a:cubicBezTo>
                  <a:cubicBezTo>
                    <a:pt x="258033" y="106515"/>
                    <a:pt x="256999" y="107548"/>
                    <a:pt x="257344" y="109960"/>
                  </a:cubicBezTo>
                  <a:cubicBezTo>
                    <a:pt x="257344" y="111682"/>
                    <a:pt x="257344" y="113060"/>
                    <a:pt x="257344" y="114783"/>
                  </a:cubicBezTo>
                  <a:cubicBezTo>
                    <a:pt x="257344" y="278077"/>
                    <a:pt x="257344" y="441027"/>
                    <a:pt x="257344" y="604321"/>
                  </a:cubicBezTo>
                  <a:cubicBezTo>
                    <a:pt x="257344" y="672877"/>
                    <a:pt x="198778" y="725586"/>
                    <a:pt x="130567" y="718352"/>
                  </a:cubicBezTo>
                  <a:cubicBezTo>
                    <a:pt x="85092" y="713529"/>
                    <a:pt x="52364" y="690792"/>
                    <a:pt x="34795" y="648073"/>
                  </a:cubicBezTo>
                  <a:cubicBezTo>
                    <a:pt x="28594" y="632571"/>
                    <a:pt x="26871" y="616379"/>
                    <a:pt x="26871" y="599843"/>
                  </a:cubicBezTo>
                  <a:cubicBezTo>
                    <a:pt x="26871" y="437582"/>
                    <a:pt x="26871" y="275321"/>
                    <a:pt x="26871" y="113060"/>
                  </a:cubicBezTo>
                  <a:cubicBezTo>
                    <a:pt x="26871" y="105481"/>
                    <a:pt x="27905" y="106515"/>
                    <a:pt x="19981" y="106515"/>
                  </a:cubicBezTo>
                  <a:cubicBezTo>
                    <a:pt x="14814" y="106515"/>
                    <a:pt x="9991" y="106170"/>
                    <a:pt x="4823" y="106515"/>
                  </a:cubicBezTo>
                  <a:cubicBezTo>
                    <a:pt x="1034" y="106859"/>
                    <a:pt x="0" y="105481"/>
                    <a:pt x="0" y="101692"/>
                  </a:cubicBezTo>
                  <a:cubicBezTo>
                    <a:pt x="0" y="75854"/>
                    <a:pt x="0" y="50016"/>
                    <a:pt x="0" y="24179"/>
                  </a:cubicBezTo>
                  <a:cubicBezTo>
                    <a:pt x="0" y="17288"/>
                    <a:pt x="0" y="10743"/>
                    <a:pt x="0" y="3853"/>
                  </a:cubicBezTo>
                  <a:cubicBezTo>
                    <a:pt x="0" y="752"/>
                    <a:pt x="1034" y="-281"/>
                    <a:pt x="4134" y="63"/>
                  </a:cubicBezTo>
                  <a:cubicBezTo>
                    <a:pt x="4823" y="63"/>
                    <a:pt x="5512" y="63"/>
                    <a:pt x="5857" y="63"/>
                  </a:cubicBezTo>
                  <a:cubicBezTo>
                    <a:pt x="98528" y="63"/>
                    <a:pt x="190855" y="63"/>
                    <a:pt x="283526" y="63"/>
                  </a:cubicBezTo>
                  <a:cubicBezTo>
                    <a:pt x="283870" y="35892"/>
                    <a:pt x="283870" y="71031"/>
                    <a:pt x="283870" y="106515"/>
                  </a:cubicBezTo>
                  <a:close/>
                  <a:moveTo>
                    <a:pt x="221860" y="458941"/>
                  </a:moveTo>
                  <a:cubicBezTo>
                    <a:pt x="221860" y="409333"/>
                    <a:pt x="221860" y="359380"/>
                    <a:pt x="221860" y="309771"/>
                  </a:cubicBezTo>
                  <a:cubicBezTo>
                    <a:pt x="221860" y="306671"/>
                    <a:pt x="221515" y="304604"/>
                    <a:pt x="217381" y="304604"/>
                  </a:cubicBezTo>
                  <a:cubicBezTo>
                    <a:pt x="165706" y="304604"/>
                    <a:pt x="114375" y="304604"/>
                    <a:pt x="62700" y="304604"/>
                  </a:cubicBezTo>
                  <a:cubicBezTo>
                    <a:pt x="59255" y="304604"/>
                    <a:pt x="58221" y="305982"/>
                    <a:pt x="58221" y="309427"/>
                  </a:cubicBezTo>
                  <a:cubicBezTo>
                    <a:pt x="58221" y="319073"/>
                    <a:pt x="58221" y="328375"/>
                    <a:pt x="58221" y="338021"/>
                  </a:cubicBezTo>
                  <a:cubicBezTo>
                    <a:pt x="58221" y="344222"/>
                    <a:pt x="58221" y="344222"/>
                    <a:pt x="64422" y="344222"/>
                  </a:cubicBezTo>
                  <a:cubicBezTo>
                    <a:pt x="88537" y="344222"/>
                    <a:pt x="112997" y="344222"/>
                    <a:pt x="137112" y="344222"/>
                  </a:cubicBezTo>
                  <a:cubicBezTo>
                    <a:pt x="141246" y="344222"/>
                    <a:pt x="142624" y="345255"/>
                    <a:pt x="142280" y="349389"/>
                  </a:cubicBezTo>
                  <a:cubicBezTo>
                    <a:pt x="141935" y="355935"/>
                    <a:pt x="141935" y="362825"/>
                    <a:pt x="142280" y="369370"/>
                  </a:cubicBezTo>
                  <a:cubicBezTo>
                    <a:pt x="142624" y="373849"/>
                    <a:pt x="141246" y="375227"/>
                    <a:pt x="136768" y="375227"/>
                  </a:cubicBezTo>
                  <a:cubicBezTo>
                    <a:pt x="112308" y="374882"/>
                    <a:pt x="87848" y="375227"/>
                    <a:pt x="63044" y="375227"/>
                  </a:cubicBezTo>
                  <a:cubicBezTo>
                    <a:pt x="59599" y="375227"/>
                    <a:pt x="58221" y="376260"/>
                    <a:pt x="58221" y="380050"/>
                  </a:cubicBezTo>
                  <a:cubicBezTo>
                    <a:pt x="58565" y="390041"/>
                    <a:pt x="58565" y="399687"/>
                    <a:pt x="58221" y="409677"/>
                  </a:cubicBezTo>
                  <a:cubicBezTo>
                    <a:pt x="58221" y="413811"/>
                    <a:pt x="59599" y="414845"/>
                    <a:pt x="63733" y="414845"/>
                  </a:cubicBezTo>
                  <a:cubicBezTo>
                    <a:pt x="80958" y="414500"/>
                    <a:pt x="98528" y="414845"/>
                    <a:pt x="115753" y="414845"/>
                  </a:cubicBezTo>
                  <a:cubicBezTo>
                    <a:pt x="119198" y="414845"/>
                    <a:pt x="120576" y="415534"/>
                    <a:pt x="120231" y="419323"/>
                  </a:cubicBezTo>
                  <a:cubicBezTo>
                    <a:pt x="119887" y="427936"/>
                    <a:pt x="119887" y="436548"/>
                    <a:pt x="120231" y="445161"/>
                  </a:cubicBezTo>
                  <a:cubicBezTo>
                    <a:pt x="120231" y="449295"/>
                    <a:pt x="119198" y="450673"/>
                    <a:pt x="114719" y="450673"/>
                  </a:cubicBezTo>
                  <a:cubicBezTo>
                    <a:pt x="97494" y="450329"/>
                    <a:pt x="79925" y="450673"/>
                    <a:pt x="62700" y="450673"/>
                  </a:cubicBezTo>
                  <a:cubicBezTo>
                    <a:pt x="59255" y="450673"/>
                    <a:pt x="57876" y="451707"/>
                    <a:pt x="58221" y="455152"/>
                  </a:cubicBezTo>
                  <a:cubicBezTo>
                    <a:pt x="58565" y="464109"/>
                    <a:pt x="58221" y="473410"/>
                    <a:pt x="58221" y="482367"/>
                  </a:cubicBezTo>
                  <a:cubicBezTo>
                    <a:pt x="58221" y="490635"/>
                    <a:pt x="57532" y="489946"/>
                    <a:pt x="65800" y="489946"/>
                  </a:cubicBezTo>
                  <a:cubicBezTo>
                    <a:pt x="89571" y="489946"/>
                    <a:pt x="113341" y="489946"/>
                    <a:pt x="137112" y="489946"/>
                  </a:cubicBezTo>
                  <a:cubicBezTo>
                    <a:pt x="140902" y="489946"/>
                    <a:pt x="142624" y="490635"/>
                    <a:pt x="142280" y="495114"/>
                  </a:cubicBezTo>
                  <a:cubicBezTo>
                    <a:pt x="141935" y="502004"/>
                    <a:pt x="141935" y="508894"/>
                    <a:pt x="142280" y="515784"/>
                  </a:cubicBezTo>
                  <a:cubicBezTo>
                    <a:pt x="142624" y="520263"/>
                    <a:pt x="140902" y="521296"/>
                    <a:pt x="136768" y="521296"/>
                  </a:cubicBezTo>
                  <a:cubicBezTo>
                    <a:pt x="112308" y="520952"/>
                    <a:pt x="87848" y="521296"/>
                    <a:pt x="63733" y="520952"/>
                  </a:cubicBezTo>
                  <a:cubicBezTo>
                    <a:pt x="59255" y="520952"/>
                    <a:pt x="58221" y="522330"/>
                    <a:pt x="58221" y="526464"/>
                  </a:cubicBezTo>
                  <a:cubicBezTo>
                    <a:pt x="58565" y="536110"/>
                    <a:pt x="58565" y="545411"/>
                    <a:pt x="58221" y="555057"/>
                  </a:cubicBezTo>
                  <a:cubicBezTo>
                    <a:pt x="58221" y="559191"/>
                    <a:pt x="59255" y="560570"/>
                    <a:pt x="63389" y="560570"/>
                  </a:cubicBezTo>
                  <a:cubicBezTo>
                    <a:pt x="80614" y="560225"/>
                    <a:pt x="98183" y="560570"/>
                    <a:pt x="115408" y="560570"/>
                  </a:cubicBezTo>
                  <a:cubicBezTo>
                    <a:pt x="119198" y="560570"/>
                    <a:pt x="120231" y="561603"/>
                    <a:pt x="120231" y="565393"/>
                  </a:cubicBezTo>
                  <a:cubicBezTo>
                    <a:pt x="119887" y="573661"/>
                    <a:pt x="119887" y="582273"/>
                    <a:pt x="120231" y="590541"/>
                  </a:cubicBezTo>
                  <a:cubicBezTo>
                    <a:pt x="120576" y="595020"/>
                    <a:pt x="118853" y="596398"/>
                    <a:pt x="114375" y="596398"/>
                  </a:cubicBezTo>
                  <a:cubicBezTo>
                    <a:pt x="97494" y="596053"/>
                    <a:pt x="80614" y="596398"/>
                    <a:pt x="63733" y="596053"/>
                  </a:cubicBezTo>
                  <a:cubicBezTo>
                    <a:pt x="59255" y="596053"/>
                    <a:pt x="57876" y="597431"/>
                    <a:pt x="57876" y="601910"/>
                  </a:cubicBezTo>
                  <a:cubicBezTo>
                    <a:pt x="58221" y="608455"/>
                    <a:pt x="58221" y="615001"/>
                    <a:pt x="59255" y="621547"/>
                  </a:cubicBezTo>
                  <a:cubicBezTo>
                    <a:pt x="65456" y="651863"/>
                    <a:pt x="82681" y="673222"/>
                    <a:pt x="111963" y="683213"/>
                  </a:cubicBezTo>
                  <a:cubicBezTo>
                    <a:pt x="141591" y="693203"/>
                    <a:pt x="169840" y="689758"/>
                    <a:pt x="193955" y="668399"/>
                  </a:cubicBezTo>
                  <a:cubicBezTo>
                    <a:pt x="212558" y="651863"/>
                    <a:pt x="221171" y="630504"/>
                    <a:pt x="221171" y="606044"/>
                  </a:cubicBezTo>
                  <a:cubicBezTo>
                    <a:pt x="221860" y="556435"/>
                    <a:pt x="221860" y="507861"/>
                    <a:pt x="221860" y="458941"/>
                  </a:cubicBezTo>
                  <a:close/>
                  <a:moveTo>
                    <a:pt x="221860" y="189884"/>
                  </a:moveTo>
                  <a:cubicBezTo>
                    <a:pt x="221860" y="163702"/>
                    <a:pt x="221860" y="137864"/>
                    <a:pt x="221860" y="111682"/>
                  </a:cubicBezTo>
                  <a:cubicBezTo>
                    <a:pt x="221860" y="107548"/>
                    <a:pt x="220826" y="106515"/>
                    <a:pt x="216692" y="106515"/>
                  </a:cubicBezTo>
                  <a:cubicBezTo>
                    <a:pt x="165706" y="106515"/>
                    <a:pt x="114375" y="106515"/>
                    <a:pt x="63389" y="106515"/>
                  </a:cubicBezTo>
                  <a:cubicBezTo>
                    <a:pt x="59255" y="106515"/>
                    <a:pt x="58221" y="107548"/>
                    <a:pt x="58221" y="111682"/>
                  </a:cubicBezTo>
                  <a:cubicBezTo>
                    <a:pt x="58221" y="164047"/>
                    <a:pt x="58221" y="216411"/>
                    <a:pt x="58221" y="268776"/>
                  </a:cubicBezTo>
                  <a:cubicBezTo>
                    <a:pt x="58221" y="272565"/>
                    <a:pt x="59255" y="273943"/>
                    <a:pt x="63044" y="273943"/>
                  </a:cubicBezTo>
                  <a:cubicBezTo>
                    <a:pt x="114375" y="273943"/>
                    <a:pt x="165361" y="273943"/>
                    <a:pt x="216692" y="273943"/>
                  </a:cubicBezTo>
                  <a:cubicBezTo>
                    <a:pt x="220482" y="273943"/>
                    <a:pt x="221515" y="272910"/>
                    <a:pt x="221515" y="268776"/>
                  </a:cubicBezTo>
                  <a:cubicBezTo>
                    <a:pt x="221515" y="242249"/>
                    <a:pt x="221860" y="216067"/>
                    <a:pt x="221860" y="189884"/>
                  </a:cubicBezTo>
                  <a:close/>
                  <a:moveTo>
                    <a:pt x="139524" y="75509"/>
                  </a:moveTo>
                  <a:cubicBezTo>
                    <a:pt x="174318" y="75509"/>
                    <a:pt x="208769" y="75509"/>
                    <a:pt x="243563" y="75509"/>
                  </a:cubicBezTo>
                  <a:cubicBezTo>
                    <a:pt x="247009" y="75509"/>
                    <a:pt x="248387" y="74820"/>
                    <a:pt x="248387" y="71031"/>
                  </a:cubicBezTo>
                  <a:cubicBezTo>
                    <a:pt x="248042" y="59318"/>
                    <a:pt x="248042" y="47605"/>
                    <a:pt x="248387" y="35892"/>
                  </a:cubicBezTo>
                  <a:cubicBezTo>
                    <a:pt x="248387" y="32791"/>
                    <a:pt x="247698" y="31413"/>
                    <a:pt x="244252" y="31413"/>
                  </a:cubicBezTo>
                  <a:cubicBezTo>
                    <a:pt x="174663" y="31413"/>
                    <a:pt x="105073" y="31413"/>
                    <a:pt x="35828" y="31413"/>
                  </a:cubicBezTo>
                  <a:cubicBezTo>
                    <a:pt x="32383" y="31413"/>
                    <a:pt x="31694" y="32791"/>
                    <a:pt x="31694" y="35892"/>
                  </a:cubicBezTo>
                  <a:cubicBezTo>
                    <a:pt x="31694" y="47260"/>
                    <a:pt x="32039" y="58284"/>
                    <a:pt x="31694" y="69653"/>
                  </a:cubicBezTo>
                  <a:cubicBezTo>
                    <a:pt x="31694" y="74131"/>
                    <a:pt x="32383" y="75854"/>
                    <a:pt x="37551" y="75509"/>
                  </a:cubicBezTo>
                  <a:cubicBezTo>
                    <a:pt x="71312" y="75509"/>
                    <a:pt x="105418" y="75509"/>
                    <a:pt x="139524" y="75509"/>
                  </a:cubicBezTo>
                  <a:close/>
                </a:path>
              </a:pathLst>
            </a:custGeom>
            <a:solidFill>
              <a:srgbClr val="000000"/>
            </a:solidFill>
            <a:ln w="3408" cap="flat">
              <a:noFill/>
              <a:prstDash val="solid"/>
              <a:miter/>
            </a:ln>
          </p:spPr>
          <p:txBody>
            <a:bodyPr rtlCol="0" anchor="ctr"/>
            <a:lstStyle/>
            <a:p>
              <a:pPr defTabSz="1219170"/>
              <a:endParaRPr lang="en-US" sz="2400">
                <a:solidFill>
                  <a:srgbClr val="102B62"/>
                </a:solidFill>
                <a:latin typeface="Arial"/>
              </a:endParaRPr>
            </a:p>
          </p:txBody>
        </p:sp>
        <p:sp>
          <p:nvSpPr>
            <p:cNvPr id="53" name="Freeform: Shape 52">
              <a:extLst>
                <a:ext uri="{FF2B5EF4-FFF2-40B4-BE49-F238E27FC236}">
                  <a16:creationId xmlns:a16="http://schemas.microsoft.com/office/drawing/2014/main" id="{15FEC56B-6909-44F6-96D2-C35EEE1B52BF}"/>
                </a:ext>
              </a:extLst>
            </p:cNvPr>
            <p:cNvSpPr/>
            <p:nvPr/>
          </p:nvSpPr>
          <p:spPr>
            <a:xfrm>
              <a:off x="5673098" y="2747407"/>
              <a:ext cx="316943" cy="251487"/>
            </a:xfrm>
            <a:custGeom>
              <a:avLst/>
              <a:gdLst>
                <a:gd name="connsiteX0" fmla="*/ 174663 w 316942"/>
                <a:gd name="connsiteY0" fmla="*/ 139429 h 251487"/>
                <a:gd name="connsiteX1" fmla="*/ 177763 w 316942"/>
                <a:gd name="connsiteY1" fmla="*/ 114624 h 251487"/>
                <a:gd name="connsiteX2" fmla="*/ 179830 w 316942"/>
                <a:gd name="connsiteY2" fmla="*/ 96021 h 251487"/>
                <a:gd name="connsiteX3" fmla="*/ 196711 w 316942"/>
                <a:gd name="connsiteY3" fmla="*/ 77763 h 251487"/>
                <a:gd name="connsiteX4" fmla="*/ 219793 w 316942"/>
                <a:gd name="connsiteY4" fmla="*/ 90854 h 251487"/>
                <a:gd name="connsiteX5" fmla="*/ 237018 w 316942"/>
                <a:gd name="connsiteY5" fmla="*/ 139429 h 251487"/>
                <a:gd name="connsiteX6" fmla="*/ 246319 w 316942"/>
                <a:gd name="connsiteY6" fmla="*/ 145974 h 251487"/>
                <a:gd name="connsiteX7" fmla="*/ 299717 w 316942"/>
                <a:gd name="connsiteY7" fmla="*/ 145974 h 251487"/>
                <a:gd name="connsiteX8" fmla="*/ 317632 w 316942"/>
                <a:gd name="connsiteY8" fmla="*/ 162166 h 251487"/>
                <a:gd name="connsiteX9" fmla="*/ 300062 w 316942"/>
                <a:gd name="connsiteY9" fmla="*/ 179047 h 251487"/>
                <a:gd name="connsiteX10" fmla="*/ 229094 w 316942"/>
                <a:gd name="connsiteY10" fmla="*/ 179047 h 251487"/>
                <a:gd name="connsiteX11" fmla="*/ 211869 w 316942"/>
                <a:gd name="connsiteY11" fmla="*/ 166989 h 251487"/>
                <a:gd name="connsiteX12" fmla="*/ 205668 w 316942"/>
                <a:gd name="connsiteY12" fmla="*/ 152864 h 251487"/>
                <a:gd name="connsiteX13" fmla="*/ 202912 w 316942"/>
                <a:gd name="connsiteY13" fmla="*/ 174568 h 251487"/>
                <a:gd name="connsiteX14" fmla="*/ 195333 w 316942"/>
                <a:gd name="connsiteY14" fmla="*/ 236923 h 251487"/>
                <a:gd name="connsiteX15" fmla="*/ 179830 w 316942"/>
                <a:gd name="connsiteY15" fmla="*/ 252081 h 251487"/>
                <a:gd name="connsiteX16" fmla="*/ 162950 w 316942"/>
                <a:gd name="connsiteY16" fmla="*/ 239334 h 251487"/>
                <a:gd name="connsiteX17" fmla="*/ 144347 w 316942"/>
                <a:gd name="connsiteY17" fmla="*/ 163199 h 251487"/>
                <a:gd name="connsiteX18" fmla="*/ 123676 w 316942"/>
                <a:gd name="connsiteY18" fmla="*/ 78452 h 251487"/>
                <a:gd name="connsiteX19" fmla="*/ 121609 w 316942"/>
                <a:gd name="connsiteY19" fmla="*/ 73973 h 251487"/>
                <a:gd name="connsiteX20" fmla="*/ 117820 w 316942"/>
                <a:gd name="connsiteY20" fmla="*/ 100155 h 251487"/>
                <a:gd name="connsiteX21" fmla="*/ 110241 w 316942"/>
                <a:gd name="connsiteY21" fmla="*/ 154931 h 251487"/>
                <a:gd name="connsiteX22" fmla="*/ 94394 w 316942"/>
                <a:gd name="connsiteY22" fmla="*/ 168711 h 251487"/>
                <a:gd name="connsiteX23" fmla="*/ 16192 w 316942"/>
                <a:gd name="connsiteY23" fmla="*/ 168711 h 251487"/>
                <a:gd name="connsiteX24" fmla="*/ 0 w 316942"/>
                <a:gd name="connsiteY24" fmla="*/ 152175 h 251487"/>
                <a:gd name="connsiteX25" fmla="*/ 16536 w 316942"/>
                <a:gd name="connsiteY25" fmla="*/ 135639 h 251487"/>
                <a:gd name="connsiteX26" fmla="*/ 75791 w 316942"/>
                <a:gd name="connsiteY26" fmla="*/ 135639 h 251487"/>
                <a:gd name="connsiteX27" fmla="*/ 81303 w 316942"/>
                <a:gd name="connsiteY27" fmla="*/ 131161 h 251487"/>
                <a:gd name="connsiteX28" fmla="*/ 96116 w 316942"/>
                <a:gd name="connsiteY28" fmla="*/ 22642 h 251487"/>
                <a:gd name="connsiteX29" fmla="*/ 114030 w 316942"/>
                <a:gd name="connsiteY29" fmla="*/ 939 h 251487"/>
                <a:gd name="connsiteX30" fmla="*/ 139524 w 316942"/>
                <a:gd name="connsiteY30" fmla="*/ 9551 h 251487"/>
                <a:gd name="connsiteX31" fmla="*/ 143658 w 316942"/>
                <a:gd name="connsiteY31" fmla="*/ 19886 h 251487"/>
                <a:gd name="connsiteX32" fmla="*/ 171907 w 316942"/>
                <a:gd name="connsiteY32" fmla="*/ 136328 h 251487"/>
                <a:gd name="connsiteX33" fmla="*/ 172940 w 316942"/>
                <a:gd name="connsiteY33" fmla="*/ 139773 h 251487"/>
                <a:gd name="connsiteX34" fmla="*/ 174663 w 316942"/>
                <a:gd name="connsiteY34" fmla="*/ 139429 h 251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16942" h="251487">
                  <a:moveTo>
                    <a:pt x="174663" y="139429"/>
                  </a:moveTo>
                  <a:cubicBezTo>
                    <a:pt x="175696" y="131161"/>
                    <a:pt x="176730" y="122893"/>
                    <a:pt x="177763" y="114624"/>
                  </a:cubicBezTo>
                  <a:cubicBezTo>
                    <a:pt x="178452" y="108423"/>
                    <a:pt x="179141" y="102222"/>
                    <a:pt x="179830" y="96021"/>
                  </a:cubicBezTo>
                  <a:cubicBezTo>
                    <a:pt x="180864" y="86031"/>
                    <a:pt x="187410" y="79141"/>
                    <a:pt x="196711" y="77763"/>
                  </a:cubicBezTo>
                  <a:cubicBezTo>
                    <a:pt x="206702" y="76385"/>
                    <a:pt x="216348" y="81208"/>
                    <a:pt x="219793" y="90854"/>
                  </a:cubicBezTo>
                  <a:cubicBezTo>
                    <a:pt x="225649" y="107045"/>
                    <a:pt x="231506" y="123237"/>
                    <a:pt x="237018" y="139429"/>
                  </a:cubicBezTo>
                  <a:cubicBezTo>
                    <a:pt x="238740" y="144252"/>
                    <a:pt x="240807" y="145974"/>
                    <a:pt x="246319" y="145974"/>
                  </a:cubicBezTo>
                  <a:cubicBezTo>
                    <a:pt x="264234" y="145630"/>
                    <a:pt x="281803" y="145974"/>
                    <a:pt x="299717" y="145974"/>
                  </a:cubicBezTo>
                  <a:cubicBezTo>
                    <a:pt x="310397" y="145974"/>
                    <a:pt x="317632" y="152175"/>
                    <a:pt x="317632" y="162166"/>
                  </a:cubicBezTo>
                  <a:cubicBezTo>
                    <a:pt x="317632" y="172156"/>
                    <a:pt x="310742" y="179047"/>
                    <a:pt x="300062" y="179047"/>
                  </a:cubicBezTo>
                  <a:cubicBezTo>
                    <a:pt x="276291" y="179047"/>
                    <a:pt x="252865" y="179047"/>
                    <a:pt x="229094" y="179047"/>
                  </a:cubicBezTo>
                  <a:cubicBezTo>
                    <a:pt x="220482" y="179047"/>
                    <a:pt x="214970" y="175257"/>
                    <a:pt x="211869" y="166989"/>
                  </a:cubicBezTo>
                  <a:cubicBezTo>
                    <a:pt x="210147" y="162510"/>
                    <a:pt x="208424" y="157687"/>
                    <a:pt x="205668" y="152864"/>
                  </a:cubicBezTo>
                  <a:cubicBezTo>
                    <a:pt x="204635" y="160099"/>
                    <a:pt x="203601" y="167333"/>
                    <a:pt x="202912" y="174568"/>
                  </a:cubicBezTo>
                  <a:cubicBezTo>
                    <a:pt x="200501" y="195238"/>
                    <a:pt x="197745" y="216253"/>
                    <a:pt x="195333" y="236923"/>
                  </a:cubicBezTo>
                  <a:cubicBezTo>
                    <a:pt x="194300" y="245191"/>
                    <a:pt x="188099" y="251392"/>
                    <a:pt x="179830" y="252081"/>
                  </a:cubicBezTo>
                  <a:cubicBezTo>
                    <a:pt x="172251" y="252426"/>
                    <a:pt x="165017" y="247603"/>
                    <a:pt x="162950" y="239334"/>
                  </a:cubicBezTo>
                  <a:cubicBezTo>
                    <a:pt x="156749" y="214186"/>
                    <a:pt x="150548" y="188693"/>
                    <a:pt x="144347" y="163199"/>
                  </a:cubicBezTo>
                  <a:cubicBezTo>
                    <a:pt x="137457" y="134950"/>
                    <a:pt x="130567" y="106701"/>
                    <a:pt x="123676" y="78452"/>
                  </a:cubicBezTo>
                  <a:cubicBezTo>
                    <a:pt x="123332" y="77074"/>
                    <a:pt x="122987" y="75351"/>
                    <a:pt x="121609" y="73973"/>
                  </a:cubicBezTo>
                  <a:cubicBezTo>
                    <a:pt x="120231" y="82586"/>
                    <a:pt x="119198" y="91198"/>
                    <a:pt x="117820" y="100155"/>
                  </a:cubicBezTo>
                  <a:cubicBezTo>
                    <a:pt x="115408" y="118414"/>
                    <a:pt x="112652" y="136673"/>
                    <a:pt x="110241" y="154931"/>
                  </a:cubicBezTo>
                  <a:cubicBezTo>
                    <a:pt x="109207" y="162855"/>
                    <a:pt x="102662" y="168711"/>
                    <a:pt x="94394" y="168711"/>
                  </a:cubicBezTo>
                  <a:cubicBezTo>
                    <a:pt x="68212" y="168711"/>
                    <a:pt x="42029" y="168711"/>
                    <a:pt x="16192" y="168711"/>
                  </a:cubicBezTo>
                  <a:cubicBezTo>
                    <a:pt x="6890" y="168711"/>
                    <a:pt x="0" y="161477"/>
                    <a:pt x="0" y="152175"/>
                  </a:cubicBezTo>
                  <a:cubicBezTo>
                    <a:pt x="0" y="143218"/>
                    <a:pt x="7235" y="135984"/>
                    <a:pt x="16536" y="135639"/>
                  </a:cubicBezTo>
                  <a:cubicBezTo>
                    <a:pt x="36173" y="135639"/>
                    <a:pt x="55809" y="135639"/>
                    <a:pt x="75791" y="135639"/>
                  </a:cubicBezTo>
                  <a:cubicBezTo>
                    <a:pt x="79236" y="135639"/>
                    <a:pt x="80614" y="134950"/>
                    <a:pt x="81303" y="131161"/>
                  </a:cubicBezTo>
                  <a:cubicBezTo>
                    <a:pt x="86126" y="94988"/>
                    <a:pt x="91293" y="58815"/>
                    <a:pt x="96116" y="22642"/>
                  </a:cubicBezTo>
                  <a:cubicBezTo>
                    <a:pt x="97494" y="11618"/>
                    <a:pt x="103351" y="4039"/>
                    <a:pt x="114030" y="939"/>
                  </a:cubicBezTo>
                  <a:cubicBezTo>
                    <a:pt x="123676" y="-1818"/>
                    <a:pt x="133667" y="1628"/>
                    <a:pt x="139524" y="9551"/>
                  </a:cubicBezTo>
                  <a:cubicBezTo>
                    <a:pt x="141935" y="12652"/>
                    <a:pt x="142969" y="16097"/>
                    <a:pt x="143658" y="19886"/>
                  </a:cubicBezTo>
                  <a:cubicBezTo>
                    <a:pt x="152959" y="58815"/>
                    <a:pt x="162605" y="97399"/>
                    <a:pt x="171907" y="136328"/>
                  </a:cubicBezTo>
                  <a:cubicBezTo>
                    <a:pt x="172251" y="137362"/>
                    <a:pt x="172596" y="138740"/>
                    <a:pt x="172940" y="139773"/>
                  </a:cubicBezTo>
                  <a:cubicBezTo>
                    <a:pt x="173974" y="139429"/>
                    <a:pt x="174318" y="139429"/>
                    <a:pt x="174663" y="139429"/>
                  </a:cubicBezTo>
                  <a:close/>
                </a:path>
              </a:pathLst>
            </a:custGeom>
            <a:solidFill>
              <a:srgbClr val="FF0000"/>
            </a:solidFill>
            <a:ln w="3408" cap="flat">
              <a:noFill/>
              <a:prstDash val="solid"/>
              <a:miter/>
            </a:ln>
          </p:spPr>
          <p:txBody>
            <a:bodyPr rtlCol="0" anchor="ctr"/>
            <a:lstStyle/>
            <a:p>
              <a:pPr defTabSz="1219170"/>
              <a:endParaRPr lang="en-US" sz="2400">
                <a:solidFill>
                  <a:srgbClr val="102B62"/>
                </a:solidFill>
                <a:latin typeface="Arial"/>
              </a:endParaRPr>
            </a:p>
          </p:txBody>
        </p:sp>
      </p:grpSp>
      <p:pic>
        <p:nvPicPr>
          <p:cNvPr id="55" name="Graphic 21">
            <a:extLst>
              <a:ext uri="{FF2B5EF4-FFF2-40B4-BE49-F238E27FC236}">
                <a16:creationId xmlns:a16="http://schemas.microsoft.com/office/drawing/2014/main" id="{4CB90E9E-95F4-4ECE-BD9A-85EDE97F683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5400000">
            <a:off x="3656788" y="3393865"/>
            <a:ext cx="1049115" cy="976841"/>
          </a:xfrm>
          <a:prstGeom prst="rect">
            <a:avLst/>
          </a:prstGeom>
        </p:spPr>
      </p:pic>
      <p:pic>
        <p:nvPicPr>
          <p:cNvPr id="4" name="Graphic 3">
            <a:extLst>
              <a:ext uri="{FF2B5EF4-FFF2-40B4-BE49-F238E27FC236}">
                <a16:creationId xmlns:a16="http://schemas.microsoft.com/office/drawing/2014/main" id="{D7F1F1FB-A5C9-4116-BE65-958160F4D24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077618" y="3329969"/>
            <a:ext cx="1248479" cy="1228367"/>
          </a:xfrm>
          <a:prstGeom prst="rect">
            <a:avLst/>
          </a:prstGeom>
        </p:spPr>
      </p:pic>
      <p:sp>
        <p:nvSpPr>
          <p:cNvPr id="3" name="TextBox 2"/>
          <p:cNvSpPr txBox="1"/>
          <p:nvPr/>
        </p:nvSpPr>
        <p:spPr>
          <a:xfrm>
            <a:off x="3664166" y="3508682"/>
            <a:ext cx="873373" cy="502766"/>
          </a:xfrm>
          <a:prstGeom prst="rect">
            <a:avLst/>
          </a:prstGeom>
          <a:noFill/>
        </p:spPr>
        <p:txBody>
          <a:bodyPr wrap="square" rtlCol="0">
            <a:spAutoFit/>
          </a:bodyPr>
          <a:lstStyle/>
          <a:p>
            <a:pPr algn="ctr" defTabSz="1219170"/>
            <a:r>
              <a:rPr lang="en-US" sz="2667" b="1" dirty="0">
                <a:solidFill>
                  <a:srgbClr val="FF0000"/>
                </a:solidFill>
                <a:latin typeface="Arial"/>
              </a:rPr>
              <a:t>X</a:t>
            </a:r>
          </a:p>
        </p:txBody>
      </p:sp>
      <p:pic>
        <p:nvPicPr>
          <p:cNvPr id="10" name="Picture 9" descr="A group of chicken&#10;&#10;Description automatically generated">
            <a:extLst>
              <a:ext uri="{FF2B5EF4-FFF2-40B4-BE49-F238E27FC236}">
                <a16:creationId xmlns:a16="http://schemas.microsoft.com/office/drawing/2014/main" id="{7F072CB9-8202-4C81-BF37-FCEE22312F9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66381" y="1656459"/>
            <a:ext cx="3111323" cy="2820545"/>
          </a:xfrm>
          <a:prstGeom prst="rect">
            <a:avLst/>
          </a:prstGeom>
        </p:spPr>
      </p:pic>
      <p:sp>
        <p:nvSpPr>
          <p:cNvPr id="20" name="Slide Number Placeholder 19">
            <a:extLst>
              <a:ext uri="{FF2B5EF4-FFF2-40B4-BE49-F238E27FC236}">
                <a16:creationId xmlns:a16="http://schemas.microsoft.com/office/drawing/2014/main" id="{02CECFF5-C061-4AE4-AFA2-07630360BFA5}"/>
              </a:ext>
            </a:extLst>
          </p:cNvPr>
          <p:cNvSpPr>
            <a:spLocks noGrp="1"/>
          </p:cNvSpPr>
          <p:nvPr>
            <p:ph type="sldNum" sz="quarter" idx="12"/>
          </p:nvPr>
        </p:nvSpPr>
        <p:spPr/>
        <p:txBody>
          <a:bodyPr/>
          <a:lstStyle/>
          <a:p>
            <a:fld id="{D1541BB9-6530-43D2-B7E0-33A89042A350}" type="slidenum">
              <a:rPr lang="en-US" smtClean="0"/>
              <a:t>11</a:t>
            </a:fld>
            <a:endParaRPr lang="en-US"/>
          </a:p>
        </p:txBody>
      </p:sp>
    </p:spTree>
    <p:extLst>
      <p:ext uri="{BB962C8B-B14F-4D97-AF65-F5344CB8AC3E}">
        <p14:creationId xmlns:p14="http://schemas.microsoft.com/office/powerpoint/2010/main" val="37309681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933061-69F3-4E36-9AB5-EA1CA79355F6}"/>
              </a:ext>
            </a:extLst>
          </p:cNvPr>
          <p:cNvSpPr>
            <a:spLocks noGrp="1"/>
          </p:cNvSpPr>
          <p:nvPr>
            <p:ph type="title"/>
          </p:nvPr>
        </p:nvSpPr>
        <p:spPr>
          <a:xfrm>
            <a:off x="558281" y="320366"/>
            <a:ext cx="11289401" cy="454075"/>
          </a:xfrm>
        </p:spPr>
        <p:txBody>
          <a:bodyPr>
            <a:noAutofit/>
          </a:bodyPr>
          <a:lstStyle/>
          <a:p>
            <a:r>
              <a:rPr lang="en-US" sz="3200" dirty="0">
                <a:solidFill>
                  <a:schemeClr val="bg1"/>
                </a:solidFill>
                <a:ea typeface="Arial Bold"/>
                <a:cs typeface="Arial Bold"/>
              </a:rPr>
              <a:t> </a:t>
            </a:r>
            <a:r>
              <a:rPr lang="en-US" sz="3200" dirty="0">
                <a:solidFill>
                  <a:schemeClr val="bg1"/>
                </a:solidFill>
                <a:ea typeface="Arial Bold"/>
                <a:cs typeface="Times New Roman" panose="02020603050405020304" pitchFamily="18" charset="0"/>
              </a:rPr>
              <a:t>Traditional Pathway – Early Development to Large Scale Production</a:t>
            </a:r>
            <a:endParaRPr lang="en-US" sz="3200" dirty="0">
              <a:solidFill>
                <a:schemeClr val="bg1"/>
              </a:solidFill>
            </a:endParaRPr>
          </a:p>
        </p:txBody>
      </p:sp>
      <p:sp>
        <p:nvSpPr>
          <p:cNvPr id="5" name="Content Placeholder 4">
            <a:extLst>
              <a:ext uri="{FF2B5EF4-FFF2-40B4-BE49-F238E27FC236}">
                <a16:creationId xmlns:a16="http://schemas.microsoft.com/office/drawing/2014/main" id="{F418679C-DA1D-4FB6-9161-5E92A8E3792D}"/>
              </a:ext>
            </a:extLst>
          </p:cNvPr>
          <p:cNvSpPr>
            <a:spLocks noGrp="1"/>
          </p:cNvSpPr>
          <p:nvPr>
            <p:ph idx="1"/>
          </p:nvPr>
        </p:nvSpPr>
        <p:spPr/>
        <p:txBody>
          <a:bodyPr/>
          <a:lstStyle/>
          <a:p>
            <a:endParaRPr lang="en-US" dirty="0"/>
          </a:p>
        </p:txBody>
      </p:sp>
      <p:grpSp>
        <p:nvGrpSpPr>
          <p:cNvPr id="4" name="Group 3" descr="Graphic timeline of the traditional vaccine or drug product development pathway, indicating that there are a lot of early-stage candidates but not many, if any, make it to FDA approval. Advanced manufacturing doesn't start until later in the process. ">
            <a:extLst>
              <a:ext uri="{FF2B5EF4-FFF2-40B4-BE49-F238E27FC236}">
                <a16:creationId xmlns:a16="http://schemas.microsoft.com/office/drawing/2014/main" id="{B1B6CBCD-CA2A-4619-8016-01CE85B88515}"/>
              </a:ext>
            </a:extLst>
          </p:cNvPr>
          <p:cNvGrpSpPr/>
          <p:nvPr/>
        </p:nvGrpSpPr>
        <p:grpSpPr>
          <a:xfrm>
            <a:off x="329872" y="1363673"/>
            <a:ext cx="11836925" cy="4972273"/>
            <a:chOff x="247404" y="714144"/>
            <a:chExt cx="8877694" cy="3729205"/>
          </a:xfrm>
        </p:grpSpPr>
        <p:sp>
          <p:nvSpPr>
            <p:cNvPr id="148" name="Isosceles Triangle 147">
              <a:extLst>
                <a:ext uri="{FF2B5EF4-FFF2-40B4-BE49-F238E27FC236}">
                  <a16:creationId xmlns:a16="http://schemas.microsoft.com/office/drawing/2014/main" id="{D9FDDBB0-6E00-4258-B91D-8C10C50FBCE9}"/>
                </a:ext>
              </a:extLst>
            </p:cNvPr>
            <p:cNvSpPr/>
            <p:nvPr/>
          </p:nvSpPr>
          <p:spPr>
            <a:xfrm rot="5400000">
              <a:off x="3141339" y="-1834999"/>
              <a:ext cx="3377319" cy="8475606"/>
            </a:xfrm>
            <a:prstGeom prst="triangle">
              <a:avLst>
                <a:gd name="adj" fmla="val 50683"/>
              </a:avLst>
            </a:prstGeom>
            <a:gradFill rotWithShape="1">
              <a:gsLst>
                <a:gs pos="0">
                  <a:srgbClr val="C9C9C9">
                    <a:tint val="50000"/>
                    <a:satMod val="300000"/>
                  </a:srgbClr>
                </a:gs>
                <a:gs pos="35000">
                  <a:srgbClr val="C9C9C9">
                    <a:tint val="37000"/>
                    <a:satMod val="300000"/>
                  </a:srgbClr>
                </a:gs>
                <a:gs pos="100000">
                  <a:srgbClr val="C9C9C9">
                    <a:tint val="15000"/>
                    <a:satMod val="350000"/>
                  </a:srgbClr>
                </a:gs>
              </a:gsLst>
              <a:lin ang="16200000" scaled="1"/>
            </a:gradFill>
            <a:ln w="9525" cap="flat" cmpd="sng" algn="ctr">
              <a:solidFill>
                <a:srgbClr val="C9C9C9">
                  <a:shade val="95000"/>
                  <a:satMod val="105000"/>
                </a:srgbClr>
              </a:solidFill>
              <a:prstDash val="solid"/>
            </a:ln>
            <a:effectLst>
              <a:outerShdw blurRad="40000" dist="20000" dir="5400000" rotWithShape="0">
                <a:srgbClr val="000000">
                  <a:alpha val="38000"/>
                </a:srgbClr>
              </a:outerShdw>
              <a:softEdge rad="0"/>
            </a:effectLst>
          </p:spPr>
          <p:txBody>
            <a:bodyPr rtlCol="0" anchor="ctr"/>
            <a:lstStyle/>
            <a:p>
              <a:pPr algn="ctr" defTabSz="1219140">
                <a:defRPr/>
              </a:pPr>
              <a:endParaRPr lang="en-US" sz="1867" kern="0" dirty="0">
                <a:solidFill>
                  <a:srgbClr val="102B62"/>
                </a:solidFill>
                <a:latin typeface="Arial"/>
              </a:endParaRPr>
            </a:p>
          </p:txBody>
        </p:sp>
        <p:grpSp>
          <p:nvGrpSpPr>
            <p:cNvPr id="539" name="Group 538">
              <a:extLst>
                <a:ext uri="{FF2B5EF4-FFF2-40B4-BE49-F238E27FC236}">
                  <a16:creationId xmlns:a16="http://schemas.microsoft.com/office/drawing/2014/main" id="{6BFD468A-A333-480A-8C61-1D5526F6766E}"/>
                </a:ext>
              </a:extLst>
            </p:cNvPr>
            <p:cNvGrpSpPr/>
            <p:nvPr/>
          </p:nvGrpSpPr>
          <p:grpSpPr>
            <a:xfrm>
              <a:off x="2085909" y="1611064"/>
              <a:ext cx="505070" cy="1934025"/>
              <a:chOff x="11326924" y="2051776"/>
              <a:chExt cx="537637" cy="1551616"/>
            </a:xfrm>
          </p:grpSpPr>
          <p:sp>
            <p:nvSpPr>
              <p:cNvPr id="529" name="Oval 528">
                <a:extLst>
                  <a:ext uri="{FF2B5EF4-FFF2-40B4-BE49-F238E27FC236}">
                    <a16:creationId xmlns:a16="http://schemas.microsoft.com/office/drawing/2014/main" id="{1B2A81D7-3721-4536-9470-5FE7F601F534}"/>
                  </a:ext>
                </a:extLst>
              </p:cNvPr>
              <p:cNvSpPr/>
              <p:nvPr/>
            </p:nvSpPr>
            <p:spPr>
              <a:xfrm>
                <a:off x="11407845" y="2147165"/>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530" name="Oval 529">
                <a:extLst>
                  <a:ext uri="{FF2B5EF4-FFF2-40B4-BE49-F238E27FC236}">
                    <a16:creationId xmlns:a16="http://schemas.microsoft.com/office/drawing/2014/main" id="{42E455D2-F3A9-41B8-A4ED-8E64050F137F}"/>
                  </a:ext>
                </a:extLst>
              </p:cNvPr>
              <p:cNvSpPr/>
              <p:nvPr/>
            </p:nvSpPr>
            <p:spPr>
              <a:xfrm>
                <a:off x="11778836" y="2051776"/>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531" name="Oval 530">
                <a:extLst>
                  <a:ext uri="{FF2B5EF4-FFF2-40B4-BE49-F238E27FC236}">
                    <a16:creationId xmlns:a16="http://schemas.microsoft.com/office/drawing/2014/main" id="{5D3C9166-B5D2-4E07-9415-1D158E7A9F37}"/>
                  </a:ext>
                </a:extLst>
              </p:cNvPr>
              <p:cNvSpPr/>
              <p:nvPr/>
            </p:nvSpPr>
            <p:spPr>
              <a:xfrm>
                <a:off x="11556320" y="2400300"/>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532" name="Oval 531">
                <a:extLst>
                  <a:ext uri="{FF2B5EF4-FFF2-40B4-BE49-F238E27FC236}">
                    <a16:creationId xmlns:a16="http://schemas.microsoft.com/office/drawing/2014/main" id="{576CBBC4-22C0-4E2E-A115-C93FA83B4C02}"/>
                  </a:ext>
                </a:extLst>
              </p:cNvPr>
              <p:cNvSpPr/>
              <p:nvPr/>
            </p:nvSpPr>
            <p:spPr>
              <a:xfrm>
                <a:off x="11773393" y="2578513"/>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533" name="Oval 532">
                <a:extLst>
                  <a:ext uri="{FF2B5EF4-FFF2-40B4-BE49-F238E27FC236}">
                    <a16:creationId xmlns:a16="http://schemas.microsoft.com/office/drawing/2014/main" id="{2ED5F05E-E059-457B-983C-676166E6F2BD}"/>
                  </a:ext>
                </a:extLst>
              </p:cNvPr>
              <p:cNvSpPr/>
              <p:nvPr/>
            </p:nvSpPr>
            <p:spPr>
              <a:xfrm>
                <a:off x="11560538" y="2657476"/>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534" name="Oval 533">
                <a:extLst>
                  <a:ext uri="{FF2B5EF4-FFF2-40B4-BE49-F238E27FC236}">
                    <a16:creationId xmlns:a16="http://schemas.microsoft.com/office/drawing/2014/main" id="{308DFAB6-6E9A-4923-96A4-5247B9FF4186}"/>
                  </a:ext>
                </a:extLst>
              </p:cNvPr>
              <p:cNvSpPr/>
              <p:nvPr/>
            </p:nvSpPr>
            <p:spPr>
              <a:xfrm>
                <a:off x="11326924" y="2831782"/>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535" name="Oval 534">
                <a:extLst>
                  <a:ext uri="{FF2B5EF4-FFF2-40B4-BE49-F238E27FC236}">
                    <a16:creationId xmlns:a16="http://schemas.microsoft.com/office/drawing/2014/main" id="{92A73370-FD91-4FD3-BEEF-DF20DEA89B3D}"/>
                  </a:ext>
                </a:extLst>
              </p:cNvPr>
              <p:cNvSpPr/>
              <p:nvPr/>
            </p:nvSpPr>
            <p:spPr>
              <a:xfrm>
                <a:off x="11556319" y="3002098"/>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536" name="Oval 535">
                <a:extLst>
                  <a:ext uri="{FF2B5EF4-FFF2-40B4-BE49-F238E27FC236}">
                    <a16:creationId xmlns:a16="http://schemas.microsoft.com/office/drawing/2014/main" id="{4072812B-CC80-4BE8-850A-1B333CF04348}"/>
                  </a:ext>
                </a:extLst>
              </p:cNvPr>
              <p:cNvSpPr/>
              <p:nvPr/>
            </p:nvSpPr>
            <p:spPr>
              <a:xfrm>
                <a:off x="11637694" y="3266419"/>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537" name="Oval 536">
                <a:extLst>
                  <a:ext uri="{FF2B5EF4-FFF2-40B4-BE49-F238E27FC236}">
                    <a16:creationId xmlns:a16="http://schemas.microsoft.com/office/drawing/2014/main" id="{BF1F16B2-167E-4C7F-BDEA-6885E70B8CBF}"/>
                  </a:ext>
                </a:extLst>
              </p:cNvPr>
              <p:cNvSpPr/>
              <p:nvPr/>
            </p:nvSpPr>
            <p:spPr>
              <a:xfrm>
                <a:off x="11637693" y="3517667"/>
                <a:ext cx="85725" cy="85725"/>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538" name="Oval 537">
                <a:extLst>
                  <a:ext uri="{FF2B5EF4-FFF2-40B4-BE49-F238E27FC236}">
                    <a16:creationId xmlns:a16="http://schemas.microsoft.com/office/drawing/2014/main" id="{14720A65-CB2C-4D1C-A072-6D698AD3A146}"/>
                  </a:ext>
                </a:extLst>
              </p:cNvPr>
              <p:cNvSpPr/>
              <p:nvPr/>
            </p:nvSpPr>
            <p:spPr>
              <a:xfrm>
                <a:off x="11402075" y="3174881"/>
                <a:ext cx="85725" cy="85725"/>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grpSp>
        <p:grpSp>
          <p:nvGrpSpPr>
            <p:cNvPr id="545" name="Group 544">
              <a:extLst>
                <a:ext uri="{FF2B5EF4-FFF2-40B4-BE49-F238E27FC236}">
                  <a16:creationId xmlns:a16="http://schemas.microsoft.com/office/drawing/2014/main" id="{1CBA0084-FBC2-4381-A717-884FEE8F8806}"/>
                </a:ext>
              </a:extLst>
            </p:cNvPr>
            <p:cNvGrpSpPr/>
            <p:nvPr/>
          </p:nvGrpSpPr>
          <p:grpSpPr>
            <a:xfrm>
              <a:off x="3430308" y="2263293"/>
              <a:ext cx="282370" cy="939426"/>
              <a:chOff x="12474953" y="2312710"/>
              <a:chExt cx="300577" cy="1115728"/>
            </a:xfrm>
          </p:grpSpPr>
          <p:sp>
            <p:nvSpPr>
              <p:cNvPr id="540" name="Oval 539">
                <a:extLst>
                  <a:ext uri="{FF2B5EF4-FFF2-40B4-BE49-F238E27FC236}">
                    <a16:creationId xmlns:a16="http://schemas.microsoft.com/office/drawing/2014/main" id="{8A93E3AE-2129-4544-9E39-347092669901}"/>
                  </a:ext>
                </a:extLst>
              </p:cNvPr>
              <p:cNvSpPr/>
              <p:nvPr/>
            </p:nvSpPr>
            <p:spPr>
              <a:xfrm>
                <a:off x="12689805" y="2312710"/>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541" name="Oval 540">
                <a:extLst>
                  <a:ext uri="{FF2B5EF4-FFF2-40B4-BE49-F238E27FC236}">
                    <a16:creationId xmlns:a16="http://schemas.microsoft.com/office/drawing/2014/main" id="{E4F47190-5980-4A5F-8B2C-69B12DE7B224}"/>
                  </a:ext>
                </a:extLst>
              </p:cNvPr>
              <p:cNvSpPr/>
              <p:nvPr/>
            </p:nvSpPr>
            <p:spPr>
              <a:xfrm>
                <a:off x="12478733" y="2562347"/>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542" name="Oval 541">
                <a:extLst>
                  <a:ext uri="{FF2B5EF4-FFF2-40B4-BE49-F238E27FC236}">
                    <a16:creationId xmlns:a16="http://schemas.microsoft.com/office/drawing/2014/main" id="{BFEDA66C-508C-43DA-9952-BE068741F89A}"/>
                  </a:ext>
                </a:extLst>
              </p:cNvPr>
              <p:cNvSpPr/>
              <p:nvPr/>
            </p:nvSpPr>
            <p:spPr>
              <a:xfrm>
                <a:off x="12474953" y="3185457"/>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543" name="Oval 542">
                <a:extLst>
                  <a:ext uri="{FF2B5EF4-FFF2-40B4-BE49-F238E27FC236}">
                    <a16:creationId xmlns:a16="http://schemas.microsoft.com/office/drawing/2014/main" id="{E0E24F99-3FE8-4704-9C69-3F33ED5E96F7}"/>
                  </a:ext>
                </a:extLst>
              </p:cNvPr>
              <p:cNvSpPr/>
              <p:nvPr/>
            </p:nvSpPr>
            <p:spPr>
              <a:xfrm>
                <a:off x="12682245" y="3342713"/>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544" name="Oval 543">
                <a:extLst>
                  <a:ext uri="{FF2B5EF4-FFF2-40B4-BE49-F238E27FC236}">
                    <a16:creationId xmlns:a16="http://schemas.microsoft.com/office/drawing/2014/main" id="{DEBB6981-ED54-4FB7-9EAE-63106FA5A261}"/>
                  </a:ext>
                </a:extLst>
              </p:cNvPr>
              <p:cNvSpPr/>
              <p:nvPr/>
            </p:nvSpPr>
            <p:spPr>
              <a:xfrm>
                <a:off x="12684749" y="2995050"/>
                <a:ext cx="85725" cy="85725"/>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grpSp>
        <p:grpSp>
          <p:nvGrpSpPr>
            <p:cNvPr id="552" name="Group 551">
              <a:extLst>
                <a:ext uri="{FF2B5EF4-FFF2-40B4-BE49-F238E27FC236}">
                  <a16:creationId xmlns:a16="http://schemas.microsoft.com/office/drawing/2014/main" id="{544C2C52-D287-4CA2-A95A-B442B8BC827F}"/>
                </a:ext>
              </a:extLst>
            </p:cNvPr>
            <p:cNvGrpSpPr/>
            <p:nvPr/>
          </p:nvGrpSpPr>
          <p:grpSpPr>
            <a:xfrm>
              <a:off x="4585777" y="2341136"/>
              <a:ext cx="282125" cy="639298"/>
              <a:chOff x="13687594" y="2405161"/>
              <a:chExt cx="300317" cy="759275"/>
            </a:xfrm>
          </p:grpSpPr>
          <p:sp>
            <p:nvSpPr>
              <p:cNvPr id="546" name="Oval 545">
                <a:extLst>
                  <a:ext uri="{FF2B5EF4-FFF2-40B4-BE49-F238E27FC236}">
                    <a16:creationId xmlns:a16="http://schemas.microsoft.com/office/drawing/2014/main" id="{C2C97A1A-61FE-438B-B319-9F736290B608}"/>
                  </a:ext>
                </a:extLst>
              </p:cNvPr>
              <p:cNvSpPr/>
              <p:nvPr/>
            </p:nvSpPr>
            <p:spPr>
              <a:xfrm>
                <a:off x="13758947" y="2405161"/>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547" name="Oval 546">
                <a:extLst>
                  <a:ext uri="{FF2B5EF4-FFF2-40B4-BE49-F238E27FC236}">
                    <a16:creationId xmlns:a16="http://schemas.microsoft.com/office/drawing/2014/main" id="{C4E8AD03-3CC0-44AC-9CFF-5F7D7FF5C02B}"/>
                  </a:ext>
                </a:extLst>
              </p:cNvPr>
              <p:cNvSpPr/>
              <p:nvPr/>
            </p:nvSpPr>
            <p:spPr>
              <a:xfrm>
                <a:off x="13687594" y="2992986"/>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548" name="Oval 547">
                <a:extLst>
                  <a:ext uri="{FF2B5EF4-FFF2-40B4-BE49-F238E27FC236}">
                    <a16:creationId xmlns:a16="http://schemas.microsoft.com/office/drawing/2014/main" id="{1B712D57-1791-4414-80FE-CE62F6B58407}"/>
                  </a:ext>
                </a:extLst>
              </p:cNvPr>
              <p:cNvSpPr/>
              <p:nvPr/>
            </p:nvSpPr>
            <p:spPr>
              <a:xfrm>
                <a:off x="13902186" y="3078711"/>
                <a:ext cx="85725" cy="85725"/>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grpSp>
        <p:grpSp>
          <p:nvGrpSpPr>
            <p:cNvPr id="551" name="Group 550">
              <a:extLst>
                <a:ext uri="{FF2B5EF4-FFF2-40B4-BE49-F238E27FC236}">
                  <a16:creationId xmlns:a16="http://schemas.microsoft.com/office/drawing/2014/main" id="{4435FAD1-77F3-4D4C-946D-3DD3D8B08E34}"/>
                </a:ext>
              </a:extLst>
            </p:cNvPr>
            <p:cNvGrpSpPr/>
            <p:nvPr/>
          </p:nvGrpSpPr>
          <p:grpSpPr>
            <a:xfrm>
              <a:off x="5828990" y="2331304"/>
              <a:ext cx="221829" cy="445229"/>
              <a:chOff x="14892594" y="2393484"/>
              <a:chExt cx="236133" cy="528785"/>
            </a:xfrm>
          </p:grpSpPr>
          <p:sp>
            <p:nvSpPr>
              <p:cNvPr id="549" name="Oval 548">
                <a:extLst>
                  <a:ext uri="{FF2B5EF4-FFF2-40B4-BE49-F238E27FC236}">
                    <a16:creationId xmlns:a16="http://schemas.microsoft.com/office/drawing/2014/main" id="{C069334C-B526-415E-9B4B-83B14F131AF9}"/>
                  </a:ext>
                </a:extLst>
              </p:cNvPr>
              <p:cNvSpPr/>
              <p:nvPr/>
            </p:nvSpPr>
            <p:spPr>
              <a:xfrm>
                <a:off x="15043002" y="2393484"/>
                <a:ext cx="85725" cy="85725"/>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550" name="Oval 549">
                <a:extLst>
                  <a:ext uri="{FF2B5EF4-FFF2-40B4-BE49-F238E27FC236}">
                    <a16:creationId xmlns:a16="http://schemas.microsoft.com/office/drawing/2014/main" id="{8D168C56-9FD1-418E-B6BB-3F4BAD01F9BD}"/>
                  </a:ext>
                </a:extLst>
              </p:cNvPr>
              <p:cNvSpPr/>
              <p:nvPr/>
            </p:nvSpPr>
            <p:spPr>
              <a:xfrm>
                <a:off x="14892594" y="2836544"/>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grpSp>
        <p:grpSp>
          <p:nvGrpSpPr>
            <p:cNvPr id="448" name="Group 447">
              <a:extLst>
                <a:ext uri="{FF2B5EF4-FFF2-40B4-BE49-F238E27FC236}">
                  <a16:creationId xmlns:a16="http://schemas.microsoft.com/office/drawing/2014/main" id="{8656E73A-9E53-4804-8660-4F16F6AE8FF6}"/>
                </a:ext>
              </a:extLst>
            </p:cNvPr>
            <p:cNvGrpSpPr/>
            <p:nvPr/>
          </p:nvGrpSpPr>
          <p:grpSpPr>
            <a:xfrm>
              <a:off x="1749874" y="841234"/>
              <a:ext cx="5976135" cy="3602115"/>
              <a:chOff x="1423236" y="939406"/>
              <a:chExt cx="5976135" cy="3521642"/>
            </a:xfrm>
          </p:grpSpPr>
          <p:cxnSp>
            <p:nvCxnSpPr>
              <p:cNvPr id="43" name="Straight Connector 42">
                <a:extLst>
                  <a:ext uri="{FF2B5EF4-FFF2-40B4-BE49-F238E27FC236}">
                    <a16:creationId xmlns:a16="http://schemas.microsoft.com/office/drawing/2014/main" id="{5F06D8B2-0E2F-4C67-A619-6C3ECC574705}"/>
                  </a:ext>
                </a:extLst>
              </p:cNvPr>
              <p:cNvCxnSpPr>
                <a:cxnSpLocks/>
              </p:cNvCxnSpPr>
              <p:nvPr/>
            </p:nvCxnSpPr>
            <p:spPr>
              <a:xfrm>
                <a:off x="1423236" y="939406"/>
                <a:ext cx="18522" cy="3521642"/>
              </a:xfrm>
              <a:prstGeom prst="line">
                <a:avLst/>
              </a:prstGeom>
              <a:noFill/>
              <a:ln w="25400" cap="flat" cmpd="sng" algn="ctr">
                <a:solidFill>
                  <a:schemeClr val="bg1">
                    <a:lumMod val="50000"/>
                  </a:schemeClr>
                </a:solidFill>
                <a:prstDash val="sysDot"/>
              </a:ln>
              <a:effectLst/>
            </p:spPr>
          </p:cxnSp>
          <p:cxnSp>
            <p:nvCxnSpPr>
              <p:cNvPr id="44" name="Straight Connector 43">
                <a:extLst>
                  <a:ext uri="{FF2B5EF4-FFF2-40B4-BE49-F238E27FC236}">
                    <a16:creationId xmlns:a16="http://schemas.microsoft.com/office/drawing/2014/main" id="{58354026-D90C-4474-AE3E-956EE6C1BAFB}"/>
                  </a:ext>
                </a:extLst>
              </p:cNvPr>
              <p:cNvCxnSpPr>
                <a:cxnSpLocks/>
              </p:cNvCxnSpPr>
              <p:nvPr/>
            </p:nvCxnSpPr>
            <p:spPr>
              <a:xfrm>
                <a:off x="2614759" y="939406"/>
                <a:ext cx="18522" cy="3521642"/>
              </a:xfrm>
              <a:prstGeom prst="line">
                <a:avLst/>
              </a:prstGeom>
              <a:noFill/>
              <a:ln w="25400" cap="flat" cmpd="sng" algn="ctr">
                <a:solidFill>
                  <a:schemeClr val="bg1">
                    <a:lumMod val="50000"/>
                  </a:schemeClr>
                </a:solidFill>
                <a:prstDash val="sysDot"/>
              </a:ln>
              <a:effectLst/>
            </p:spPr>
          </p:cxnSp>
          <p:cxnSp>
            <p:nvCxnSpPr>
              <p:cNvPr id="45" name="Straight Connector 44">
                <a:extLst>
                  <a:ext uri="{FF2B5EF4-FFF2-40B4-BE49-F238E27FC236}">
                    <a16:creationId xmlns:a16="http://schemas.microsoft.com/office/drawing/2014/main" id="{8B08589D-1A43-4C17-BA5B-DCE4B22BACBD}"/>
                  </a:ext>
                </a:extLst>
              </p:cNvPr>
              <p:cNvCxnSpPr>
                <a:cxnSpLocks/>
              </p:cNvCxnSpPr>
              <p:nvPr/>
            </p:nvCxnSpPr>
            <p:spPr>
              <a:xfrm>
                <a:off x="3806282" y="939406"/>
                <a:ext cx="18522" cy="3521642"/>
              </a:xfrm>
              <a:prstGeom prst="line">
                <a:avLst/>
              </a:prstGeom>
              <a:noFill/>
              <a:ln w="25400" cap="flat" cmpd="sng" algn="ctr">
                <a:solidFill>
                  <a:schemeClr val="bg1">
                    <a:lumMod val="50000"/>
                  </a:schemeClr>
                </a:solidFill>
                <a:prstDash val="sysDot"/>
              </a:ln>
              <a:effectLst/>
            </p:spPr>
          </p:cxnSp>
          <p:cxnSp>
            <p:nvCxnSpPr>
              <p:cNvPr id="46" name="Straight Connector 45">
                <a:extLst>
                  <a:ext uri="{FF2B5EF4-FFF2-40B4-BE49-F238E27FC236}">
                    <a16:creationId xmlns:a16="http://schemas.microsoft.com/office/drawing/2014/main" id="{11A6B781-FB0D-4C18-BBEC-3C77DB51EA4A}"/>
                  </a:ext>
                </a:extLst>
              </p:cNvPr>
              <p:cNvCxnSpPr>
                <a:cxnSpLocks/>
              </p:cNvCxnSpPr>
              <p:nvPr/>
            </p:nvCxnSpPr>
            <p:spPr>
              <a:xfrm>
                <a:off x="7380849" y="939406"/>
                <a:ext cx="18522" cy="3521642"/>
              </a:xfrm>
              <a:prstGeom prst="line">
                <a:avLst/>
              </a:prstGeom>
              <a:noFill/>
              <a:ln w="25400" cap="flat" cmpd="sng" algn="ctr">
                <a:solidFill>
                  <a:schemeClr val="bg1">
                    <a:lumMod val="50000"/>
                  </a:schemeClr>
                </a:solidFill>
                <a:prstDash val="sysDot"/>
              </a:ln>
              <a:effectLst/>
            </p:spPr>
          </p:cxnSp>
          <p:cxnSp>
            <p:nvCxnSpPr>
              <p:cNvPr id="47" name="Straight Connector 46">
                <a:extLst>
                  <a:ext uri="{FF2B5EF4-FFF2-40B4-BE49-F238E27FC236}">
                    <a16:creationId xmlns:a16="http://schemas.microsoft.com/office/drawing/2014/main" id="{F762C143-10E8-40B9-8039-DA87D971471E}"/>
                  </a:ext>
                </a:extLst>
              </p:cNvPr>
              <p:cNvCxnSpPr>
                <a:cxnSpLocks/>
              </p:cNvCxnSpPr>
              <p:nvPr/>
            </p:nvCxnSpPr>
            <p:spPr>
              <a:xfrm>
                <a:off x="6189328" y="939406"/>
                <a:ext cx="18522" cy="3521642"/>
              </a:xfrm>
              <a:prstGeom prst="line">
                <a:avLst/>
              </a:prstGeom>
              <a:noFill/>
              <a:ln w="25400" cap="flat" cmpd="sng" algn="ctr">
                <a:solidFill>
                  <a:schemeClr val="bg1">
                    <a:lumMod val="50000"/>
                  </a:schemeClr>
                </a:solidFill>
                <a:prstDash val="sysDot"/>
              </a:ln>
              <a:effectLst/>
            </p:spPr>
          </p:cxnSp>
          <p:cxnSp>
            <p:nvCxnSpPr>
              <p:cNvPr id="48" name="Straight Connector 47">
                <a:extLst>
                  <a:ext uri="{FF2B5EF4-FFF2-40B4-BE49-F238E27FC236}">
                    <a16:creationId xmlns:a16="http://schemas.microsoft.com/office/drawing/2014/main" id="{9B82BE62-2089-4EBF-9865-73F7011E6766}"/>
                  </a:ext>
                </a:extLst>
              </p:cNvPr>
              <p:cNvCxnSpPr>
                <a:cxnSpLocks/>
              </p:cNvCxnSpPr>
              <p:nvPr/>
            </p:nvCxnSpPr>
            <p:spPr>
              <a:xfrm>
                <a:off x="4997805" y="939406"/>
                <a:ext cx="18522" cy="3521642"/>
              </a:xfrm>
              <a:prstGeom prst="line">
                <a:avLst/>
              </a:prstGeom>
              <a:noFill/>
              <a:ln w="25400" cap="flat" cmpd="sng" algn="ctr">
                <a:solidFill>
                  <a:schemeClr val="bg1">
                    <a:lumMod val="50000"/>
                  </a:schemeClr>
                </a:solidFill>
                <a:prstDash val="sysDot"/>
              </a:ln>
              <a:effectLst/>
            </p:spPr>
          </p:cxnSp>
        </p:grpSp>
        <p:sp>
          <p:nvSpPr>
            <p:cNvPr id="461" name="Rectangle: Rounded Corners 460">
              <a:extLst>
                <a:ext uri="{FF2B5EF4-FFF2-40B4-BE49-F238E27FC236}">
                  <a16:creationId xmlns:a16="http://schemas.microsoft.com/office/drawing/2014/main" id="{E355A07C-309E-4E93-A56E-9550C8DEDFD7}"/>
                </a:ext>
              </a:extLst>
            </p:cNvPr>
            <p:cNvSpPr/>
            <p:nvPr/>
          </p:nvSpPr>
          <p:spPr>
            <a:xfrm rot="16200000">
              <a:off x="-744946" y="2231795"/>
              <a:ext cx="2378489" cy="393789"/>
            </a:xfrm>
            <a:prstGeom prst="roundRect">
              <a:avLst/>
            </a:prstGeom>
            <a:noFill/>
            <a:ln>
              <a:noFill/>
            </a:ln>
            <a:effectLst/>
            <a:scene3d>
              <a:camera prst="orthographicFront">
                <a:rot lat="0" lon="0" rev="0"/>
              </a:camera>
              <a:lightRig rig="threePt" dir="t">
                <a:rot lat="0" lon="0" rev="1200000"/>
              </a:lightRig>
            </a:scene3d>
            <a:sp3d>
              <a:bevelT w="63500" h="25400"/>
            </a:sp3d>
          </p:spPr>
          <p:txBody>
            <a:bodyPr lIns="121920" rIns="121920" rtlCol="0" anchor="ctr"/>
            <a:lstStyle/>
            <a:p>
              <a:pPr algn="ctr" defTabSz="1219140">
                <a:defRPr/>
              </a:pPr>
              <a:r>
                <a:rPr lang="en-US" sz="1333" b="1" kern="0" dirty="0">
                  <a:solidFill>
                    <a:srgbClr val="031B1A"/>
                  </a:solidFill>
                  <a:latin typeface="Arial"/>
                </a:rPr>
                <a:t>PRODUCT PIPELINE</a:t>
              </a:r>
            </a:p>
          </p:txBody>
        </p:sp>
        <p:sp>
          <p:nvSpPr>
            <p:cNvPr id="554" name="Oval 553">
              <a:extLst>
                <a:ext uri="{FF2B5EF4-FFF2-40B4-BE49-F238E27FC236}">
                  <a16:creationId xmlns:a16="http://schemas.microsoft.com/office/drawing/2014/main" id="{4C21601F-DCBC-4375-944E-EFE82EEAEF35}"/>
                </a:ext>
              </a:extLst>
            </p:cNvPr>
            <p:cNvSpPr/>
            <p:nvPr/>
          </p:nvSpPr>
          <p:spPr>
            <a:xfrm>
              <a:off x="7201521" y="2301364"/>
              <a:ext cx="80532" cy="72179"/>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grpSp>
          <p:nvGrpSpPr>
            <p:cNvPr id="3" name="Group 2">
              <a:extLst>
                <a:ext uri="{FF2B5EF4-FFF2-40B4-BE49-F238E27FC236}">
                  <a16:creationId xmlns:a16="http://schemas.microsoft.com/office/drawing/2014/main" id="{0B196F3D-9FA0-4001-88D0-9A40DE596630}"/>
                </a:ext>
              </a:extLst>
            </p:cNvPr>
            <p:cNvGrpSpPr/>
            <p:nvPr/>
          </p:nvGrpSpPr>
          <p:grpSpPr>
            <a:xfrm>
              <a:off x="4498258" y="812711"/>
              <a:ext cx="3673259" cy="711371"/>
              <a:chOff x="5312853" y="517141"/>
              <a:chExt cx="3673259" cy="711371"/>
            </a:xfrm>
          </p:grpSpPr>
          <p:sp>
            <p:nvSpPr>
              <p:cNvPr id="143" name="Rectangle 142">
                <a:extLst>
                  <a:ext uri="{FF2B5EF4-FFF2-40B4-BE49-F238E27FC236}">
                    <a16:creationId xmlns:a16="http://schemas.microsoft.com/office/drawing/2014/main" id="{ED9E6D96-0B69-45E2-B917-34E46AF5F3E9}"/>
                  </a:ext>
                </a:extLst>
              </p:cNvPr>
              <p:cNvSpPr/>
              <p:nvPr/>
            </p:nvSpPr>
            <p:spPr>
              <a:xfrm>
                <a:off x="5324443" y="517141"/>
                <a:ext cx="3661668" cy="243398"/>
              </a:xfrm>
              <a:prstGeom prst="rect">
                <a:avLst/>
              </a:prstGeom>
              <a:solidFill>
                <a:srgbClr val="7030A0"/>
              </a:solidFill>
              <a:ln>
                <a:solidFill>
                  <a:schemeClr val="bg1"/>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080"/>
                <a:r>
                  <a:rPr lang="en-US" sz="1400" b="1" kern="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dvanced Manufacturing</a:t>
                </a:r>
              </a:p>
            </p:txBody>
          </p:sp>
          <p:sp>
            <p:nvSpPr>
              <p:cNvPr id="144" name="Freeform 44">
                <a:extLst>
                  <a:ext uri="{FF2B5EF4-FFF2-40B4-BE49-F238E27FC236}">
                    <a16:creationId xmlns:a16="http://schemas.microsoft.com/office/drawing/2014/main" id="{D0F9ADFF-98EE-44E7-BBA3-82B67741368B}"/>
                  </a:ext>
                </a:extLst>
              </p:cNvPr>
              <p:cNvSpPr>
                <a:spLocks/>
              </p:cNvSpPr>
              <p:nvPr/>
            </p:nvSpPr>
            <p:spPr bwMode="auto">
              <a:xfrm>
                <a:off x="6203202" y="808442"/>
                <a:ext cx="945539" cy="417636"/>
              </a:xfrm>
              <a:prstGeom prst="rect">
                <a:avLst/>
              </a:prstGeom>
              <a:solidFill>
                <a:srgbClr val="7030A0"/>
              </a:solidFill>
              <a:ln w="25400">
                <a:solidFill>
                  <a:sysClr val="window" lastClr="FFFFFF"/>
                </a:solidFill>
                <a:round/>
                <a:headEnd/>
                <a:tailEnd/>
              </a:ln>
              <a:effectLst>
                <a:innerShdw blurRad="190500" dist="139700" dir="5400000">
                  <a:prstClr val="black">
                    <a:alpha val="50000"/>
                  </a:prstClr>
                </a:innerShdw>
              </a:effectLst>
            </p:spPr>
            <p:txBody>
              <a:bodyPr vert="horz" wrap="square" lIns="121920" tIns="60960" rIns="121920" bIns="60960" numCol="1" anchor="ctr" anchorCtr="0" compatLnSpc="1">
                <a:prstTxWarp prst="textNoShape">
                  <a:avLst/>
                </a:prstTxWarp>
              </a:bodyPr>
              <a:lstStyle/>
              <a:p>
                <a:pPr algn="ctr" defTabSz="1219080">
                  <a:defRPr/>
                </a:pPr>
                <a:r>
                  <a:rPr lang="en-US" sz="1200" kern="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alidate</a:t>
                </a:r>
              </a:p>
            </p:txBody>
          </p:sp>
          <p:sp>
            <p:nvSpPr>
              <p:cNvPr id="145" name="Freeform 44">
                <a:extLst>
                  <a:ext uri="{FF2B5EF4-FFF2-40B4-BE49-F238E27FC236}">
                    <a16:creationId xmlns:a16="http://schemas.microsoft.com/office/drawing/2014/main" id="{6538F62F-D9B8-4D89-9DBD-9EE81D96CCBA}"/>
                  </a:ext>
                </a:extLst>
              </p:cNvPr>
              <p:cNvSpPr>
                <a:spLocks/>
              </p:cNvSpPr>
              <p:nvPr/>
            </p:nvSpPr>
            <p:spPr bwMode="auto">
              <a:xfrm>
                <a:off x="7093551" y="808442"/>
                <a:ext cx="945539" cy="417636"/>
              </a:xfrm>
              <a:prstGeom prst="rect">
                <a:avLst/>
              </a:prstGeom>
              <a:solidFill>
                <a:srgbClr val="7030A0"/>
              </a:solidFill>
              <a:ln w="25400">
                <a:solidFill>
                  <a:sysClr val="window" lastClr="FFFFFF"/>
                </a:solidFill>
                <a:round/>
                <a:headEnd/>
                <a:tailEnd/>
              </a:ln>
              <a:effectLst>
                <a:innerShdw blurRad="190500" dist="139700" dir="5400000">
                  <a:prstClr val="black">
                    <a:alpha val="50000"/>
                  </a:prstClr>
                </a:innerShdw>
              </a:effectLst>
            </p:spPr>
            <p:txBody>
              <a:bodyPr vert="horz" wrap="square" lIns="121920" tIns="60960" rIns="121920" bIns="60960" numCol="1" anchor="ctr" anchorCtr="0" compatLnSpc="1">
                <a:prstTxWarp prst="textNoShape">
                  <a:avLst/>
                </a:prstTxWarp>
              </a:bodyPr>
              <a:lstStyle/>
              <a:p>
                <a:pPr algn="ctr" defTabSz="1219080">
                  <a:defRPr/>
                </a:pPr>
                <a:r>
                  <a:rPr lang="en-US" sz="1200" kern="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PQ</a:t>
                </a:r>
              </a:p>
            </p:txBody>
          </p:sp>
          <p:sp>
            <p:nvSpPr>
              <p:cNvPr id="146" name="Freeform 44">
                <a:extLst>
                  <a:ext uri="{FF2B5EF4-FFF2-40B4-BE49-F238E27FC236}">
                    <a16:creationId xmlns:a16="http://schemas.microsoft.com/office/drawing/2014/main" id="{66CC99BD-B26F-4375-868A-9C1CE29D33BA}"/>
                  </a:ext>
                </a:extLst>
              </p:cNvPr>
              <p:cNvSpPr>
                <a:spLocks/>
              </p:cNvSpPr>
              <p:nvPr/>
            </p:nvSpPr>
            <p:spPr bwMode="auto">
              <a:xfrm>
                <a:off x="5312853" y="808442"/>
                <a:ext cx="945539" cy="417636"/>
              </a:xfrm>
              <a:prstGeom prst="rect">
                <a:avLst/>
              </a:prstGeom>
              <a:solidFill>
                <a:srgbClr val="7030A0"/>
              </a:solidFill>
              <a:ln w="25400">
                <a:solidFill>
                  <a:sysClr val="window" lastClr="FFFFFF"/>
                </a:solidFill>
                <a:round/>
                <a:headEnd/>
                <a:tailEnd/>
              </a:ln>
              <a:effectLst>
                <a:innerShdw blurRad="190500" dist="139700" dir="5400000">
                  <a:prstClr val="black">
                    <a:alpha val="50000"/>
                  </a:prstClr>
                </a:innerShdw>
              </a:effectLst>
            </p:spPr>
            <p:txBody>
              <a:bodyPr vert="horz" wrap="square" lIns="121920" tIns="60960" rIns="121920" bIns="60960" numCol="1" anchor="ctr" anchorCtr="0" compatLnSpc="1">
                <a:prstTxWarp prst="textNoShape">
                  <a:avLst/>
                </a:prstTxWarp>
              </a:bodyPr>
              <a:lstStyle/>
              <a:p>
                <a:pPr algn="ctr" defTabSz="1219080">
                  <a:defRPr/>
                </a:pPr>
                <a:r>
                  <a:rPr lang="en-US" sz="1200" kern="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cale-Up</a:t>
                </a:r>
              </a:p>
            </p:txBody>
          </p:sp>
          <p:sp>
            <p:nvSpPr>
              <p:cNvPr id="147" name="Freeform 44">
                <a:extLst>
                  <a:ext uri="{FF2B5EF4-FFF2-40B4-BE49-F238E27FC236}">
                    <a16:creationId xmlns:a16="http://schemas.microsoft.com/office/drawing/2014/main" id="{D0F9ADFF-98EE-44E7-BBA3-82B67741368B}"/>
                  </a:ext>
                </a:extLst>
              </p:cNvPr>
              <p:cNvSpPr>
                <a:spLocks/>
              </p:cNvSpPr>
              <p:nvPr/>
            </p:nvSpPr>
            <p:spPr bwMode="auto">
              <a:xfrm>
                <a:off x="8040573" y="810876"/>
                <a:ext cx="945539" cy="417636"/>
              </a:xfrm>
              <a:prstGeom prst="rect">
                <a:avLst/>
              </a:prstGeom>
              <a:solidFill>
                <a:srgbClr val="7030A0"/>
              </a:solidFill>
              <a:ln w="25400">
                <a:solidFill>
                  <a:sysClr val="window" lastClr="FFFFFF"/>
                </a:solidFill>
                <a:round/>
                <a:headEnd/>
                <a:tailEnd/>
              </a:ln>
              <a:effectLst>
                <a:innerShdw blurRad="190500" dist="139700" dir="5400000">
                  <a:prstClr val="black">
                    <a:alpha val="50000"/>
                  </a:prstClr>
                </a:innerShdw>
              </a:effectLst>
            </p:spPr>
            <p:txBody>
              <a:bodyPr vert="horz" wrap="square" lIns="121920" tIns="60960" rIns="121920" bIns="60960" numCol="1" anchor="ctr" anchorCtr="0" compatLnSpc="1">
                <a:prstTxWarp prst="textNoShape">
                  <a:avLst/>
                </a:prstTxWarp>
              </a:bodyPr>
              <a:lstStyle/>
              <a:p>
                <a:pPr algn="ctr" defTabSz="1219080">
                  <a:defRPr/>
                </a:pPr>
                <a:r>
                  <a:rPr lang="en-US" sz="1200" kern="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Large Scale Production and Storage</a:t>
                </a:r>
              </a:p>
            </p:txBody>
          </p:sp>
        </p:grpSp>
        <p:grpSp>
          <p:nvGrpSpPr>
            <p:cNvPr id="149" name="Group 148">
              <a:extLst>
                <a:ext uri="{FF2B5EF4-FFF2-40B4-BE49-F238E27FC236}">
                  <a16:creationId xmlns:a16="http://schemas.microsoft.com/office/drawing/2014/main" id="{9E4D4BF3-E4C2-418C-B463-B673D55B842C}"/>
                </a:ext>
              </a:extLst>
            </p:cNvPr>
            <p:cNvGrpSpPr/>
            <p:nvPr/>
          </p:nvGrpSpPr>
          <p:grpSpPr>
            <a:xfrm>
              <a:off x="782039" y="1277488"/>
              <a:ext cx="790673" cy="2513461"/>
              <a:chOff x="10171168" y="1437224"/>
              <a:chExt cx="841656" cy="2689805"/>
            </a:xfrm>
          </p:grpSpPr>
          <p:grpSp>
            <p:nvGrpSpPr>
              <p:cNvPr id="150" name="Group 149">
                <a:extLst>
                  <a:ext uri="{FF2B5EF4-FFF2-40B4-BE49-F238E27FC236}">
                    <a16:creationId xmlns:a16="http://schemas.microsoft.com/office/drawing/2014/main" id="{D391ED31-F5B9-4A7F-B723-D9D9B0184837}"/>
                  </a:ext>
                </a:extLst>
              </p:cNvPr>
              <p:cNvGrpSpPr/>
              <p:nvPr/>
            </p:nvGrpSpPr>
            <p:grpSpPr>
              <a:xfrm>
                <a:off x="10171168" y="1447799"/>
                <a:ext cx="841656" cy="2679230"/>
                <a:chOff x="10171168" y="1447799"/>
                <a:chExt cx="841656" cy="2679230"/>
              </a:xfrm>
              <a:solidFill>
                <a:srgbClr val="5B7893"/>
              </a:solidFill>
            </p:grpSpPr>
            <p:sp>
              <p:nvSpPr>
                <p:cNvPr id="159" name="Oval 158">
                  <a:extLst>
                    <a:ext uri="{FF2B5EF4-FFF2-40B4-BE49-F238E27FC236}">
                      <a16:creationId xmlns:a16="http://schemas.microsoft.com/office/drawing/2014/main" id="{E6EEA9C7-FDB5-411C-8D21-1EE06A68DBDB}"/>
                    </a:ext>
                  </a:extLst>
                </p:cNvPr>
                <p:cNvSpPr/>
                <p:nvPr/>
              </p:nvSpPr>
              <p:spPr>
                <a:xfrm>
                  <a:off x="10334624" y="1447799"/>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60" name="Oval 159">
                  <a:extLst>
                    <a:ext uri="{FF2B5EF4-FFF2-40B4-BE49-F238E27FC236}">
                      <a16:creationId xmlns:a16="http://schemas.microsoft.com/office/drawing/2014/main" id="{EA0C243B-597B-4A2F-B880-967E74385F29}"/>
                    </a:ext>
                  </a:extLst>
                </p:cNvPr>
                <p:cNvSpPr/>
                <p:nvPr/>
              </p:nvSpPr>
              <p:spPr>
                <a:xfrm>
                  <a:off x="10410824" y="1531308"/>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61" name="Oval 160">
                  <a:extLst>
                    <a:ext uri="{FF2B5EF4-FFF2-40B4-BE49-F238E27FC236}">
                      <a16:creationId xmlns:a16="http://schemas.microsoft.com/office/drawing/2014/main" id="{3205CFA3-5822-4A14-BA4F-4FDEF013B3C4}"/>
                    </a:ext>
                  </a:extLst>
                </p:cNvPr>
                <p:cNvSpPr/>
                <p:nvPr/>
              </p:nvSpPr>
              <p:spPr>
                <a:xfrm>
                  <a:off x="10409235" y="1623383"/>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62" name="Oval 161">
                  <a:extLst>
                    <a:ext uri="{FF2B5EF4-FFF2-40B4-BE49-F238E27FC236}">
                      <a16:creationId xmlns:a16="http://schemas.microsoft.com/office/drawing/2014/main" id="{4157271E-F584-4C80-9141-69A34C3AD0ED}"/>
                    </a:ext>
                  </a:extLst>
                </p:cNvPr>
                <p:cNvSpPr/>
                <p:nvPr/>
              </p:nvSpPr>
              <p:spPr>
                <a:xfrm>
                  <a:off x="10259076" y="1623383"/>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63" name="Oval 162">
                  <a:extLst>
                    <a:ext uri="{FF2B5EF4-FFF2-40B4-BE49-F238E27FC236}">
                      <a16:creationId xmlns:a16="http://schemas.microsoft.com/office/drawing/2014/main" id="{5E84700C-9C28-435C-9C17-473C1DDBEEF2}"/>
                    </a:ext>
                  </a:extLst>
                </p:cNvPr>
                <p:cNvSpPr/>
                <p:nvPr/>
              </p:nvSpPr>
              <p:spPr>
                <a:xfrm>
                  <a:off x="10556197" y="1537028"/>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64" name="Oval 163">
                  <a:extLst>
                    <a:ext uri="{FF2B5EF4-FFF2-40B4-BE49-F238E27FC236}">
                      <a16:creationId xmlns:a16="http://schemas.microsoft.com/office/drawing/2014/main" id="{8A9D8F4E-FC53-4E94-9C13-CC5E7879467E}"/>
                    </a:ext>
                  </a:extLst>
                </p:cNvPr>
                <p:cNvSpPr/>
                <p:nvPr/>
              </p:nvSpPr>
              <p:spPr>
                <a:xfrm>
                  <a:off x="10483169" y="1708478"/>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65" name="Oval 164">
                  <a:extLst>
                    <a:ext uri="{FF2B5EF4-FFF2-40B4-BE49-F238E27FC236}">
                      <a16:creationId xmlns:a16="http://schemas.microsoft.com/office/drawing/2014/main" id="{EC62E556-AF86-4C1A-BF4C-886494866516}"/>
                    </a:ext>
                  </a:extLst>
                </p:cNvPr>
                <p:cNvSpPr/>
                <p:nvPr/>
              </p:nvSpPr>
              <p:spPr>
                <a:xfrm>
                  <a:off x="10334623" y="1794203"/>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66" name="Oval 165">
                  <a:extLst>
                    <a:ext uri="{FF2B5EF4-FFF2-40B4-BE49-F238E27FC236}">
                      <a16:creationId xmlns:a16="http://schemas.microsoft.com/office/drawing/2014/main" id="{3D153527-7A7E-43F6-B472-EC077761EF86}"/>
                    </a:ext>
                  </a:extLst>
                </p:cNvPr>
                <p:cNvSpPr/>
                <p:nvPr/>
              </p:nvSpPr>
              <p:spPr>
                <a:xfrm>
                  <a:off x="10183208" y="1794203"/>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67" name="Oval 166">
                  <a:extLst>
                    <a:ext uri="{FF2B5EF4-FFF2-40B4-BE49-F238E27FC236}">
                      <a16:creationId xmlns:a16="http://schemas.microsoft.com/office/drawing/2014/main" id="{A3173D8C-1EBD-446D-8364-2F00B4851B4C}"/>
                    </a:ext>
                  </a:extLst>
                </p:cNvPr>
                <p:cNvSpPr/>
                <p:nvPr/>
              </p:nvSpPr>
              <p:spPr>
                <a:xfrm>
                  <a:off x="10708430" y="1708478"/>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68" name="Oval 167">
                  <a:extLst>
                    <a:ext uri="{FF2B5EF4-FFF2-40B4-BE49-F238E27FC236}">
                      <a16:creationId xmlns:a16="http://schemas.microsoft.com/office/drawing/2014/main" id="{14056E9D-0A6A-4AFE-B3F3-69F8ED8F38D0}"/>
                    </a:ext>
                  </a:extLst>
                </p:cNvPr>
                <p:cNvSpPr/>
                <p:nvPr/>
              </p:nvSpPr>
              <p:spPr>
                <a:xfrm>
                  <a:off x="10857889" y="1879928"/>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69" name="Oval 168">
                  <a:extLst>
                    <a:ext uri="{FF2B5EF4-FFF2-40B4-BE49-F238E27FC236}">
                      <a16:creationId xmlns:a16="http://schemas.microsoft.com/office/drawing/2014/main" id="{DC5EEC6A-9B93-4C20-ABC6-C0F3F1F5E805}"/>
                    </a:ext>
                  </a:extLst>
                </p:cNvPr>
                <p:cNvSpPr/>
                <p:nvPr/>
              </p:nvSpPr>
              <p:spPr>
                <a:xfrm>
                  <a:off x="10631744" y="1879928"/>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70" name="Oval 169">
                  <a:extLst>
                    <a:ext uri="{FF2B5EF4-FFF2-40B4-BE49-F238E27FC236}">
                      <a16:creationId xmlns:a16="http://schemas.microsoft.com/office/drawing/2014/main" id="{5744579B-21A6-49F2-AEB1-96C63D52D5FE}"/>
                    </a:ext>
                  </a:extLst>
                </p:cNvPr>
                <p:cNvSpPr/>
                <p:nvPr/>
              </p:nvSpPr>
              <p:spPr>
                <a:xfrm>
                  <a:off x="10631744" y="1962012"/>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71" name="Oval 170">
                  <a:extLst>
                    <a:ext uri="{FF2B5EF4-FFF2-40B4-BE49-F238E27FC236}">
                      <a16:creationId xmlns:a16="http://schemas.microsoft.com/office/drawing/2014/main" id="{4041897F-6D6B-4946-8123-CBFA22449DB9}"/>
                    </a:ext>
                  </a:extLst>
                </p:cNvPr>
                <p:cNvSpPr/>
                <p:nvPr/>
              </p:nvSpPr>
              <p:spPr>
                <a:xfrm>
                  <a:off x="10790750" y="2050584"/>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72" name="Oval 171">
                  <a:extLst>
                    <a:ext uri="{FF2B5EF4-FFF2-40B4-BE49-F238E27FC236}">
                      <a16:creationId xmlns:a16="http://schemas.microsoft.com/office/drawing/2014/main" id="{342B0C80-9B25-41E3-813C-2441F709D873}"/>
                    </a:ext>
                  </a:extLst>
                </p:cNvPr>
                <p:cNvSpPr/>
                <p:nvPr/>
              </p:nvSpPr>
              <p:spPr>
                <a:xfrm>
                  <a:off x="10488661" y="1962011"/>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73" name="Oval 172">
                  <a:extLst>
                    <a:ext uri="{FF2B5EF4-FFF2-40B4-BE49-F238E27FC236}">
                      <a16:creationId xmlns:a16="http://schemas.microsoft.com/office/drawing/2014/main" id="{37D15F85-FD37-4784-BB63-31ABB1FB7606}"/>
                    </a:ext>
                  </a:extLst>
                </p:cNvPr>
                <p:cNvSpPr/>
                <p:nvPr/>
              </p:nvSpPr>
              <p:spPr>
                <a:xfrm>
                  <a:off x="10256894" y="1964859"/>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74" name="Oval 173">
                  <a:extLst>
                    <a:ext uri="{FF2B5EF4-FFF2-40B4-BE49-F238E27FC236}">
                      <a16:creationId xmlns:a16="http://schemas.microsoft.com/office/drawing/2014/main" id="{D2821BD5-7089-4AF9-8461-277DC34C625F}"/>
                    </a:ext>
                  </a:extLst>
                </p:cNvPr>
                <p:cNvSpPr/>
                <p:nvPr/>
              </p:nvSpPr>
              <p:spPr>
                <a:xfrm>
                  <a:off x="10333091" y="2055207"/>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75" name="Oval 174">
                  <a:extLst>
                    <a:ext uri="{FF2B5EF4-FFF2-40B4-BE49-F238E27FC236}">
                      <a16:creationId xmlns:a16="http://schemas.microsoft.com/office/drawing/2014/main" id="{6625F081-515C-4F00-A913-73EC4F34F2A7}"/>
                    </a:ext>
                  </a:extLst>
                </p:cNvPr>
                <p:cNvSpPr/>
                <p:nvPr/>
              </p:nvSpPr>
              <p:spPr>
                <a:xfrm>
                  <a:off x="10406112" y="2136309"/>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76" name="Oval 175">
                  <a:extLst>
                    <a:ext uri="{FF2B5EF4-FFF2-40B4-BE49-F238E27FC236}">
                      <a16:creationId xmlns:a16="http://schemas.microsoft.com/office/drawing/2014/main" id="{02CC72A2-969E-4962-975D-DA1AA5CD17BD}"/>
                    </a:ext>
                  </a:extLst>
                </p:cNvPr>
                <p:cNvSpPr/>
                <p:nvPr/>
              </p:nvSpPr>
              <p:spPr>
                <a:xfrm>
                  <a:off x="10559421" y="2140606"/>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77" name="Oval 176">
                  <a:extLst>
                    <a:ext uri="{FF2B5EF4-FFF2-40B4-BE49-F238E27FC236}">
                      <a16:creationId xmlns:a16="http://schemas.microsoft.com/office/drawing/2014/main" id="{CF3F6803-643E-4C09-AA53-6E47F451D393}"/>
                    </a:ext>
                  </a:extLst>
                </p:cNvPr>
                <p:cNvSpPr/>
                <p:nvPr/>
              </p:nvSpPr>
              <p:spPr>
                <a:xfrm>
                  <a:off x="10641922" y="2138552"/>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78" name="Oval 177">
                  <a:extLst>
                    <a:ext uri="{FF2B5EF4-FFF2-40B4-BE49-F238E27FC236}">
                      <a16:creationId xmlns:a16="http://schemas.microsoft.com/office/drawing/2014/main" id="{87062C77-09AC-40D1-8681-75A3E7D31539}"/>
                    </a:ext>
                  </a:extLst>
                </p:cNvPr>
                <p:cNvSpPr/>
                <p:nvPr/>
              </p:nvSpPr>
              <p:spPr>
                <a:xfrm>
                  <a:off x="10559027" y="2306360"/>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79" name="Oval 178">
                  <a:extLst>
                    <a:ext uri="{FF2B5EF4-FFF2-40B4-BE49-F238E27FC236}">
                      <a16:creationId xmlns:a16="http://schemas.microsoft.com/office/drawing/2014/main" id="{B4EF4CC5-F563-424E-A469-A098377BAF7E}"/>
                    </a:ext>
                  </a:extLst>
                </p:cNvPr>
                <p:cNvSpPr/>
                <p:nvPr/>
              </p:nvSpPr>
              <p:spPr>
                <a:xfrm>
                  <a:off x="10483168" y="2306360"/>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80" name="Oval 179">
                  <a:extLst>
                    <a:ext uri="{FF2B5EF4-FFF2-40B4-BE49-F238E27FC236}">
                      <a16:creationId xmlns:a16="http://schemas.microsoft.com/office/drawing/2014/main" id="{E4AB8724-EF19-41DF-909F-FC623C79C419}"/>
                    </a:ext>
                  </a:extLst>
                </p:cNvPr>
                <p:cNvSpPr/>
                <p:nvPr/>
              </p:nvSpPr>
              <p:spPr>
                <a:xfrm>
                  <a:off x="10256932" y="2222034"/>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81" name="Oval 180">
                  <a:extLst>
                    <a:ext uri="{FF2B5EF4-FFF2-40B4-BE49-F238E27FC236}">
                      <a16:creationId xmlns:a16="http://schemas.microsoft.com/office/drawing/2014/main" id="{286F3863-E22F-4403-AEAF-68F10CDCC99B}"/>
                    </a:ext>
                  </a:extLst>
                </p:cNvPr>
                <p:cNvSpPr/>
                <p:nvPr/>
              </p:nvSpPr>
              <p:spPr>
                <a:xfrm>
                  <a:off x="10256932" y="2309044"/>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82" name="Oval 181">
                  <a:extLst>
                    <a:ext uri="{FF2B5EF4-FFF2-40B4-BE49-F238E27FC236}">
                      <a16:creationId xmlns:a16="http://schemas.microsoft.com/office/drawing/2014/main" id="{994DD2A6-A474-4687-85EF-10986D354C21}"/>
                    </a:ext>
                  </a:extLst>
                </p:cNvPr>
                <p:cNvSpPr/>
                <p:nvPr/>
              </p:nvSpPr>
              <p:spPr>
                <a:xfrm>
                  <a:off x="10641921" y="2398435"/>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83" name="Oval 182">
                  <a:extLst>
                    <a:ext uri="{FF2B5EF4-FFF2-40B4-BE49-F238E27FC236}">
                      <a16:creationId xmlns:a16="http://schemas.microsoft.com/office/drawing/2014/main" id="{83C62925-D425-4B23-8D89-9C8885DBEDDA}"/>
                    </a:ext>
                  </a:extLst>
                </p:cNvPr>
                <p:cNvSpPr/>
                <p:nvPr/>
              </p:nvSpPr>
              <p:spPr>
                <a:xfrm>
                  <a:off x="10865890" y="2395951"/>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84" name="Oval 183">
                  <a:extLst>
                    <a:ext uri="{FF2B5EF4-FFF2-40B4-BE49-F238E27FC236}">
                      <a16:creationId xmlns:a16="http://schemas.microsoft.com/office/drawing/2014/main" id="{3DF6A792-2133-4039-8F83-9D8828B45EF5}"/>
                    </a:ext>
                  </a:extLst>
                </p:cNvPr>
                <p:cNvSpPr/>
                <p:nvPr/>
              </p:nvSpPr>
              <p:spPr>
                <a:xfrm>
                  <a:off x="10406278" y="2486025"/>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85" name="Oval 184">
                  <a:extLst>
                    <a:ext uri="{FF2B5EF4-FFF2-40B4-BE49-F238E27FC236}">
                      <a16:creationId xmlns:a16="http://schemas.microsoft.com/office/drawing/2014/main" id="{EB3741C1-1403-428A-9938-562F71C56C2A}"/>
                    </a:ext>
                  </a:extLst>
                </p:cNvPr>
                <p:cNvSpPr/>
                <p:nvPr/>
              </p:nvSpPr>
              <p:spPr>
                <a:xfrm>
                  <a:off x="10183207" y="2479209"/>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86" name="Oval 185">
                  <a:extLst>
                    <a:ext uri="{FF2B5EF4-FFF2-40B4-BE49-F238E27FC236}">
                      <a16:creationId xmlns:a16="http://schemas.microsoft.com/office/drawing/2014/main" id="{F70714B1-A8FA-4BFF-9CAE-0FBC3B0DB85B}"/>
                    </a:ext>
                  </a:extLst>
                </p:cNvPr>
                <p:cNvSpPr/>
                <p:nvPr/>
              </p:nvSpPr>
              <p:spPr>
                <a:xfrm>
                  <a:off x="10556197" y="2744469"/>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87" name="Oval 186">
                  <a:extLst>
                    <a:ext uri="{FF2B5EF4-FFF2-40B4-BE49-F238E27FC236}">
                      <a16:creationId xmlns:a16="http://schemas.microsoft.com/office/drawing/2014/main" id="{AFCCB84B-53E8-4BAD-8BD7-F60C5C02CE36}"/>
                    </a:ext>
                  </a:extLst>
                </p:cNvPr>
                <p:cNvSpPr/>
                <p:nvPr/>
              </p:nvSpPr>
              <p:spPr>
                <a:xfrm>
                  <a:off x="10566627" y="2836544"/>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88" name="Oval 187">
                  <a:extLst>
                    <a:ext uri="{FF2B5EF4-FFF2-40B4-BE49-F238E27FC236}">
                      <a16:creationId xmlns:a16="http://schemas.microsoft.com/office/drawing/2014/main" id="{F92FE89B-0C57-4A87-BA48-E52CCFB8FBD3}"/>
                    </a:ext>
                  </a:extLst>
                </p:cNvPr>
                <p:cNvSpPr/>
                <p:nvPr/>
              </p:nvSpPr>
              <p:spPr>
                <a:xfrm>
                  <a:off x="10715203" y="2833499"/>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89" name="Oval 188">
                  <a:extLst>
                    <a:ext uri="{FF2B5EF4-FFF2-40B4-BE49-F238E27FC236}">
                      <a16:creationId xmlns:a16="http://schemas.microsoft.com/office/drawing/2014/main" id="{753C2DFC-DFED-4461-B98A-68A43C0BE711}"/>
                    </a:ext>
                  </a:extLst>
                </p:cNvPr>
                <p:cNvSpPr/>
                <p:nvPr/>
              </p:nvSpPr>
              <p:spPr>
                <a:xfrm>
                  <a:off x="10791915" y="2744469"/>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90" name="Oval 189">
                  <a:extLst>
                    <a:ext uri="{FF2B5EF4-FFF2-40B4-BE49-F238E27FC236}">
                      <a16:creationId xmlns:a16="http://schemas.microsoft.com/office/drawing/2014/main" id="{568ED809-5553-4B83-A308-01967DCDE8A1}"/>
                    </a:ext>
                  </a:extLst>
                </p:cNvPr>
                <p:cNvSpPr/>
                <p:nvPr/>
              </p:nvSpPr>
              <p:spPr>
                <a:xfrm>
                  <a:off x="10865196" y="2914830"/>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91" name="Oval 190">
                  <a:extLst>
                    <a:ext uri="{FF2B5EF4-FFF2-40B4-BE49-F238E27FC236}">
                      <a16:creationId xmlns:a16="http://schemas.microsoft.com/office/drawing/2014/main" id="{7E1C87B9-9E9B-46BB-BC5B-6B0F6A5D526C}"/>
                    </a:ext>
                  </a:extLst>
                </p:cNvPr>
                <p:cNvSpPr/>
                <p:nvPr/>
              </p:nvSpPr>
              <p:spPr>
                <a:xfrm>
                  <a:off x="10333091" y="2921467"/>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92" name="Oval 191">
                  <a:extLst>
                    <a:ext uri="{FF2B5EF4-FFF2-40B4-BE49-F238E27FC236}">
                      <a16:creationId xmlns:a16="http://schemas.microsoft.com/office/drawing/2014/main" id="{D27C7960-CEB8-489A-BCE4-8FDAFB3DB95B}"/>
                    </a:ext>
                  </a:extLst>
                </p:cNvPr>
                <p:cNvSpPr/>
                <p:nvPr/>
              </p:nvSpPr>
              <p:spPr>
                <a:xfrm>
                  <a:off x="10258803" y="2921467"/>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93" name="Oval 192">
                  <a:extLst>
                    <a:ext uri="{FF2B5EF4-FFF2-40B4-BE49-F238E27FC236}">
                      <a16:creationId xmlns:a16="http://schemas.microsoft.com/office/drawing/2014/main" id="{F143B0E5-4ADC-44C1-88C7-F67031085177}"/>
                    </a:ext>
                  </a:extLst>
                </p:cNvPr>
                <p:cNvSpPr/>
                <p:nvPr/>
              </p:nvSpPr>
              <p:spPr>
                <a:xfrm>
                  <a:off x="10176913" y="3263573"/>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94" name="Oval 193">
                  <a:extLst>
                    <a:ext uri="{FF2B5EF4-FFF2-40B4-BE49-F238E27FC236}">
                      <a16:creationId xmlns:a16="http://schemas.microsoft.com/office/drawing/2014/main" id="{DA97F59C-5554-412A-9A81-C654E00870DE}"/>
                    </a:ext>
                  </a:extLst>
                </p:cNvPr>
                <p:cNvSpPr/>
                <p:nvPr/>
              </p:nvSpPr>
              <p:spPr>
                <a:xfrm>
                  <a:off x="10338894" y="3271183"/>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95" name="Oval 194">
                  <a:extLst>
                    <a:ext uri="{FF2B5EF4-FFF2-40B4-BE49-F238E27FC236}">
                      <a16:creationId xmlns:a16="http://schemas.microsoft.com/office/drawing/2014/main" id="{8961E67D-90DF-498F-B265-48AB5BBE2229}"/>
                    </a:ext>
                  </a:extLst>
                </p:cNvPr>
                <p:cNvSpPr/>
                <p:nvPr/>
              </p:nvSpPr>
              <p:spPr>
                <a:xfrm>
                  <a:off x="10491691" y="3185458"/>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96" name="Oval 195">
                  <a:extLst>
                    <a:ext uri="{FF2B5EF4-FFF2-40B4-BE49-F238E27FC236}">
                      <a16:creationId xmlns:a16="http://schemas.microsoft.com/office/drawing/2014/main" id="{865D695A-E346-4F18-A468-3587AC46CD0F}"/>
                    </a:ext>
                  </a:extLst>
                </p:cNvPr>
                <p:cNvSpPr/>
                <p:nvPr/>
              </p:nvSpPr>
              <p:spPr>
                <a:xfrm>
                  <a:off x="10927099" y="3174881"/>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97" name="Oval 196">
                  <a:extLst>
                    <a:ext uri="{FF2B5EF4-FFF2-40B4-BE49-F238E27FC236}">
                      <a16:creationId xmlns:a16="http://schemas.microsoft.com/office/drawing/2014/main" id="{9E0A4302-90E4-4AE5-9283-8F0090BCE7E7}"/>
                    </a:ext>
                  </a:extLst>
                </p:cNvPr>
                <p:cNvSpPr/>
                <p:nvPr/>
              </p:nvSpPr>
              <p:spPr>
                <a:xfrm>
                  <a:off x="10482502" y="3353302"/>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98" name="Oval 197">
                  <a:extLst>
                    <a:ext uri="{FF2B5EF4-FFF2-40B4-BE49-F238E27FC236}">
                      <a16:creationId xmlns:a16="http://schemas.microsoft.com/office/drawing/2014/main" id="{3EF9AF94-D5EC-4629-BB3E-8AE9F70E9B0D}"/>
                    </a:ext>
                  </a:extLst>
                </p:cNvPr>
                <p:cNvSpPr/>
                <p:nvPr/>
              </p:nvSpPr>
              <p:spPr>
                <a:xfrm>
                  <a:off x="10631743" y="3356908"/>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99" name="Oval 198">
                  <a:extLst>
                    <a:ext uri="{FF2B5EF4-FFF2-40B4-BE49-F238E27FC236}">
                      <a16:creationId xmlns:a16="http://schemas.microsoft.com/office/drawing/2014/main" id="{9E207E8D-6CC0-48A3-8A41-125AF6DF8D74}"/>
                    </a:ext>
                  </a:extLst>
                </p:cNvPr>
                <p:cNvSpPr/>
                <p:nvPr/>
              </p:nvSpPr>
              <p:spPr>
                <a:xfrm>
                  <a:off x="10865196" y="3439763"/>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200" name="Oval 199">
                  <a:extLst>
                    <a:ext uri="{FF2B5EF4-FFF2-40B4-BE49-F238E27FC236}">
                      <a16:creationId xmlns:a16="http://schemas.microsoft.com/office/drawing/2014/main" id="{59C9134D-0167-4F86-B1EE-8E8A51BE207E}"/>
                    </a:ext>
                  </a:extLst>
                </p:cNvPr>
                <p:cNvSpPr/>
                <p:nvPr/>
              </p:nvSpPr>
              <p:spPr>
                <a:xfrm>
                  <a:off x="10779471" y="3519582"/>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201" name="Oval 200">
                  <a:extLst>
                    <a:ext uri="{FF2B5EF4-FFF2-40B4-BE49-F238E27FC236}">
                      <a16:creationId xmlns:a16="http://schemas.microsoft.com/office/drawing/2014/main" id="{CBD94ECB-D9D4-408C-850D-BA3B83454ACA}"/>
                    </a:ext>
                  </a:extLst>
                </p:cNvPr>
                <p:cNvSpPr/>
                <p:nvPr/>
              </p:nvSpPr>
              <p:spPr>
                <a:xfrm>
                  <a:off x="10262638" y="3433857"/>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202" name="Oval 201">
                  <a:extLst>
                    <a:ext uri="{FF2B5EF4-FFF2-40B4-BE49-F238E27FC236}">
                      <a16:creationId xmlns:a16="http://schemas.microsoft.com/office/drawing/2014/main" id="{75B32605-3B65-41D5-843F-A0D69DFBAAB8}"/>
                    </a:ext>
                  </a:extLst>
                </p:cNvPr>
                <p:cNvSpPr/>
                <p:nvPr/>
              </p:nvSpPr>
              <p:spPr>
                <a:xfrm>
                  <a:off x="10262638" y="3527564"/>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203" name="Oval 202">
                  <a:extLst>
                    <a:ext uri="{FF2B5EF4-FFF2-40B4-BE49-F238E27FC236}">
                      <a16:creationId xmlns:a16="http://schemas.microsoft.com/office/drawing/2014/main" id="{223933EA-0672-42D5-BDB2-796DA20FAB30}"/>
                    </a:ext>
                  </a:extLst>
                </p:cNvPr>
                <p:cNvSpPr/>
                <p:nvPr/>
              </p:nvSpPr>
              <p:spPr>
                <a:xfrm>
                  <a:off x="10333090" y="3527564"/>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204" name="Oval 203">
                  <a:extLst>
                    <a:ext uri="{FF2B5EF4-FFF2-40B4-BE49-F238E27FC236}">
                      <a16:creationId xmlns:a16="http://schemas.microsoft.com/office/drawing/2014/main" id="{04CF2874-03FA-4476-880E-2E176AAC3D8C}"/>
                    </a:ext>
                  </a:extLst>
                </p:cNvPr>
                <p:cNvSpPr/>
                <p:nvPr/>
              </p:nvSpPr>
              <p:spPr>
                <a:xfrm>
                  <a:off x="10480049" y="3527564"/>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205" name="Oval 204">
                  <a:extLst>
                    <a:ext uri="{FF2B5EF4-FFF2-40B4-BE49-F238E27FC236}">
                      <a16:creationId xmlns:a16="http://schemas.microsoft.com/office/drawing/2014/main" id="{D1743986-92E2-4B3B-BE5F-31F4D2B00AD3}"/>
                    </a:ext>
                  </a:extLst>
                </p:cNvPr>
                <p:cNvSpPr/>
                <p:nvPr/>
              </p:nvSpPr>
              <p:spPr>
                <a:xfrm>
                  <a:off x="10402985" y="3609414"/>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206" name="Oval 205">
                  <a:extLst>
                    <a:ext uri="{FF2B5EF4-FFF2-40B4-BE49-F238E27FC236}">
                      <a16:creationId xmlns:a16="http://schemas.microsoft.com/office/drawing/2014/main" id="{20D5CD85-5BBD-43EF-8D1D-6759E2FEFEF9}"/>
                    </a:ext>
                  </a:extLst>
                </p:cNvPr>
                <p:cNvSpPr/>
                <p:nvPr/>
              </p:nvSpPr>
              <p:spPr>
                <a:xfrm>
                  <a:off x="10561877" y="3611720"/>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207" name="Oval 206">
                  <a:extLst>
                    <a:ext uri="{FF2B5EF4-FFF2-40B4-BE49-F238E27FC236}">
                      <a16:creationId xmlns:a16="http://schemas.microsoft.com/office/drawing/2014/main" id="{401EDAED-8092-4A69-A6DA-B73C93E78095}"/>
                    </a:ext>
                  </a:extLst>
                </p:cNvPr>
                <p:cNvSpPr/>
                <p:nvPr/>
              </p:nvSpPr>
              <p:spPr>
                <a:xfrm>
                  <a:off x="10256894" y="3695045"/>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208" name="Oval 207">
                  <a:extLst>
                    <a:ext uri="{FF2B5EF4-FFF2-40B4-BE49-F238E27FC236}">
                      <a16:creationId xmlns:a16="http://schemas.microsoft.com/office/drawing/2014/main" id="{9F2F0B22-6582-432A-A12D-FCCD0EEF15E3}"/>
                    </a:ext>
                  </a:extLst>
                </p:cNvPr>
                <p:cNvSpPr/>
                <p:nvPr/>
              </p:nvSpPr>
              <p:spPr>
                <a:xfrm>
                  <a:off x="10546018" y="3780770"/>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209" name="Oval 208">
                  <a:extLst>
                    <a:ext uri="{FF2B5EF4-FFF2-40B4-BE49-F238E27FC236}">
                      <a16:creationId xmlns:a16="http://schemas.microsoft.com/office/drawing/2014/main" id="{694EBA1B-20CB-4089-84D1-9C553CE382C3}"/>
                    </a:ext>
                  </a:extLst>
                </p:cNvPr>
                <p:cNvSpPr/>
                <p:nvPr/>
              </p:nvSpPr>
              <p:spPr>
                <a:xfrm>
                  <a:off x="10256893" y="3787120"/>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210" name="Oval 209">
                  <a:extLst>
                    <a:ext uri="{FF2B5EF4-FFF2-40B4-BE49-F238E27FC236}">
                      <a16:creationId xmlns:a16="http://schemas.microsoft.com/office/drawing/2014/main" id="{C70C27A1-4701-481D-83C4-A40EF3583AFF}"/>
                    </a:ext>
                  </a:extLst>
                </p:cNvPr>
                <p:cNvSpPr/>
                <p:nvPr/>
              </p:nvSpPr>
              <p:spPr>
                <a:xfrm>
                  <a:off x="10171168" y="3955533"/>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211" name="Oval 210">
                  <a:extLst>
                    <a:ext uri="{FF2B5EF4-FFF2-40B4-BE49-F238E27FC236}">
                      <a16:creationId xmlns:a16="http://schemas.microsoft.com/office/drawing/2014/main" id="{DA1A21D7-4520-47E2-9E26-D4F5651BB55A}"/>
                    </a:ext>
                  </a:extLst>
                </p:cNvPr>
                <p:cNvSpPr/>
                <p:nvPr/>
              </p:nvSpPr>
              <p:spPr>
                <a:xfrm>
                  <a:off x="10256893" y="3955672"/>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212" name="Oval 211">
                  <a:extLst>
                    <a:ext uri="{FF2B5EF4-FFF2-40B4-BE49-F238E27FC236}">
                      <a16:creationId xmlns:a16="http://schemas.microsoft.com/office/drawing/2014/main" id="{7FFC8A20-D966-4169-B9AB-92DE4B325586}"/>
                    </a:ext>
                  </a:extLst>
                </p:cNvPr>
                <p:cNvSpPr/>
                <p:nvPr/>
              </p:nvSpPr>
              <p:spPr>
                <a:xfrm>
                  <a:off x="10407704" y="3946664"/>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213" name="Oval 212">
                  <a:extLst>
                    <a:ext uri="{FF2B5EF4-FFF2-40B4-BE49-F238E27FC236}">
                      <a16:creationId xmlns:a16="http://schemas.microsoft.com/office/drawing/2014/main" id="{877696FF-C83E-4FDD-8BD9-88E5051EF4C2}"/>
                    </a:ext>
                  </a:extLst>
                </p:cNvPr>
                <p:cNvSpPr/>
                <p:nvPr/>
              </p:nvSpPr>
              <p:spPr>
                <a:xfrm>
                  <a:off x="10566627" y="4041304"/>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214" name="Oval 213">
                  <a:extLst>
                    <a:ext uri="{FF2B5EF4-FFF2-40B4-BE49-F238E27FC236}">
                      <a16:creationId xmlns:a16="http://schemas.microsoft.com/office/drawing/2014/main" id="{7E5930C3-3F73-401C-876D-DCC347DE8114}"/>
                    </a:ext>
                  </a:extLst>
                </p:cNvPr>
                <p:cNvSpPr/>
                <p:nvPr/>
              </p:nvSpPr>
              <p:spPr>
                <a:xfrm>
                  <a:off x="10782693" y="4039199"/>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grpSp>
          <p:grpSp>
            <p:nvGrpSpPr>
              <p:cNvPr id="151" name="Group 150">
                <a:extLst>
                  <a:ext uri="{FF2B5EF4-FFF2-40B4-BE49-F238E27FC236}">
                    <a16:creationId xmlns:a16="http://schemas.microsoft.com/office/drawing/2014/main" id="{AB394C54-1DF3-4F3F-9503-3542D5740C00}"/>
                  </a:ext>
                </a:extLst>
              </p:cNvPr>
              <p:cNvGrpSpPr/>
              <p:nvPr/>
            </p:nvGrpSpPr>
            <p:grpSpPr>
              <a:xfrm>
                <a:off x="10253169" y="1437224"/>
                <a:ext cx="623305" cy="2426695"/>
                <a:chOff x="10253169" y="1437224"/>
                <a:chExt cx="623305" cy="2426695"/>
              </a:xfrm>
            </p:grpSpPr>
            <p:sp>
              <p:nvSpPr>
                <p:cNvPr id="152" name="Oval 151">
                  <a:extLst>
                    <a:ext uri="{FF2B5EF4-FFF2-40B4-BE49-F238E27FC236}">
                      <a16:creationId xmlns:a16="http://schemas.microsoft.com/office/drawing/2014/main" id="{63A120DD-14C2-45DE-AAE4-5C7C597CBB07}"/>
                    </a:ext>
                  </a:extLst>
                </p:cNvPr>
                <p:cNvSpPr/>
                <p:nvPr/>
              </p:nvSpPr>
              <p:spPr>
                <a:xfrm>
                  <a:off x="10715203" y="3778194"/>
                  <a:ext cx="85725" cy="85725"/>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53" name="Oval 152">
                  <a:extLst>
                    <a:ext uri="{FF2B5EF4-FFF2-40B4-BE49-F238E27FC236}">
                      <a16:creationId xmlns:a16="http://schemas.microsoft.com/office/drawing/2014/main" id="{E89F824A-4262-43E8-84EB-2790E9A82275}"/>
                    </a:ext>
                  </a:extLst>
                </p:cNvPr>
                <p:cNvSpPr/>
                <p:nvPr/>
              </p:nvSpPr>
              <p:spPr>
                <a:xfrm>
                  <a:off x="10709172" y="3087823"/>
                  <a:ext cx="85725" cy="85725"/>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54" name="Oval 153">
                  <a:extLst>
                    <a:ext uri="{FF2B5EF4-FFF2-40B4-BE49-F238E27FC236}">
                      <a16:creationId xmlns:a16="http://schemas.microsoft.com/office/drawing/2014/main" id="{0AD6A5F1-B4C1-479A-9180-893DB5B66411}"/>
                    </a:ext>
                  </a:extLst>
                </p:cNvPr>
                <p:cNvSpPr/>
                <p:nvPr/>
              </p:nvSpPr>
              <p:spPr>
                <a:xfrm>
                  <a:off x="10253169" y="2745047"/>
                  <a:ext cx="85725" cy="85725"/>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55" name="Oval 154">
                  <a:extLst>
                    <a:ext uri="{FF2B5EF4-FFF2-40B4-BE49-F238E27FC236}">
                      <a16:creationId xmlns:a16="http://schemas.microsoft.com/office/drawing/2014/main" id="{C6947A04-C5BC-4798-A731-5B2BB86BC20C}"/>
                    </a:ext>
                  </a:extLst>
                </p:cNvPr>
                <p:cNvSpPr/>
                <p:nvPr/>
              </p:nvSpPr>
              <p:spPr>
                <a:xfrm>
                  <a:off x="10717884" y="2304118"/>
                  <a:ext cx="85725" cy="85725"/>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56" name="Oval 155">
                  <a:extLst>
                    <a:ext uri="{FF2B5EF4-FFF2-40B4-BE49-F238E27FC236}">
                      <a16:creationId xmlns:a16="http://schemas.microsoft.com/office/drawing/2014/main" id="{1901EF35-5A55-4D71-A283-DA19CFF4526C}"/>
                    </a:ext>
                  </a:extLst>
                </p:cNvPr>
                <p:cNvSpPr/>
                <p:nvPr/>
              </p:nvSpPr>
              <p:spPr>
                <a:xfrm>
                  <a:off x="10781207" y="2145578"/>
                  <a:ext cx="85725" cy="85725"/>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57" name="Oval 156">
                  <a:extLst>
                    <a:ext uri="{FF2B5EF4-FFF2-40B4-BE49-F238E27FC236}">
                      <a16:creationId xmlns:a16="http://schemas.microsoft.com/office/drawing/2014/main" id="{67D100FF-1E1B-4358-9449-EA2448523963}"/>
                    </a:ext>
                  </a:extLst>
                </p:cNvPr>
                <p:cNvSpPr/>
                <p:nvPr/>
              </p:nvSpPr>
              <p:spPr>
                <a:xfrm>
                  <a:off x="10790749" y="1624740"/>
                  <a:ext cx="85725" cy="85725"/>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158" name="Oval 157">
                  <a:extLst>
                    <a:ext uri="{FF2B5EF4-FFF2-40B4-BE49-F238E27FC236}">
                      <a16:creationId xmlns:a16="http://schemas.microsoft.com/office/drawing/2014/main" id="{BF2AA84D-34CC-46ED-B694-FA5126A16769}"/>
                    </a:ext>
                  </a:extLst>
                </p:cNvPr>
                <p:cNvSpPr/>
                <p:nvPr/>
              </p:nvSpPr>
              <p:spPr>
                <a:xfrm>
                  <a:off x="10715202" y="1437224"/>
                  <a:ext cx="85725" cy="85725"/>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grpSp>
        </p:grpSp>
        <p:grpSp>
          <p:nvGrpSpPr>
            <p:cNvPr id="245" name="Group 244">
              <a:extLst>
                <a:ext uri="{FF2B5EF4-FFF2-40B4-BE49-F238E27FC236}">
                  <a16:creationId xmlns:a16="http://schemas.microsoft.com/office/drawing/2014/main" id="{CA69FE5E-E74A-4A07-B199-0F234C4E6D37}"/>
                </a:ext>
              </a:extLst>
            </p:cNvPr>
            <p:cNvGrpSpPr/>
            <p:nvPr/>
          </p:nvGrpSpPr>
          <p:grpSpPr>
            <a:xfrm>
              <a:off x="3430308" y="1687332"/>
              <a:ext cx="282370" cy="939426"/>
              <a:chOff x="12474953" y="2312710"/>
              <a:chExt cx="300577" cy="1115728"/>
            </a:xfrm>
          </p:grpSpPr>
          <p:sp>
            <p:nvSpPr>
              <p:cNvPr id="246" name="Oval 245">
                <a:extLst>
                  <a:ext uri="{FF2B5EF4-FFF2-40B4-BE49-F238E27FC236}">
                    <a16:creationId xmlns:a16="http://schemas.microsoft.com/office/drawing/2014/main" id="{406CA80B-AD51-4B17-A229-4BE8014B9CDC}"/>
                  </a:ext>
                </a:extLst>
              </p:cNvPr>
              <p:cNvSpPr/>
              <p:nvPr/>
            </p:nvSpPr>
            <p:spPr>
              <a:xfrm>
                <a:off x="12689805" y="2312710"/>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247" name="Oval 246">
                <a:extLst>
                  <a:ext uri="{FF2B5EF4-FFF2-40B4-BE49-F238E27FC236}">
                    <a16:creationId xmlns:a16="http://schemas.microsoft.com/office/drawing/2014/main" id="{41A59FEC-6CB1-44FE-93FF-CDF4BBA8C38F}"/>
                  </a:ext>
                </a:extLst>
              </p:cNvPr>
              <p:cNvSpPr/>
              <p:nvPr/>
            </p:nvSpPr>
            <p:spPr>
              <a:xfrm>
                <a:off x="12478733" y="2562347"/>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248" name="Oval 247">
                <a:extLst>
                  <a:ext uri="{FF2B5EF4-FFF2-40B4-BE49-F238E27FC236}">
                    <a16:creationId xmlns:a16="http://schemas.microsoft.com/office/drawing/2014/main" id="{5E64DC53-073E-4448-9254-43450BCAC0DE}"/>
                  </a:ext>
                </a:extLst>
              </p:cNvPr>
              <p:cNvSpPr/>
              <p:nvPr/>
            </p:nvSpPr>
            <p:spPr>
              <a:xfrm>
                <a:off x="12474953" y="3185457"/>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249" name="Oval 248">
                <a:extLst>
                  <a:ext uri="{FF2B5EF4-FFF2-40B4-BE49-F238E27FC236}">
                    <a16:creationId xmlns:a16="http://schemas.microsoft.com/office/drawing/2014/main" id="{DED7BB70-98A5-4FAE-BFE0-07D8BB62267E}"/>
                  </a:ext>
                </a:extLst>
              </p:cNvPr>
              <p:cNvSpPr/>
              <p:nvPr/>
            </p:nvSpPr>
            <p:spPr>
              <a:xfrm>
                <a:off x="12682245" y="3342713"/>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250" name="Oval 249">
                <a:extLst>
                  <a:ext uri="{FF2B5EF4-FFF2-40B4-BE49-F238E27FC236}">
                    <a16:creationId xmlns:a16="http://schemas.microsoft.com/office/drawing/2014/main" id="{2B6061B7-2F2B-4FB8-BB0E-1FB1CCD09694}"/>
                  </a:ext>
                </a:extLst>
              </p:cNvPr>
              <p:cNvSpPr/>
              <p:nvPr/>
            </p:nvSpPr>
            <p:spPr>
              <a:xfrm>
                <a:off x="12684749" y="2995050"/>
                <a:ext cx="85725" cy="85725"/>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grpSp>
        <p:grpSp>
          <p:nvGrpSpPr>
            <p:cNvPr id="251" name="Group 250">
              <a:extLst>
                <a:ext uri="{FF2B5EF4-FFF2-40B4-BE49-F238E27FC236}">
                  <a16:creationId xmlns:a16="http://schemas.microsoft.com/office/drawing/2014/main" id="{AAC5A891-1C8F-4AA4-A964-12C042255E80}"/>
                </a:ext>
              </a:extLst>
            </p:cNvPr>
            <p:cNvGrpSpPr/>
            <p:nvPr/>
          </p:nvGrpSpPr>
          <p:grpSpPr>
            <a:xfrm>
              <a:off x="4595051" y="1870275"/>
              <a:ext cx="282125" cy="639298"/>
              <a:chOff x="13687594" y="2405161"/>
              <a:chExt cx="300317" cy="759275"/>
            </a:xfrm>
          </p:grpSpPr>
          <p:sp>
            <p:nvSpPr>
              <p:cNvPr id="252" name="Oval 251">
                <a:extLst>
                  <a:ext uri="{FF2B5EF4-FFF2-40B4-BE49-F238E27FC236}">
                    <a16:creationId xmlns:a16="http://schemas.microsoft.com/office/drawing/2014/main" id="{4799E70C-707F-4F1E-978D-9D84B7CA5C1A}"/>
                  </a:ext>
                </a:extLst>
              </p:cNvPr>
              <p:cNvSpPr/>
              <p:nvPr/>
            </p:nvSpPr>
            <p:spPr>
              <a:xfrm>
                <a:off x="13758947" y="2405161"/>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253" name="Oval 252">
                <a:extLst>
                  <a:ext uri="{FF2B5EF4-FFF2-40B4-BE49-F238E27FC236}">
                    <a16:creationId xmlns:a16="http://schemas.microsoft.com/office/drawing/2014/main" id="{1DFF480D-D5AE-44D1-BEFF-02761E352696}"/>
                  </a:ext>
                </a:extLst>
              </p:cNvPr>
              <p:cNvSpPr/>
              <p:nvPr/>
            </p:nvSpPr>
            <p:spPr>
              <a:xfrm>
                <a:off x="13687594" y="2992986"/>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254" name="Oval 253">
                <a:extLst>
                  <a:ext uri="{FF2B5EF4-FFF2-40B4-BE49-F238E27FC236}">
                    <a16:creationId xmlns:a16="http://schemas.microsoft.com/office/drawing/2014/main" id="{80F42D89-E0E4-4531-94A2-6AD0FECF72E8}"/>
                  </a:ext>
                </a:extLst>
              </p:cNvPr>
              <p:cNvSpPr/>
              <p:nvPr/>
            </p:nvSpPr>
            <p:spPr>
              <a:xfrm>
                <a:off x="13902186" y="3078711"/>
                <a:ext cx="85725" cy="85725"/>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grpSp>
        <p:grpSp>
          <p:nvGrpSpPr>
            <p:cNvPr id="255" name="Group 254">
              <a:extLst>
                <a:ext uri="{FF2B5EF4-FFF2-40B4-BE49-F238E27FC236}">
                  <a16:creationId xmlns:a16="http://schemas.microsoft.com/office/drawing/2014/main" id="{7CC543D1-ABF4-4355-9204-A4EF141A726D}"/>
                </a:ext>
              </a:extLst>
            </p:cNvPr>
            <p:cNvGrpSpPr/>
            <p:nvPr/>
          </p:nvGrpSpPr>
          <p:grpSpPr>
            <a:xfrm>
              <a:off x="5828990" y="2018716"/>
              <a:ext cx="221829" cy="445229"/>
              <a:chOff x="14892594" y="2393484"/>
              <a:chExt cx="236133" cy="528785"/>
            </a:xfrm>
          </p:grpSpPr>
          <p:sp>
            <p:nvSpPr>
              <p:cNvPr id="256" name="Oval 255">
                <a:extLst>
                  <a:ext uri="{FF2B5EF4-FFF2-40B4-BE49-F238E27FC236}">
                    <a16:creationId xmlns:a16="http://schemas.microsoft.com/office/drawing/2014/main" id="{70CB52A3-1278-4DFF-B0DD-EBABE63A879E}"/>
                  </a:ext>
                </a:extLst>
              </p:cNvPr>
              <p:cNvSpPr/>
              <p:nvPr/>
            </p:nvSpPr>
            <p:spPr>
              <a:xfrm>
                <a:off x="15043002" y="2393484"/>
                <a:ext cx="85725" cy="85725"/>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sp>
            <p:nvSpPr>
              <p:cNvPr id="257" name="Oval 256">
                <a:extLst>
                  <a:ext uri="{FF2B5EF4-FFF2-40B4-BE49-F238E27FC236}">
                    <a16:creationId xmlns:a16="http://schemas.microsoft.com/office/drawing/2014/main" id="{82224FD0-7DC7-4AC0-B396-33C2F2EF3341}"/>
                  </a:ext>
                </a:extLst>
              </p:cNvPr>
              <p:cNvSpPr/>
              <p:nvPr/>
            </p:nvSpPr>
            <p:spPr>
              <a:xfrm>
                <a:off x="14892594" y="2836544"/>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en-US" sz="2400" dirty="0">
                  <a:solidFill>
                    <a:prstClr val="white"/>
                  </a:solidFill>
                  <a:latin typeface="Arial"/>
                </a:endParaRPr>
              </a:p>
            </p:txBody>
          </p:sp>
        </p:grpSp>
        <p:sp>
          <p:nvSpPr>
            <p:cNvPr id="49" name="Freeform 44">
              <a:extLst>
                <a:ext uri="{FF2B5EF4-FFF2-40B4-BE49-F238E27FC236}">
                  <a16:creationId xmlns:a16="http://schemas.microsoft.com/office/drawing/2014/main" id="{87B74336-A68F-4A7E-9083-6D265135BC3A}"/>
                </a:ext>
              </a:extLst>
            </p:cNvPr>
            <p:cNvSpPr>
              <a:spLocks/>
            </p:cNvSpPr>
            <p:nvPr/>
          </p:nvSpPr>
          <p:spPr bwMode="auto">
            <a:xfrm>
              <a:off x="7672712" y="2153106"/>
              <a:ext cx="1452386" cy="525307"/>
            </a:xfrm>
            <a:custGeom>
              <a:avLst/>
              <a:gdLst>
                <a:gd name="T0" fmla="*/ 0 w 1305"/>
                <a:gd name="T1" fmla="*/ 2 h 472"/>
                <a:gd name="T2" fmla="*/ 1091 w 1305"/>
                <a:gd name="T3" fmla="*/ 0 h 472"/>
                <a:gd name="T4" fmla="*/ 1305 w 1305"/>
                <a:gd name="T5" fmla="*/ 236 h 472"/>
                <a:gd name="T6" fmla="*/ 1091 w 1305"/>
                <a:gd name="T7" fmla="*/ 471 h 472"/>
                <a:gd name="T8" fmla="*/ 0 w 1305"/>
                <a:gd name="T9" fmla="*/ 472 h 472"/>
                <a:gd name="T10" fmla="*/ 0 w 1305"/>
                <a:gd name="T11" fmla="*/ 2 h 472"/>
              </a:gdLst>
              <a:ahLst/>
              <a:cxnLst>
                <a:cxn ang="0">
                  <a:pos x="T0" y="T1"/>
                </a:cxn>
                <a:cxn ang="0">
                  <a:pos x="T2" y="T3"/>
                </a:cxn>
                <a:cxn ang="0">
                  <a:pos x="T4" y="T5"/>
                </a:cxn>
                <a:cxn ang="0">
                  <a:pos x="T6" y="T7"/>
                </a:cxn>
                <a:cxn ang="0">
                  <a:pos x="T8" y="T9"/>
                </a:cxn>
                <a:cxn ang="0">
                  <a:pos x="T10" y="T11"/>
                </a:cxn>
              </a:cxnLst>
              <a:rect l="0" t="0" r="r" b="b"/>
              <a:pathLst>
                <a:path w="1305" h="472">
                  <a:moveTo>
                    <a:pt x="0" y="2"/>
                  </a:moveTo>
                  <a:lnTo>
                    <a:pt x="1091" y="0"/>
                  </a:lnTo>
                  <a:lnTo>
                    <a:pt x="1305" y="236"/>
                  </a:lnTo>
                  <a:lnTo>
                    <a:pt x="1091" y="471"/>
                  </a:lnTo>
                  <a:lnTo>
                    <a:pt x="0" y="472"/>
                  </a:lnTo>
                  <a:lnTo>
                    <a:pt x="0" y="2"/>
                  </a:lnTo>
                  <a:close/>
                </a:path>
              </a:pathLst>
            </a:custGeom>
            <a:solidFill>
              <a:srgbClr val="682C94"/>
            </a:solidFill>
            <a:ln w="25400">
              <a:solidFill>
                <a:sysClr val="window" lastClr="FFFFFF"/>
              </a:solidFill>
              <a:round/>
              <a:headEnd/>
              <a:tailEnd/>
            </a:ln>
            <a:effectLst>
              <a:innerShdw blurRad="190500" dist="139700" dir="5400000">
                <a:prstClr val="black">
                  <a:alpha val="50000"/>
                </a:prstClr>
              </a:innerShdw>
            </a:effectLst>
          </p:spPr>
          <p:txBody>
            <a:bodyPr vert="horz" wrap="square" lIns="121920" tIns="60960" rIns="121920" bIns="60960" numCol="1" anchor="ctr" anchorCtr="0" compatLnSpc="1">
              <a:prstTxWarp prst="textNoShape">
                <a:avLst/>
              </a:prstTxWarp>
            </a:bodyPr>
            <a:lstStyle/>
            <a:p>
              <a:pPr algn="ctr" defTabSz="1219140">
                <a:defRPr/>
              </a:pPr>
              <a:r>
                <a:rPr lang="en-US" sz="1600" b="1" kern="0" dirty="0">
                  <a:solidFill>
                    <a:prstClr val="white"/>
                  </a:solidFill>
                  <a:effectLst>
                    <a:outerShdw blurRad="38100" dist="38100" dir="2700000" algn="tl">
                      <a:srgbClr val="000000">
                        <a:alpha val="43137"/>
                      </a:srgbClr>
                    </a:outerShdw>
                  </a:effectLst>
                  <a:latin typeface="Arial"/>
                </a:rPr>
                <a:t>Product &amp; </a:t>
              </a:r>
            </a:p>
            <a:p>
              <a:pPr algn="ctr" defTabSz="1219140">
                <a:defRPr/>
              </a:pPr>
              <a:r>
                <a:rPr lang="en-US" sz="1600" b="1" kern="0" dirty="0">
                  <a:solidFill>
                    <a:prstClr val="white"/>
                  </a:solidFill>
                  <a:effectLst>
                    <a:outerShdw blurRad="38100" dist="38100" dir="2700000" algn="tl">
                      <a:srgbClr val="000000">
                        <a:alpha val="43137"/>
                      </a:srgbClr>
                    </a:outerShdw>
                  </a:effectLst>
                  <a:latin typeface="Arial"/>
                </a:rPr>
                <a:t>Delivery</a:t>
              </a:r>
            </a:p>
          </p:txBody>
        </p:sp>
        <p:sp>
          <p:nvSpPr>
            <p:cNvPr id="50" name="Freeform 49">
              <a:extLst>
                <a:ext uri="{FF2B5EF4-FFF2-40B4-BE49-F238E27FC236}">
                  <a16:creationId xmlns:a16="http://schemas.microsoft.com/office/drawing/2014/main" id="{38872087-D174-4F63-82F8-E25DDFA28FEF}"/>
                </a:ext>
              </a:extLst>
            </p:cNvPr>
            <p:cNvSpPr>
              <a:spLocks/>
            </p:cNvSpPr>
            <p:nvPr/>
          </p:nvSpPr>
          <p:spPr bwMode="auto">
            <a:xfrm>
              <a:off x="6499713" y="2153106"/>
              <a:ext cx="1445671" cy="525307"/>
            </a:xfrm>
            <a:custGeom>
              <a:avLst/>
              <a:gdLst>
                <a:gd name="T0" fmla="*/ 0 w 1305"/>
                <a:gd name="T1" fmla="*/ 2 h 472"/>
                <a:gd name="T2" fmla="*/ 1091 w 1305"/>
                <a:gd name="T3" fmla="*/ 0 h 472"/>
                <a:gd name="T4" fmla="*/ 1305 w 1305"/>
                <a:gd name="T5" fmla="*/ 236 h 472"/>
                <a:gd name="T6" fmla="*/ 1091 w 1305"/>
                <a:gd name="T7" fmla="*/ 471 h 472"/>
                <a:gd name="T8" fmla="*/ 0 w 1305"/>
                <a:gd name="T9" fmla="*/ 472 h 472"/>
                <a:gd name="T10" fmla="*/ 0 w 1305"/>
                <a:gd name="T11" fmla="*/ 2 h 472"/>
              </a:gdLst>
              <a:ahLst/>
              <a:cxnLst>
                <a:cxn ang="0">
                  <a:pos x="T0" y="T1"/>
                </a:cxn>
                <a:cxn ang="0">
                  <a:pos x="T2" y="T3"/>
                </a:cxn>
                <a:cxn ang="0">
                  <a:pos x="T4" y="T5"/>
                </a:cxn>
                <a:cxn ang="0">
                  <a:pos x="T6" y="T7"/>
                </a:cxn>
                <a:cxn ang="0">
                  <a:pos x="T8" y="T9"/>
                </a:cxn>
                <a:cxn ang="0">
                  <a:pos x="T10" y="T11"/>
                </a:cxn>
              </a:cxnLst>
              <a:rect l="0" t="0" r="r" b="b"/>
              <a:pathLst>
                <a:path w="1305" h="472">
                  <a:moveTo>
                    <a:pt x="0" y="2"/>
                  </a:moveTo>
                  <a:lnTo>
                    <a:pt x="1091" y="0"/>
                  </a:lnTo>
                  <a:lnTo>
                    <a:pt x="1305" y="236"/>
                  </a:lnTo>
                  <a:lnTo>
                    <a:pt x="1091" y="471"/>
                  </a:lnTo>
                  <a:lnTo>
                    <a:pt x="0" y="472"/>
                  </a:lnTo>
                  <a:lnTo>
                    <a:pt x="0" y="2"/>
                  </a:lnTo>
                  <a:close/>
                </a:path>
              </a:pathLst>
            </a:custGeom>
            <a:solidFill>
              <a:srgbClr val="CC0505"/>
            </a:solidFill>
            <a:ln w="25400">
              <a:solidFill>
                <a:sysClr val="window" lastClr="FFFFFF"/>
              </a:solidFill>
              <a:round/>
              <a:headEnd/>
              <a:tailEnd/>
            </a:ln>
            <a:effectLst>
              <a:innerShdw blurRad="190500" dist="139700" dir="5400000">
                <a:prstClr val="black">
                  <a:alpha val="50000"/>
                </a:prstClr>
              </a:innerShdw>
            </a:effectLst>
          </p:spPr>
          <p:txBody>
            <a:bodyPr vert="horz" wrap="square" lIns="121920" tIns="60960" rIns="121920" bIns="60960" numCol="1" anchor="ctr" anchorCtr="0" compatLnSpc="1">
              <a:prstTxWarp prst="textNoShape">
                <a:avLst/>
              </a:prstTxWarp>
            </a:bodyPr>
            <a:lstStyle/>
            <a:p>
              <a:pPr algn="ctr" defTabSz="1219110"/>
              <a:r>
                <a:rPr lang="en-US" sz="1467" b="1" kern="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EUA/BLA </a:t>
              </a:r>
            </a:p>
            <a:p>
              <a:pPr algn="ctr" defTabSz="1219110"/>
              <a:r>
                <a:rPr lang="en-US" sz="1467" b="1" kern="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reparation </a:t>
              </a:r>
            </a:p>
            <a:p>
              <a:pPr algn="ctr" defTabSz="1219110"/>
              <a:r>
                <a:rPr lang="en-US" sz="1467" b="1" kern="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nd Filing</a:t>
              </a:r>
            </a:p>
          </p:txBody>
        </p:sp>
        <p:sp>
          <p:nvSpPr>
            <p:cNvPr id="51" name="Freeform 52">
              <a:extLst>
                <a:ext uri="{FF2B5EF4-FFF2-40B4-BE49-F238E27FC236}">
                  <a16:creationId xmlns:a16="http://schemas.microsoft.com/office/drawing/2014/main" id="{B18E8360-609F-4B62-98D3-B219BAB90D4C}"/>
                </a:ext>
              </a:extLst>
            </p:cNvPr>
            <p:cNvSpPr>
              <a:spLocks/>
            </p:cNvSpPr>
            <p:nvPr/>
          </p:nvSpPr>
          <p:spPr bwMode="auto">
            <a:xfrm>
              <a:off x="5312169" y="2153106"/>
              <a:ext cx="1453498" cy="525307"/>
            </a:xfrm>
            <a:custGeom>
              <a:avLst/>
              <a:gdLst>
                <a:gd name="T0" fmla="*/ 0 w 1306"/>
                <a:gd name="T1" fmla="*/ 2 h 472"/>
                <a:gd name="T2" fmla="*/ 1091 w 1306"/>
                <a:gd name="T3" fmla="*/ 0 h 472"/>
                <a:gd name="T4" fmla="*/ 1306 w 1306"/>
                <a:gd name="T5" fmla="*/ 236 h 472"/>
                <a:gd name="T6" fmla="*/ 1091 w 1306"/>
                <a:gd name="T7" fmla="*/ 471 h 472"/>
                <a:gd name="T8" fmla="*/ 0 w 1306"/>
                <a:gd name="T9" fmla="*/ 472 h 472"/>
                <a:gd name="T10" fmla="*/ 0 w 1306"/>
                <a:gd name="T11" fmla="*/ 2 h 472"/>
              </a:gdLst>
              <a:ahLst/>
              <a:cxnLst>
                <a:cxn ang="0">
                  <a:pos x="T0" y="T1"/>
                </a:cxn>
                <a:cxn ang="0">
                  <a:pos x="T2" y="T3"/>
                </a:cxn>
                <a:cxn ang="0">
                  <a:pos x="T4" y="T5"/>
                </a:cxn>
                <a:cxn ang="0">
                  <a:pos x="T6" y="T7"/>
                </a:cxn>
                <a:cxn ang="0">
                  <a:pos x="T8" y="T9"/>
                </a:cxn>
                <a:cxn ang="0">
                  <a:pos x="T10" y="T11"/>
                </a:cxn>
              </a:cxnLst>
              <a:rect l="0" t="0" r="r" b="b"/>
              <a:pathLst>
                <a:path w="1306" h="472">
                  <a:moveTo>
                    <a:pt x="0" y="2"/>
                  </a:moveTo>
                  <a:lnTo>
                    <a:pt x="1091" y="0"/>
                  </a:lnTo>
                  <a:lnTo>
                    <a:pt x="1306" y="236"/>
                  </a:lnTo>
                  <a:lnTo>
                    <a:pt x="1091" y="471"/>
                  </a:lnTo>
                  <a:lnTo>
                    <a:pt x="0" y="472"/>
                  </a:lnTo>
                  <a:lnTo>
                    <a:pt x="0" y="2"/>
                  </a:lnTo>
                  <a:close/>
                </a:path>
              </a:pathLst>
            </a:custGeom>
            <a:gradFill flip="none" rotWithShape="1">
              <a:gsLst>
                <a:gs pos="71000">
                  <a:srgbClr val="00B050"/>
                </a:gs>
                <a:gs pos="0">
                  <a:schemeClr val="tx1"/>
                </a:gs>
                <a:gs pos="100000">
                  <a:srgbClr val="00B050"/>
                </a:gs>
              </a:gsLst>
              <a:lin ang="0" scaled="1"/>
              <a:tileRect/>
            </a:gradFill>
            <a:ln w="25400">
              <a:solidFill>
                <a:sysClr val="window" lastClr="FFFFFF"/>
              </a:solidFill>
              <a:round/>
              <a:headEnd/>
              <a:tailEnd/>
            </a:ln>
            <a:effectLst>
              <a:innerShdw blurRad="190500" dist="139700" dir="5400000">
                <a:prstClr val="black">
                  <a:alpha val="50000"/>
                </a:prstClr>
              </a:innerShdw>
            </a:effectLst>
          </p:spPr>
          <p:txBody>
            <a:bodyPr vert="horz" wrap="square" lIns="121920" tIns="60960" rIns="121920" bIns="60960" numCol="1" anchor="ctr" anchorCtr="0" compatLnSpc="1">
              <a:prstTxWarp prst="textNoShape">
                <a:avLst/>
              </a:prstTxWarp>
            </a:bodyPr>
            <a:lstStyle/>
            <a:p>
              <a:pPr algn="ctr" defTabSz="1219110"/>
              <a:r>
                <a:rPr lang="en-US" sz="1467" b="1" kern="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hase III</a:t>
              </a:r>
            </a:p>
          </p:txBody>
        </p:sp>
        <p:sp>
          <p:nvSpPr>
            <p:cNvPr id="52" name="Freeform 55">
              <a:extLst>
                <a:ext uri="{FF2B5EF4-FFF2-40B4-BE49-F238E27FC236}">
                  <a16:creationId xmlns:a16="http://schemas.microsoft.com/office/drawing/2014/main" id="{A404F039-AA33-4B03-A10D-5D92E0C21D85}"/>
                </a:ext>
              </a:extLst>
            </p:cNvPr>
            <p:cNvSpPr>
              <a:spLocks/>
            </p:cNvSpPr>
            <p:nvPr/>
          </p:nvSpPr>
          <p:spPr bwMode="auto">
            <a:xfrm>
              <a:off x="4132454" y="2153106"/>
              <a:ext cx="1452386" cy="525307"/>
            </a:xfrm>
            <a:custGeom>
              <a:avLst/>
              <a:gdLst>
                <a:gd name="T0" fmla="*/ 0 w 1305"/>
                <a:gd name="T1" fmla="*/ 2 h 472"/>
                <a:gd name="T2" fmla="*/ 1091 w 1305"/>
                <a:gd name="T3" fmla="*/ 0 h 472"/>
                <a:gd name="T4" fmla="*/ 1305 w 1305"/>
                <a:gd name="T5" fmla="*/ 236 h 472"/>
                <a:gd name="T6" fmla="*/ 1091 w 1305"/>
                <a:gd name="T7" fmla="*/ 471 h 472"/>
                <a:gd name="T8" fmla="*/ 0 w 1305"/>
                <a:gd name="T9" fmla="*/ 472 h 472"/>
                <a:gd name="T10" fmla="*/ 0 w 1305"/>
                <a:gd name="T11" fmla="*/ 2 h 472"/>
              </a:gdLst>
              <a:ahLst/>
              <a:cxnLst>
                <a:cxn ang="0">
                  <a:pos x="T0" y="T1"/>
                </a:cxn>
                <a:cxn ang="0">
                  <a:pos x="T2" y="T3"/>
                </a:cxn>
                <a:cxn ang="0">
                  <a:pos x="T4" y="T5"/>
                </a:cxn>
                <a:cxn ang="0">
                  <a:pos x="T6" y="T7"/>
                </a:cxn>
                <a:cxn ang="0">
                  <a:pos x="T8" y="T9"/>
                </a:cxn>
                <a:cxn ang="0">
                  <a:pos x="T10" y="T11"/>
                </a:cxn>
              </a:cxnLst>
              <a:rect l="0" t="0" r="r" b="b"/>
              <a:pathLst>
                <a:path w="1305" h="472">
                  <a:moveTo>
                    <a:pt x="0" y="2"/>
                  </a:moveTo>
                  <a:lnTo>
                    <a:pt x="1091" y="0"/>
                  </a:lnTo>
                  <a:lnTo>
                    <a:pt x="1305" y="236"/>
                  </a:lnTo>
                  <a:lnTo>
                    <a:pt x="1091" y="471"/>
                  </a:lnTo>
                  <a:lnTo>
                    <a:pt x="0" y="472"/>
                  </a:lnTo>
                  <a:lnTo>
                    <a:pt x="0" y="2"/>
                  </a:lnTo>
                  <a:close/>
                </a:path>
              </a:pathLst>
            </a:custGeom>
            <a:gradFill flip="none" rotWithShape="1">
              <a:gsLst>
                <a:gs pos="71000">
                  <a:srgbClr val="00B050"/>
                </a:gs>
                <a:gs pos="0">
                  <a:schemeClr val="tx1"/>
                </a:gs>
                <a:gs pos="100000">
                  <a:srgbClr val="00B050"/>
                </a:gs>
              </a:gsLst>
              <a:lin ang="0" scaled="1"/>
              <a:tileRect/>
            </a:gradFill>
            <a:ln w="25400">
              <a:solidFill>
                <a:sysClr val="window" lastClr="FFFFFF"/>
              </a:solidFill>
              <a:round/>
              <a:headEnd/>
              <a:tailEnd/>
            </a:ln>
            <a:effectLst>
              <a:innerShdw blurRad="190500" dist="139700" dir="5400000">
                <a:prstClr val="black">
                  <a:alpha val="50000"/>
                </a:prstClr>
              </a:innerShdw>
            </a:effectLst>
          </p:spPr>
          <p:txBody>
            <a:bodyPr vert="horz" wrap="square" lIns="121920" tIns="60960" rIns="121920" bIns="60960" numCol="1" anchor="ctr" anchorCtr="0" compatLnSpc="1">
              <a:prstTxWarp prst="textNoShape">
                <a:avLst/>
              </a:prstTxWarp>
            </a:bodyPr>
            <a:lstStyle/>
            <a:p>
              <a:pPr algn="ctr" defTabSz="1219110"/>
              <a:r>
                <a:rPr lang="en-US" sz="1467" b="1" kern="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hase II</a:t>
              </a:r>
            </a:p>
          </p:txBody>
        </p:sp>
        <p:sp>
          <p:nvSpPr>
            <p:cNvPr id="53" name="Freeform 58">
              <a:extLst>
                <a:ext uri="{FF2B5EF4-FFF2-40B4-BE49-F238E27FC236}">
                  <a16:creationId xmlns:a16="http://schemas.microsoft.com/office/drawing/2014/main" id="{36E0B580-417A-4BFE-8FF5-DC529C44F2FA}"/>
                </a:ext>
              </a:extLst>
            </p:cNvPr>
            <p:cNvSpPr>
              <a:spLocks/>
            </p:cNvSpPr>
            <p:nvPr/>
          </p:nvSpPr>
          <p:spPr bwMode="auto">
            <a:xfrm>
              <a:off x="2951626" y="2153106"/>
              <a:ext cx="1453498" cy="525307"/>
            </a:xfrm>
            <a:custGeom>
              <a:avLst/>
              <a:gdLst>
                <a:gd name="T0" fmla="*/ 0 w 1306"/>
                <a:gd name="T1" fmla="*/ 2 h 472"/>
                <a:gd name="T2" fmla="*/ 1092 w 1306"/>
                <a:gd name="T3" fmla="*/ 0 h 472"/>
                <a:gd name="T4" fmla="*/ 1306 w 1306"/>
                <a:gd name="T5" fmla="*/ 236 h 472"/>
                <a:gd name="T6" fmla="*/ 1092 w 1306"/>
                <a:gd name="T7" fmla="*/ 471 h 472"/>
                <a:gd name="T8" fmla="*/ 0 w 1306"/>
                <a:gd name="T9" fmla="*/ 472 h 472"/>
                <a:gd name="T10" fmla="*/ 0 w 1306"/>
                <a:gd name="T11" fmla="*/ 2 h 472"/>
              </a:gdLst>
              <a:ahLst/>
              <a:cxnLst>
                <a:cxn ang="0">
                  <a:pos x="T0" y="T1"/>
                </a:cxn>
                <a:cxn ang="0">
                  <a:pos x="T2" y="T3"/>
                </a:cxn>
                <a:cxn ang="0">
                  <a:pos x="T4" y="T5"/>
                </a:cxn>
                <a:cxn ang="0">
                  <a:pos x="T6" y="T7"/>
                </a:cxn>
                <a:cxn ang="0">
                  <a:pos x="T8" y="T9"/>
                </a:cxn>
                <a:cxn ang="0">
                  <a:pos x="T10" y="T11"/>
                </a:cxn>
              </a:cxnLst>
              <a:rect l="0" t="0" r="r" b="b"/>
              <a:pathLst>
                <a:path w="1306" h="472">
                  <a:moveTo>
                    <a:pt x="0" y="2"/>
                  </a:moveTo>
                  <a:lnTo>
                    <a:pt x="1092" y="0"/>
                  </a:lnTo>
                  <a:lnTo>
                    <a:pt x="1306" y="236"/>
                  </a:lnTo>
                  <a:lnTo>
                    <a:pt x="1092" y="471"/>
                  </a:lnTo>
                  <a:lnTo>
                    <a:pt x="0" y="472"/>
                  </a:lnTo>
                  <a:lnTo>
                    <a:pt x="0" y="2"/>
                  </a:lnTo>
                  <a:close/>
                </a:path>
              </a:pathLst>
            </a:custGeom>
            <a:gradFill flip="none" rotWithShape="1">
              <a:gsLst>
                <a:gs pos="71000">
                  <a:srgbClr val="00B050"/>
                </a:gs>
                <a:gs pos="0">
                  <a:schemeClr val="tx1"/>
                </a:gs>
                <a:gs pos="100000">
                  <a:srgbClr val="00B050"/>
                </a:gs>
              </a:gsLst>
              <a:lin ang="0" scaled="1"/>
              <a:tileRect/>
            </a:gradFill>
            <a:ln w="25400">
              <a:solidFill>
                <a:sysClr val="window" lastClr="FFFFFF"/>
              </a:solidFill>
              <a:round/>
              <a:headEnd/>
              <a:tailEnd/>
            </a:ln>
            <a:effectLst>
              <a:innerShdw blurRad="190500" dist="139700" dir="5400000">
                <a:prstClr val="black">
                  <a:alpha val="50000"/>
                </a:prstClr>
              </a:innerShdw>
            </a:effectLst>
          </p:spPr>
          <p:txBody>
            <a:bodyPr vert="horz" wrap="square" lIns="121920" tIns="60960" rIns="121920" bIns="60960" numCol="1" anchor="ctr" anchorCtr="0" compatLnSpc="1">
              <a:prstTxWarp prst="textNoShape">
                <a:avLst/>
              </a:prstTxWarp>
            </a:bodyPr>
            <a:lstStyle/>
            <a:p>
              <a:pPr algn="ctr" defTabSz="1219110"/>
              <a:r>
                <a:rPr lang="en-US" sz="1467" b="1" kern="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hase I</a:t>
              </a:r>
            </a:p>
          </p:txBody>
        </p:sp>
        <p:sp>
          <p:nvSpPr>
            <p:cNvPr id="54" name="Freeform 61">
              <a:extLst>
                <a:ext uri="{FF2B5EF4-FFF2-40B4-BE49-F238E27FC236}">
                  <a16:creationId xmlns:a16="http://schemas.microsoft.com/office/drawing/2014/main" id="{40C90B3C-7236-4772-8A96-157FCAAA9310}"/>
                </a:ext>
              </a:extLst>
            </p:cNvPr>
            <p:cNvSpPr>
              <a:spLocks/>
            </p:cNvSpPr>
            <p:nvPr/>
          </p:nvSpPr>
          <p:spPr bwMode="auto">
            <a:xfrm>
              <a:off x="1771910" y="2153106"/>
              <a:ext cx="1452386" cy="525307"/>
            </a:xfrm>
            <a:custGeom>
              <a:avLst/>
              <a:gdLst>
                <a:gd name="T0" fmla="*/ 0 w 1305"/>
                <a:gd name="T1" fmla="*/ 2 h 472"/>
                <a:gd name="T2" fmla="*/ 1091 w 1305"/>
                <a:gd name="T3" fmla="*/ 0 h 472"/>
                <a:gd name="T4" fmla="*/ 1305 w 1305"/>
                <a:gd name="T5" fmla="*/ 236 h 472"/>
                <a:gd name="T6" fmla="*/ 1091 w 1305"/>
                <a:gd name="T7" fmla="*/ 471 h 472"/>
                <a:gd name="T8" fmla="*/ 0 w 1305"/>
                <a:gd name="T9" fmla="*/ 472 h 472"/>
                <a:gd name="T10" fmla="*/ 0 w 1305"/>
                <a:gd name="T11" fmla="*/ 2 h 472"/>
              </a:gdLst>
              <a:ahLst/>
              <a:cxnLst>
                <a:cxn ang="0">
                  <a:pos x="T0" y="T1"/>
                </a:cxn>
                <a:cxn ang="0">
                  <a:pos x="T2" y="T3"/>
                </a:cxn>
                <a:cxn ang="0">
                  <a:pos x="T4" y="T5"/>
                </a:cxn>
                <a:cxn ang="0">
                  <a:pos x="T6" y="T7"/>
                </a:cxn>
                <a:cxn ang="0">
                  <a:pos x="T8" y="T9"/>
                </a:cxn>
                <a:cxn ang="0">
                  <a:pos x="T10" y="T11"/>
                </a:cxn>
              </a:cxnLst>
              <a:rect l="0" t="0" r="r" b="b"/>
              <a:pathLst>
                <a:path w="1305" h="472">
                  <a:moveTo>
                    <a:pt x="0" y="2"/>
                  </a:moveTo>
                  <a:lnTo>
                    <a:pt x="1091" y="0"/>
                  </a:lnTo>
                  <a:lnTo>
                    <a:pt x="1305" y="236"/>
                  </a:lnTo>
                  <a:lnTo>
                    <a:pt x="1091" y="471"/>
                  </a:lnTo>
                  <a:lnTo>
                    <a:pt x="0" y="472"/>
                  </a:lnTo>
                  <a:lnTo>
                    <a:pt x="0" y="2"/>
                  </a:lnTo>
                  <a:close/>
                </a:path>
              </a:pathLst>
            </a:custGeom>
            <a:gradFill flip="none" rotWithShape="1">
              <a:gsLst>
                <a:gs pos="71000">
                  <a:srgbClr val="00B050"/>
                </a:gs>
                <a:gs pos="0">
                  <a:schemeClr val="tx1"/>
                </a:gs>
                <a:gs pos="100000">
                  <a:srgbClr val="00B050"/>
                </a:gs>
              </a:gsLst>
              <a:lin ang="0" scaled="1"/>
              <a:tileRect/>
            </a:gradFill>
            <a:ln w="25400">
              <a:solidFill>
                <a:sysClr val="window" lastClr="FFFFFF"/>
              </a:solidFill>
              <a:round/>
              <a:headEnd/>
              <a:tailEnd/>
            </a:ln>
            <a:effectLst>
              <a:innerShdw blurRad="190500" dist="139700" dir="5400000">
                <a:prstClr val="black">
                  <a:alpha val="50000"/>
                </a:prstClr>
              </a:innerShdw>
            </a:effectLst>
          </p:spPr>
          <p:txBody>
            <a:bodyPr vert="horz" wrap="square" lIns="121920" tIns="60960" rIns="121920" bIns="60960" numCol="1" anchor="ctr" anchorCtr="0" compatLnSpc="1">
              <a:prstTxWarp prst="textNoShape">
                <a:avLst/>
              </a:prstTxWarp>
            </a:bodyPr>
            <a:lstStyle/>
            <a:p>
              <a:pPr algn="ctr" defTabSz="1219110"/>
              <a:r>
                <a:rPr lang="en-US" sz="1400" b="1" kern="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reclinical Development</a:t>
              </a:r>
            </a:p>
          </p:txBody>
        </p:sp>
        <p:sp>
          <p:nvSpPr>
            <p:cNvPr id="55" name="Freeform 64">
              <a:extLst>
                <a:ext uri="{FF2B5EF4-FFF2-40B4-BE49-F238E27FC236}">
                  <a16:creationId xmlns:a16="http://schemas.microsoft.com/office/drawing/2014/main" id="{C28BB1AF-A0D7-4274-9909-07EE4661D02D}"/>
                </a:ext>
              </a:extLst>
            </p:cNvPr>
            <p:cNvSpPr>
              <a:spLocks/>
            </p:cNvSpPr>
            <p:nvPr/>
          </p:nvSpPr>
          <p:spPr bwMode="auto">
            <a:xfrm>
              <a:off x="592195" y="2153106"/>
              <a:ext cx="1452386" cy="525307"/>
            </a:xfrm>
            <a:custGeom>
              <a:avLst/>
              <a:gdLst>
                <a:gd name="T0" fmla="*/ 0 w 1305"/>
                <a:gd name="T1" fmla="*/ 2 h 472"/>
                <a:gd name="T2" fmla="*/ 1091 w 1305"/>
                <a:gd name="T3" fmla="*/ 0 h 472"/>
                <a:gd name="T4" fmla="*/ 1305 w 1305"/>
                <a:gd name="T5" fmla="*/ 236 h 472"/>
                <a:gd name="T6" fmla="*/ 1091 w 1305"/>
                <a:gd name="T7" fmla="*/ 471 h 472"/>
                <a:gd name="T8" fmla="*/ 0 w 1305"/>
                <a:gd name="T9" fmla="*/ 472 h 472"/>
                <a:gd name="T10" fmla="*/ 0 w 1305"/>
                <a:gd name="T11" fmla="*/ 2 h 472"/>
              </a:gdLst>
              <a:ahLst/>
              <a:cxnLst>
                <a:cxn ang="0">
                  <a:pos x="T0" y="T1"/>
                </a:cxn>
                <a:cxn ang="0">
                  <a:pos x="T2" y="T3"/>
                </a:cxn>
                <a:cxn ang="0">
                  <a:pos x="T4" y="T5"/>
                </a:cxn>
                <a:cxn ang="0">
                  <a:pos x="T6" y="T7"/>
                </a:cxn>
                <a:cxn ang="0">
                  <a:pos x="T8" y="T9"/>
                </a:cxn>
                <a:cxn ang="0">
                  <a:pos x="T10" y="T11"/>
                </a:cxn>
              </a:cxnLst>
              <a:rect l="0" t="0" r="r" b="b"/>
              <a:pathLst>
                <a:path w="1305" h="472">
                  <a:moveTo>
                    <a:pt x="0" y="2"/>
                  </a:moveTo>
                  <a:lnTo>
                    <a:pt x="1091" y="0"/>
                  </a:lnTo>
                  <a:lnTo>
                    <a:pt x="1305" y="236"/>
                  </a:lnTo>
                  <a:lnTo>
                    <a:pt x="1091" y="471"/>
                  </a:lnTo>
                  <a:lnTo>
                    <a:pt x="0" y="472"/>
                  </a:lnTo>
                  <a:lnTo>
                    <a:pt x="0" y="2"/>
                  </a:lnTo>
                  <a:close/>
                </a:path>
              </a:pathLst>
            </a:custGeom>
            <a:gradFill flip="none" rotWithShape="1">
              <a:gsLst>
                <a:gs pos="71000">
                  <a:srgbClr val="00B050"/>
                </a:gs>
                <a:gs pos="0">
                  <a:schemeClr val="tx1"/>
                </a:gs>
                <a:gs pos="100000">
                  <a:srgbClr val="00B050"/>
                </a:gs>
              </a:gsLst>
              <a:lin ang="0" scaled="1"/>
              <a:tileRect/>
            </a:gradFill>
            <a:ln w="25400">
              <a:solidFill>
                <a:sysClr val="window" lastClr="FFFFFF"/>
              </a:solidFill>
              <a:round/>
              <a:headEnd/>
              <a:tailEnd/>
            </a:ln>
            <a:effectLst>
              <a:innerShdw blurRad="190500" dist="139700" dir="5400000">
                <a:prstClr val="black">
                  <a:alpha val="50000"/>
                </a:prstClr>
              </a:innerShdw>
            </a:effectLst>
          </p:spPr>
          <p:txBody>
            <a:bodyPr vert="horz" wrap="square" lIns="121920" tIns="60960" rIns="121920" bIns="60960" numCol="1" anchor="ctr" anchorCtr="0" compatLnSpc="1">
              <a:prstTxWarp prst="textNoShape">
                <a:avLst/>
              </a:prstTxWarp>
            </a:bodyPr>
            <a:lstStyle/>
            <a:p>
              <a:pPr algn="ctr" defTabSz="1219110"/>
              <a:r>
                <a:rPr lang="en-US" sz="1467" b="1" kern="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Discovery</a:t>
              </a:r>
            </a:p>
          </p:txBody>
        </p:sp>
        <p:grpSp>
          <p:nvGrpSpPr>
            <p:cNvPr id="8" name="Group 7">
              <a:extLst>
                <a:ext uri="{FF2B5EF4-FFF2-40B4-BE49-F238E27FC236}">
                  <a16:creationId xmlns:a16="http://schemas.microsoft.com/office/drawing/2014/main" id="{805B0C2E-21CC-4045-922D-07F5383A11E3}"/>
                </a:ext>
              </a:extLst>
            </p:cNvPr>
            <p:cNvGrpSpPr/>
            <p:nvPr/>
          </p:nvGrpSpPr>
          <p:grpSpPr>
            <a:xfrm>
              <a:off x="2959453" y="1957002"/>
              <a:ext cx="5926310" cy="320440"/>
              <a:chOff x="2959453" y="1957002"/>
              <a:chExt cx="5926310" cy="320440"/>
            </a:xfrm>
          </p:grpSpPr>
          <p:sp>
            <p:nvSpPr>
              <p:cNvPr id="75" name="Rectangle: Rounded Corners 74">
                <a:extLst>
                  <a:ext uri="{FF2B5EF4-FFF2-40B4-BE49-F238E27FC236}">
                    <a16:creationId xmlns:a16="http://schemas.microsoft.com/office/drawing/2014/main" id="{510B4058-C0B3-421D-8DD2-9DCFD5BFB1F4}"/>
                  </a:ext>
                </a:extLst>
              </p:cNvPr>
              <p:cNvSpPr/>
              <p:nvPr/>
            </p:nvSpPr>
            <p:spPr>
              <a:xfrm>
                <a:off x="3174064" y="2030923"/>
                <a:ext cx="673866" cy="67439"/>
              </a:xfrm>
              <a:prstGeom prst="roundRect">
                <a:avLst/>
              </a:prstGeom>
              <a:noFill/>
              <a:ln>
                <a:noFill/>
              </a:ln>
              <a:effectLst/>
              <a:scene3d>
                <a:camera prst="orthographicFront">
                  <a:rot lat="0" lon="0" rev="0"/>
                </a:camera>
                <a:lightRig rig="threePt" dir="t">
                  <a:rot lat="0" lon="0" rev="1200000"/>
                </a:lightRig>
              </a:scene3d>
              <a:sp3d>
                <a:bevelT w="63500" h="25400"/>
              </a:sp3d>
            </p:spPr>
            <p:txBody>
              <a:bodyPr lIns="121920" rIns="121920" rtlCol="0" anchor="ctr"/>
              <a:lstStyle/>
              <a:p>
                <a:pPr defTabSz="1219140">
                  <a:defRPr/>
                </a:pPr>
                <a:r>
                  <a:rPr lang="en-US" sz="1400" b="1" i="1" kern="0" dirty="0">
                    <a:solidFill>
                      <a:srgbClr val="031B1A"/>
                    </a:solidFill>
                    <a:latin typeface="Arial"/>
                  </a:rPr>
                  <a:t>IND</a:t>
                </a:r>
              </a:p>
            </p:txBody>
          </p:sp>
          <p:sp>
            <p:nvSpPr>
              <p:cNvPr id="77" name="Rectangle: Rounded Corners 76">
                <a:extLst>
                  <a:ext uri="{FF2B5EF4-FFF2-40B4-BE49-F238E27FC236}">
                    <a16:creationId xmlns:a16="http://schemas.microsoft.com/office/drawing/2014/main" id="{60B4543C-4EDE-4568-9738-60F78EC9197F}"/>
                  </a:ext>
                </a:extLst>
              </p:cNvPr>
              <p:cNvSpPr/>
              <p:nvPr/>
            </p:nvSpPr>
            <p:spPr>
              <a:xfrm>
                <a:off x="7941206" y="2008742"/>
                <a:ext cx="944557" cy="127306"/>
              </a:xfrm>
              <a:prstGeom prst="roundRect">
                <a:avLst/>
              </a:prstGeom>
              <a:noFill/>
              <a:ln>
                <a:noFill/>
              </a:ln>
              <a:effectLst/>
              <a:scene3d>
                <a:camera prst="orthographicFront">
                  <a:rot lat="0" lon="0" rev="0"/>
                </a:camera>
                <a:lightRig rig="threePt" dir="t">
                  <a:rot lat="0" lon="0" rev="1200000"/>
                </a:lightRig>
              </a:scene3d>
              <a:sp3d>
                <a:bevelT w="63500" h="25400"/>
              </a:sp3d>
            </p:spPr>
            <p:txBody>
              <a:bodyPr lIns="121920" rIns="121920" rtlCol="0" anchor="ctr"/>
              <a:lstStyle/>
              <a:p>
                <a:pPr defTabSz="1219140">
                  <a:defRPr/>
                </a:pPr>
                <a:r>
                  <a:rPr lang="en-US" sz="1400" b="1" i="1" kern="0" dirty="0">
                    <a:solidFill>
                      <a:srgbClr val="031B1A"/>
                    </a:solidFill>
                    <a:latin typeface="Arial"/>
                  </a:rPr>
                  <a:t>NDA/BLA</a:t>
                </a:r>
              </a:p>
            </p:txBody>
          </p:sp>
          <p:sp>
            <p:nvSpPr>
              <p:cNvPr id="265" name="5-Point Star 44">
                <a:extLst>
                  <a:ext uri="{FF2B5EF4-FFF2-40B4-BE49-F238E27FC236}">
                    <a16:creationId xmlns:a16="http://schemas.microsoft.com/office/drawing/2014/main" id="{FF91436C-0E5F-4199-A12B-6AF46A6A5E59}"/>
                  </a:ext>
                </a:extLst>
              </p:cNvPr>
              <p:cNvSpPr/>
              <p:nvPr/>
            </p:nvSpPr>
            <p:spPr>
              <a:xfrm>
                <a:off x="7696793" y="1957002"/>
                <a:ext cx="308531" cy="320440"/>
              </a:xfrm>
              <a:prstGeom prst="star5">
                <a:avLst>
                  <a:gd name="adj" fmla="val 19098"/>
                  <a:gd name="hf" fmla="val 105146"/>
                  <a:gd name="vf" fmla="val 110557"/>
                </a:avLst>
              </a:prstGeom>
              <a:solidFill>
                <a:srgbClr val="FFFF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1219110">
                  <a:defRPr/>
                </a:pPr>
                <a:endParaRPr lang="en-US" sz="1867" kern="0" dirty="0">
                  <a:solidFill>
                    <a:prstClr val="white"/>
                  </a:solidFill>
                  <a:latin typeface="Arial" panose="020B0604020202020204" pitchFamily="34" charset="0"/>
                  <a:cs typeface="Arial" panose="020B0604020202020204" pitchFamily="34" charset="0"/>
                </a:endParaRPr>
              </a:p>
            </p:txBody>
          </p:sp>
          <p:sp>
            <p:nvSpPr>
              <p:cNvPr id="266" name="5-Point Star 44">
                <a:extLst>
                  <a:ext uri="{FF2B5EF4-FFF2-40B4-BE49-F238E27FC236}">
                    <a16:creationId xmlns:a16="http://schemas.microsoft.com/office/drawing/2014/main" id="{3E2BF5BC-4D98-41AC-AB4E-64EFE631E0B0}"/>
                  </a:ext>
                </a:extLst>
              </p:cNvPr>
              <p:cNvSpPr/>
              <p:nvPr/>
            </p:nvSpPr>
            <p:spPr>
              <a:xfrm>
                <a:off x="2959453" y="1957002"/>
                <a:ext cx="308531" cy="320440"/>
              </a:xfrm>
              <a:prstGeom prst="star5">
                <a:avLst>
                  <a:gd name="adj" fmla="val 19098"/>
                  <a:gd name="hf" fmla="val 105146"/>
                  <a:gd name="vf" fmla="val 110557"/>
                </a:avLst>
              </a:prstGeom>
              <a:solidFill>
                <a:srgbClr val="FFFF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1219110">
                  <a:defRPr/>
                </a:pPr>
                <a:endParaRPr lang="en-US" sz="1867" kern="0" dirty="0">
                  <a:solidFill>
                    <a:prstClr val="white"/>
                  </a:solidFill>
                  <a:latin typeface="Arial" panose="020B0604020202020204" pitchFamily="34" charset="0"/>
                  <a:cs typeface="Arial" panose="020B0604020202020204" pitchFamily="34" charset="0"/>
                </a:endParaRPr>
              </a:p>
            </p:txBody>
          </p:sp>
        </p:grpSp>
      </p:grpSp>
      <p:sp>
        <p:nvSpPr>
          <p:cNvPr id="6" name="Slide Number Placeholder 5">
            <a:extLst>
              <a:ext uri="{FF2B5EF4-FFF2-40B4-BE49-F238E27FC236}">
                <a16:creationId xmlns:a16="http://schemas.microsoft.com/office/drawing/2014/main" id="{4DEFE708-027D-4C75-8572-3B8F4569B30A}"/>
              </a:ext>
            </a:extLst>
          </p:cNvPr>
          <p:cNvSpPr>
            <a:spLocks noGrp="1"/>
          </p:cNvSpPr>
          <p:nvPr>
            <p:ph type="sldNum" sz="quarter" idx="12"/>
          </p:nvPr>
        </p:nvSpPr>
        <p:spPr/>
        <p:txBody>
          <a:bodyPr/>
          <a:lstStyle/>
          <a:p>
            <a:fld id="{D1541BB9-6530-43D2-B7E0-33A89042A350}" type="slidenum">
              <a:rPr lang="en-US" smtClean="0"/>
              <a:t>12</a:t>
            </a:fld>
            <a:endParaRPr lang="en-US"/>
          </a:p>
        </p:txBody>
      </p:sp>
    </p:spTree>
    <p:extLst>
      <p:ext uri="{BB962C8B-B14F-4D97-AF65-F5344CB8AC3E}">
        <p14:creationId xmlns:p14="http://schemas.microsoft.com/office/powerpoint/2010/main" val="969133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897BA2-C91D-45DF-9453-0DCC5552F101}"/>
              </a:ext>
            </a:extLst>
          </p:cNvPr>
          <p:cNvSpPr>
            <a:spLocks noGrp="1"/>
          </p:cNvSpPr>
          <p:nvPr>
            <p:ph type="title"/>
          </p:nvPr>
        </p:nvSpPr>
        <p:spPr>
          <a:xfrm>
            <a:off x="0" y="320366"/>
            <a:ext cx="12192000" cy="454075"/>
          </a:xfrm>
        </p:spPr>
        <p:txBody>
          <a:bodyPr>
            <a:noAutofit/>
          </a:bodyPr>
          <a:lstStyle/>
          <a:p>
            <a:pPr algn="ctr"/>
            <a:r>
              <a:rPr lang="en-US" sz="3600" dirty="0">
                <a:solidFill>
                  <a:schemeClr val="bg1"/>
                </a:solidFill>
              </a:rPr>
              <a:t>Vaccine Readiness from Previous Outbreaks and Pandemics</a:t>
            </a:r>
          </a:p>
        </p:txBody>
      </p:sp>
      <p:sp>
        <p:nvSpPr>
          <p:cNvPr id="20" name="Rectangle 19">
            <a:extLst>
              <a:ext uri="{FF2B5EF4-FFF2-40B4-BE49-F238E27FC236}">
                <a16:creationId xmlns:a16="http://schemas.microsoft.com/office/drawing/2014/main" id="{2DE0C225-E142-4969-B3D6-0345D4B8D460}"/>
              </a:ext>
            </a:extLst>
          </p:cNvPr>
          <p:cNvSpPr/>
          <p:nvPr/>
        </p:nvSpPr>
        <p:spPr>
          <a:xfrm>
            <a:off x="10915036" y="1571752"/>
            <a:ext cx="1316386" cy="830997"/>
          </a:xfrm>
          <a:prstGeom prst="rect">
            <a:avLst/>
          </a:prstGeom>
        </p:spPr>
        <p:txBody>
          <a:bodyPr wrap="none">
            <a:spAutoFit/>
          </a:bodyPr>
          <a:lstStyle/>
          <a:p>
            <a:pPr defTabSz="976798"/>
            <a:r>
              <a:rPr lang="en-US" sz="2400" b="1" dirty="0">
                <a:solidFill>
                  <a:srgbClr val="000104"/>
                </a:solidFill>
                <a:latin typeface="Arial"/>
              </a:rPr>
              <a:t>2015-16</a:t>
            </a:r>
          </a:p>
          <a:p>
            <a:pPr defTabSz="976798"/>
            <a:r>
              <a:rPr lang="en-US" sz="2400" b="1" dirty="0">
                <a:solidFill>
                  <a:srgbClr val="000104"/>
                </a:solidFill>
                <a:latin typeface="Arial"/>
              </a:rPr>
              <a:t>Zika </a:t>
            </a:r>
          </a:p>
        </p:txBody>
      </p:sp>
      <p:pic>
        <p:nvPicPr>
          <p:cNvPr id="24" name="Picture 23" descr="A close up of a logo&#10;&#10;Description generated with high confidence">
            <a:extLst>
              <a:ext uri="{FF2B5EF4-FFF2-40B4-BE49-F238E27FC236}">
                <a16:creationId xmlns:a16="http://schemas.microsoft.com/office/drawing/2014/main" id="{5D7C58F7-2482-4097-9C71-0E882063286F}"/>
              </a:ext>
            </a:extLst>
          </p:cNvPr>
          <p:cNvPicPr>
            <a:picLocks noChangeAspect="1"/>
          </p:cNvPicPr>
          <p:nvPr/>
        </p:nvPicPr>
        <p:blipFill>
          <a:blip r:embed="rId2">
            <a:clrChange>
              <a:clrFrom>
                <a:srgbClr val="F2F2F2"/>
              </a:clrFrom>
              <a:clrTo>
                <a:srgbClr val="F2F2F2">
                  <a:alpha val="0"/>
                </a:srgbClr>
              </a:clrTo>
            </a:clrChange>
            <a:extLst>
              <a:ext uri="{28A0092B-C50C-407E-A947-70E740481C1C}">
                <a14:useLocalDpi xmlns:a14="http://schemas.microsoft.com/office/drawing/2010/main" val="0"/>
              </a:ext>
            </a:extLst>
          </a:blip>
          <a:stretch>
            <a:fillRect/>
          </a:stretch>
        </p:blipFill>
        <p:spPr>
          <a:xfrm>
            <a:off x="682604" y="1208157"/>
            <a:ext cx="2392621" cy="3175000"/>
          </a:xfrm>
          <a:prstGeom prst="rect">
            <a:avLst/>
          </a:prstGeom>
        </p:spPr>
      </p:pic>
      <p:pic>
        <p:nvPicPr>
          <p:cNvPr id="27" name="Picture 26" descr="A close up of a logo&#10;&#10;Description generated with very high confidence">
            <a:extLst>
              <a:ext uri="{FF2B5EF4-FFF2-40B4-BE49-F238E27FC236}">
                <a16:creationId xmlns:a16="http://schemas.microsoft.com/office/drawing/2014/main" id="{FA83BC64-BC2A-42FC-ADF4-89BA8BFB3B6E}"/>
              </a:ext>
            </a:extLst>
          </p:cNvPr>
          <p:cNvPicPr>
            <a:picLocks noChangeAspect="1"/>
          </p:cNvPicPr>
          <p:nvPr/>
        </p:nvPicPr>
        <p:blipFill>
          <a:blip r:embed="rId3">
            <a:clrChange>
              <a:clrFrom>
                <a:srgbClr val="F2F2F2"/>
              </a:clrFrom>
              <a:clrTo>
                <a:srgbClr val="F2F2F2">
                  <a:alpha val="0"/>
                </a:srgbClr>
              </a:clrTo>
            </a:clrChange>
            <a:extLst>
              <a:ext uri="{28A0092B-C50C-407E-A947-70E740481C1C}">
                <a14:useLocalDpi xmlns:a14="http://schemas.microsoft.com/office/drawing/2010/main" val="0"/>
              </a:ext>
            </a:extLst>
          </a:blip>
          <a:stretch>
            <a:fillRect/>
          </a:stretch>
        </p:blipFill>
        <p:spPr>
          <a:xfrm>
            <a:off x="4653666" y="1135005"/>
            <a:ext cx="2583668" cy="3175000"/>
          </a:xfrm>
          <a:prstGeom prst="rect">
            <a:avLst/>
          </a:prstGeom>
          <a:noFill/>
        </p:spPr>
      </p:pic>
      <p:sp>
        <p:nvSpPr>
          <p:cNvPr id="33" name="Rectangle 32">
            <a:extLst>
              <a:ext uri="{FF2B5EF4-FFF2-40B4-BE49-F238E27FC236}">
                <a16:creationId xmlns:a16="http://schemas.microsoft.com/office/drawing/2014/main" id="{DE41B744-530C-4FC8-9469-FE4BC0F4C25C}"/>
              </a:ext>
            </a:extLst>
          </p:cNvPr>
          <p:cNvSpPr/>
          <p:nvPr/>
        </p:nvSpPr>
        <p:spPr>
          <a:xfrm>
            <a:off x="2777880" y="1556936"/>
            <a:ext cx="1496144" cy="830997"/>
          </a:xfrm>
          <a:prstGeom prst="rect">
            <a:avLst/>
          </a:prstGeom>
        </p:spPr>
        <p:txBody>
          <a:bodyPr wrap="square">
            <a:spAutoFit/>
          </a:bodyPr>
          <a:lstStyle/>
          <a:p>
            <a:pPr defTabSz="976798"/>
            <a:r>
              <a:rPr lang="en-US" sz="2400" b="1" dirty="0">
                <a:solidFill>
                  <a:srgbClr val="000104"/>
                </a:solidFill>
                <a:latin typeface="Arial"/>
              </a:rPr>
              <a:t>2014-16 Ebola </a:t>
            </a:r>
          </a:p>
        </p:txBody>
      </p:sp>
      <p:sp>
        <p:nvSpPr>
          <p:cNvPr id="35" name="Rectangle 34">
            <a:extLst>
              <a:ext uri="{FF2B5EF4-FFF2-40B4-BE49-F238E27FC236}">
                <a16:creationId xmlns:a16="http://schemas.microsoft.com/office/drawing/2014/main" id="{E111261B-EE6E-4EB7-A08C-001A6BFF5D37}"/>
              </a:ext>
            </a:extLst>
          </p:cNvPr>
          <p:cNvSpPr/>
          <p:nvPr/>
        </p:nvSpPr>
        <p:spPr>
          <a:xfrm>
            <a:off x="0" y="4218566"/>
            <a:ext cx="4396093" cy="2308324"/>
          </a:xfrm>
          <a:prstGeom prst="rect">
            <a:avLst/>
          </a:prstGeom>
        </p:spPr>
        <p:txBody>
          <a:bodyPr wrap="square">
            <a:spAutoFit/>
          </a:bodyPr>
          <a:lstStyle/>
          <a:p>
            <a:pPr marL="285750" indent="-285750" defTabSz="976798">
              <a:buFont typeface="Arial" panose="020B0604020202020204" pitchFamily="34" charset="0"/>
              <a:buChar char="•"/>
            </a:pPr>
            <a:r>
              <a:rPr lang="en-US" sz="1600" b="0" i="0" dirty="0">
                <a:effectLst/>
                <a:latin typeface="Noto Sans" panose="020B0502040504020204" pitchFamily="34" charset="0"/>
                <a:ea typeface="Noto Sans" panose="020B0502040504020204" pitchFamily="34" charset="0"/>
                <a:cs typeface="Noto Sans" panose="020B0502040504020204" pitchFamily="34" charset="0"/>
              </a:rPr>
              <a:t>ERVEBO® (V920) is a vaccine </a:t>
            </a:r>
            <a:r>
              <a:rPr lang="en-US" sz="1600" dirty="0">
                <a:latin typeface="Noto Sans" panose="020B0502040504020204" pitchFamily="34" charset="0"/>
                <a:ea typeface="Noto Sans" panose="020B0502040504020204" pitchFamily="34" charset="0"/>
                <a:cs typeface="Noto Sans" panose="020B0502040504020204" pitchFamily="34" charset="0"/>
              </a:rPr>
              <a:t>licensed by FDA </a:t>
            </a:r>
            <a:r>
              <a:rPr lang="en-US" sz="1600" b="0" i="0" dirty="0">
                <a:effectLst/>
                <a:latin typeface="Noto Sans" panose="020B0502040504020204" pitchFamily="34" charset="0"/>
                <a:ea typeface="Noto Sans" panose="020B0502040504020204" pitchFamily="34" charset="0"/>
                <a:cs typeface="Noto Sans" panose="020B0502040504020204" pitchFamily="34" charset="0"/>
              </a:rPr>
              <a:t>for the prevention of disease caused by Zaire ebolavirus</a:t>
            </a:r>
          </a:p>
          <a:p>
            <a:pPr marL="285750" indent="-285750" defTabSz="976798">
              <a:buFont typeface="Arial" panose="020B0604020202020204" pitchFamily="34" charset="0"/>
              <a:buChar char="•"/>
            </a:pPr>
            <a:r>
              <a:rPr lang="en-US" sz="1600" b="0" i="0" dirty="0" err="1">
                <a:effectLst/>
                <a:latin typeface="Noto Sans" panose="020B0502040504020204" pitchFamily="34" charset="0"/>
                <a:ea typeface="Noto Sans" panose="020B0502040504020204" pitchFamily="34" charset="0"/>
                <a:cs typeface="Noto Sans" panose="020B0502040504020204" pitchFamily="34" charset="0"/>
              </a:rPr>
              <a:t>Zabdeno</a:t>
            </a:r>
            <a:r>
              <a:rPr lang="en-US" sz="1600" b="0" i="0" baseline="30000" dirty="0">
                <a:effectLst/>
                <a:latin typeface="Noto Sans" panose="020B0502040504020204" pitchFamily="34" charset="0"/>
                <a:ea typeface="Noto Sans" panose="020B0502040504020204" pitchFamily="34" charset="0"/>
                <a:cs typeface="Noto Sans" panose="020B0502040504020204" pitchFamily="34" charset="0"/>
              </a:rPr>
              <a:t>®</a:t>
            </a:r>
            <a:r>
              <a:rPr lang="en-US" sz="1600" b="0" i="0" dirty="0">
                <a:effectLst/>
                <a:latin typeface="Noto Sans" panose="020B0502040504020204" pitchFamily="34" charset="0"/>
                <a:ea typeface="Noto Sans" panose="020B0502040504020204" pitchFamily="34" charset="0"/>
                <a:cs typeface="Noto Sans" panose="020B0502040504020204" pitchFamily="34" charset="0"/>
              </a:rPr>
              <a:t> (Ad26.ZEBOV) and </a:t>
            </a:r>
            <a:r>
              <a:rPr lang="en-US" sz="1600" b="0" i="0" dirty="0" err="1">
                <a:effectLst/>
                <a:latin typeface="Noto Sans" panose="020B0502040504020204" pitchFamily="34" charset="0"/>
                <a:ea typeface="Noto Sans" panose="020B0502040504020204" pitchFamily="34" charset="0"/>
                <a:cs typeface="Noto Sans" panose="020B0502040504020204" pitchFamily="34" charset="0"/>
              </a:rPr>
              <a:t>Mvabea</a:t>
            </a:r>
            <a:r>
              <a:rPr lang="en-US" sz="1600" b="0" i="0" baseline="30000" dirty="0">
                <a:effectLst/>
                <a:latin typeface="Noto Sans" panose="020B0502040504020204" pitchFamily="34" charset="0"/>
                <a:ea typeface="Noto Sans" panose="020B0502040504020204" pitchFamily="34" charset="0"/>
                <a:cs typeface="Noto Sans" panose="020B0502040504020204" pitchFamily="34" charset="0"/>
              </a:rPr>
              <a:t>®</a:t>
            </a:r>
            <a:r>
              <a:rPr lang="en-US" sz="1600" b="0" i="0" dirty="0">
                <a:effectLst/>
                <a:latin typeface="Noto Sans" panose="020B0502040504020204" pitchFamily="34" charset="0"/>
                <a:ea typeface="Noto Sans" panose="020B0502040504020204" pitchFamily="34" charset="0"/>
                <a:cs typeface="Noto Sans" panose="020B0502040504020204" pitchFamily="34" charset="0"/>
              </a:rPr>
              <a:t> (MVA-BN-Filo), European Commission-approved and World Health Organization-Prequalified  using proprietary </a:t>
            </a:r>
            <a:r>
              <a:rPr lang="en-US" sz="1600" b="0" i="0" u="none" strike="noStrike" dirty="0" err="1">
                <a:effectLst/>
                <a:latin typeface="Noto Sans" panose="020B0502040504020204" pitchFamily="34" charset="0"/>
                <a:ea typeface="Noto Sans" panose="020B0502040504020204" pitchFamily="34" charset="0"/>
                <a:cs typeface="Noto Sans" panose="020B0502040504020204" pitchFamily="34" charset="0"/>
              </a:rPr>
              <a:t>AdVac</a:t>
            </a:r>
            <a:r>
              <a:rPr lang="en-US" sz="1600" b="0" i="0" u="none" strike="noStrike" baseline="30000" dirty="0">
                <a:effectLst/>
                <a:latin typeface="Noto Sans" panose="020B0502040504020204" pitchFamily="34" charset="0"/>
                <a:ea typeface="Noto Sans" panose="020B0502040504020204" pitchFamily="34" charset="0"/>
                <a:cs typeface="Noto Sans" panose="020B0502040504020204" pitchFamily="34" charset="0"/>
              </a:rPr>
              <a:t>® </a:t>
            </a:r>
            <a:r>
              <a:rPr lang="en-US" sz="1600" b="0" i="0" u="none" strike="noStrike" dirty="0">
                <a:effectLst/>
                <a:latin typeface="Noto Sans" panose="020B0502040504020204" pitchFamily="34" charset="0"/>
                <a:ea typeface="Noto Sans" panose="020B0502040504020204" pitchFamily="34" charset="0"/>
                <a:cs typeface="Noto Sans" panose="020B0502040504020204" pitchFamily="34" charset="0"/>
              </a:rPr>
              <a:t>technology</a:t>
            </a:r>
            <a:endParaRPr lang="en-US" sz="1600" b="0" i="0" dirty="0">
              <a:effectLst/>
              <a:latin typeface="Noto Sans" panose="020B0502040504020204" pitchFamily="34" charset="0"/>
              <a:ea typeface="Noto Sans" panose="020B0502040504020204" pitchFamily="34" charset="0"/>
              <a:cs typeface="Noto Sans" panose="020B0502040504020204" pitchFamily="34" charset="0"/>
            </a:endParaRPr>
          </a:p>
          <a:p>
            <a:pPr marL="285750" indent="-285750" defTabSz="976798">
              <a:buFont typeface="Arial" panose="020B0604020202020204" pitchFamily="34" charset="0"/>
              <a:buChar char="•"/>
            </a:pPr>
            <a:endParaRPr lang="en-US" sz="1600" dirty="0">
              <a:solidFill>
                <a:srgbClr val="102B62"/>
              </a:solidFill>
              <a:latin typeface="Arial"/>
            </a:endParaRPr>
          </a:p>
        </p:txBody>
      </p:sp>
      <p:grpSp>
        <p:nvGrpSpPr>
          <p:cNvPr id="6" name="Group 5">
            <a:extLst>
              <a:ext uri="{FF2B5EF4-FFF2-40B4-BE49-F238E27FC236}">
                <a16:creationId xmlns:a16="http://schemas.microsoft.com/office/drawing/2014/main" id="{5061C54E-51B4-493B-B3AB-3CDA82389A7C}"/>
              </a:ext>
            </a:extLst>
          </p:cNvPr>
          <p:cNvGrpSpPr/>
          <p:nvPr/>
        </p:nvGrpSpPr>
        <p:grpSpPr>
          <a:xfrm>
            <a:off x="8746062" y="1171581"/>
            <a:ext cx="2656782" cy="3175000"/>
            <a:chOff x="8746062" y="961269"/>
            <a:chExt cx="2656782" cy="3175000"/>
          </a:xfrm>
        </p:grpSpPr>
        <p:pic>
          <p:nvPicPr>
            <p:cNvPr id="22" name="Picture 21" descr="A close up of a logo&#10;&#10;Description generated with high confidence">
              <a:extLst>
                <a:ext uri="{FF2B5EF4-FFF2-40B4-BE49-F238E27FC236}">
                  <a16:creationId xmlns:a16="http://schemas.microsoft.com/office/drawing/2014/main" id="{FD3F27BE-22D9-4323-9057-201CB64A4412}"/>
                </a:ext>
              </a:extLst>
            </p:cNvPr>
            <p:cNvPicPr>
              <a:picLocks noChangeAspect="1"/>
            </p:cNvPicPr>
            <p:nvPr/>
          </p:nvPicPr>
          <p:blipFill>
            <a:blip r:embed="rId4">
              <a:clrChange>
                <a:clrFrom>
                  <a:srgbClr val="F2F2F2"/>
                </a:clrFrom>
                <a:clrTo>
                  <a:srgbClr val="F2F2F2">
                    <a:alpha val="0"/>
                  </a:srgbClr>
                </a:clrTo>
              </a:clrChange>
              <a:extLst>
                <a:ext uri="{28A0092B-C50C-407E-A947-70E740481C1C}">
                  <a14:useLocalDpi xmlns:a14="http://schemas.microsoft.com/office/drawing/2010/main" val="0"/>
                </a:ext>
              </a:extLst>
            </a:blip>
            <a:stretch>
              <a:fillRect/>
            </a:stretch>
          </p:blipFill>
          <p:spPr>
            <a:xfrm>
              <a:off x="9101196" y="961269"/>
              <a:ext cx="2301648" cy="3175000"/>
            </a:xfrm>
            <a:prstGeom prst="rect">
              <a:avLst/>
            </a:prstGeom>
          </p:spPr>
        </p:pic>
        <p:pic>
          <p:nvPicPr>
            <p:cNvPr id="3" name="Picture 2">
              <a:extLst>
                <a:ext uri="{FF2B5EF4-FFF2-40B4-BE49-F238E27FC236}">
                  <a16:creationId xmlns:a16="http://schemas.microsoft.com/office/drawing/2014/main" id="{47FE40E5-0D0D-4FE8-93F6-1375E3821853}"/>
                </a:ext>
              </a:extLst>
            </p:cNvPr>
            <p:cNvPicPr>
              <a:picLocks noChangeAspect="1"/>
            </p:cNvPicPr>
            <p:nvPr/>
          </p:nvPicPr>
          <p:blipFill>
            <a:blip r:embed="rId5"/>
            <a:stretch>
              <a:fillRect/>
            </a:stretch>
          </p:blipFill>
          <p:spPr>
            <a:xfrm>
              <a:off x="9375332" y="1892753"/>
              <a:ext cx="1722995" cy="1722995"/>
            </a:xfrm>
            <a:prstGeom prst="rect">
              <a:avLst/>
            </a:prstGeom>
            <a:ln>
              <a:noFill/>
            </a:ln>
          </p:spPr>
        </p:pic>
        <p:sp>
          <p:nvSpPr>
            <p:cNvPr id="4" name="Isosceles Triangle 3">
              <a:extLst>
                <a:ext uri="{FF2B5EF4-FFF2-40B4-BE49-F238E27FC236}">
                  <a16:creationId xmlns:a16="http://schemas.microsoft.com/office/drawing/2014/main" id="{60534E9E-E755-47D4-A197-C80A7145F182}"/>
                </a:ext>
              </a:extLst>
            </p:cNvPr>
            <p:cNvSpPr/>
            <p:nvPr/>
          </p:nvSpPr>
          <p:spPr>
            <a:xfrm rot="3355815">
              <a:off x="8860721" y="1337330"/>
              <a:ext cx="1458520" cy="1687837"/>
            </a:xfrm>
            <a:prstGeom prst="triangle">
              <a:avLst>
                <a:gd name="adj" fmla="val 5139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4" name="Rectangle 33">
            <a:extLst>
              <a:ext uri="{FF2B5EF4-FFF2-40B4-BE49-F238E27FC236}">
                <a16:creationId xmlns:a16="http://schemas.microsoft.com/office/drawing/2014/main" id="{C3FAD7C3-B2E3-48A2-BBAE-9D419DDD5B9F}"/>
              </a:ext>
            </a:extLst>
          </p:cNvPr>
          <p:cNvSpPr/>
          <p:nvPr/>
        </p:nvSpPr>
        <p:spPr>
          <a:xfrm>
            <a:off x="6970941" y="1614861"/>
            <a:ext cx="1810111" cy="830997"/>
          </a:xfrm>
          <a:prstGeom prst="rect">
            <a:avLst/>
          </a:prstGeom>
        </p:spPr>
        <p:txBody>
          <a:bodyPr wrap="none">
            <a:spAutoFit/>
          </a:bodyPr>
          <a:lstStyle/>
          <a:p>
            <a:pPr defTabSz="976798"/>
            <a:r>
              <a:rPr lang="en-US" sz="2400" b="1" dirty="0">
                <a:solidFill>
                  <a:srgbClr val="000104"/>
                </a:solidFill>
                <a:latin typeface="Arial"/>
              </a:rPr>
              <a:t>Influenza </a:t>
            </a:r>
            <a:br>
              <a:rPr lang="en-US" sz="2400" b="1" dirty="0">
                <a:solidFill>
                  <a:srgbClr val="000104"/>
                </a:solidFill>
                <a:latin typeface="Arial"/>
              </a:rPr>
            </a:br>
            <a:r>
              <a:rPr lang="en-US" sz="2400" b="1" dirty="0">
                <a:solidFill>
                  <a:srgbClr val="000104"/>
                </a:solidFill>
                <a:latin typeface="Arial"/>
              </a:rPr>
              <a:t>Pandemics</a:t>
            </a:r>
          </a:p>
        </p:txBody>
      </p:sp>
      <p:sp>
        <p:nvSpPr>
          <p:cNvPr id="8" name="TextBox 7">
            <a:extLst>
              <a:ext uri="{FF2B5EF4-FFF2-40B4-BE49-F238E27FC236}">
                <a16:creationId xmlns:a16="http://schemas.microsoft.com/office/drawing/2014/main" id="{47B25216-B09B-471E-8D64-12778F8A1640}"/>
              </a:ext>
            </a:extLst>
          </p:cNvPr>
          <p:cNvSpPr txBox="1"/>
          <p:nvPr/>
        </p:nvSpPr>
        <p:spPr>
          <a:xfrm>
            <a:off x="4727448" y="4218566"/>
            <a:ext cx="3922616" cy="1323439"/>
          </a:xfrm>
          <a:prstGeom prst="rect">
            <a:avLst/>
          </a:prstGeom>
          <a:noFill/>
        </p:spPr>
        <p:txBody>
          <a:bodyPr wrap="square" rtlCol="0">
            <a:spAutoFit/>
          </a:bodyPr>
          <a:lstStyle/>
          <a:p>
            <a:pPr marL="285750" indent="-285750">
              <a:buFont typeface="Arial" panose="020B0604020202020204" pitchFamily="34" charset="0"/>
              <a:buChar char="•"/>
            </a:pPr>
            <a:r>
              <a:rPr lang="en-US" sz="1600" b="0" i="0" dirty="0" err="1">
                <a:solidFill>
                  <a:srgbClr val="333333"/>
                </a:solidFill>
                <a:effectLst/>
                <a:latin typeface="Noto Sans" panose="020B0502040504020204" pitchFamily="34" charset="0"/>
                <a:ea typeface="Noto Sans" panose="020B0502040504020204" pitchFamily="34" charset="0"/>
                <a:cs typeface="Noto Sans" panose="020B0502040504020204" pitchFamily="34" charset="0"/>
              </a:rPr>
              <a:t>Flublok</a:t>
            </a:r>
            <a:r>
              <a:rPr lang="en-US" sz="1600" b="0" i="0" dirty="0">
                <a:solidFill>
                  <a:srgbClr val="333333"/>
                </a:solidFill>
                <a:effectLst/>
                <a:latin typeface="Noto Sans" panose="020B0502040504020204" pitchFamily="34" charset="0"/>
                <a:ea typeface="Noto Sans" panose="020B0502040504020204" pitchFamily="34" charset="0"/>
                <a:cs typeface="Noto Sans" panose="020B0502040504020204" pitchFamily="34" charset="0"/>
              </a:rPr>
              <a:t> Influenza Vaccine is licensed by FDA for active immunization against disease caused by influenza virus subtypes A and type B</a:t>
            </a:r>
          </a:p>
          <a:p>
            <a:pPr marL="285750" indent="-285750">
              <a:buFont typeface="Arial" panose="020B0604020202020204" pitchFamily="34" charset="0"/>
              <a:buChar char="•"/>
            </a:pPr>
            <a:r>
              <a:rPr lang="en-US" sz="1600" dirty="0">
                <a:solidFill>
                  <a:srgbClr val="333333"/>
                </a:solidFill>
                <a:latin typeface="Noto Sans" panose="020B0502040504020204" pitchFamily="34" charset="0"/>
                <a:ea typeface="Noto Sans" panose="020B0502040504020204" pitchFamily="34" charset="0"/>
                <a:cs typeface="Noto Sans" panose="020B0502040504020204" pitchFamily="34" charset="0"/>
              </a:rPr>
              <a:t> mRNA – BARDA/DoD </a:t>
            </a:r>
            <a:endParaRPr lang="en-US" sz="1600" dirty="0">
              <a:latin typeface="Noto Sans" panose="020B0502040504020204" pitchFamily="34" charset="0"/>
              <a:ea typeface="Noto Sans" panose="020B0502040504020204" pitchFamily="34" charset="0"/>
              <a:cs typeface="Noto Sans" panose="020B0502040504020204" pitchFamily="34" charset="0"/>
            </a:endParaRPr>
          </a:p>
        </p:txBody>
      </p:sp>
      <p:sp>
        <p:nvSpPr>
          <p:cNvPr id="9" name="TextBox 8">
            <a:extLst>
              <a:ext uri="{FF2B5EF4-FFF2-40B4-BE49-F238E27FC236}">
                <a16:creationId xmlns:a16="http://schemas.microsoft.com/office/drawing/2014/main" id="{76673C8A-96CA-44AA-9FA8-8D56A6CD5599}"/>
              </a:ext>
            </a:extLst>
          </p:cNvPr>
          <p:cNvSpPr txBox="1"/>
          <p:nvPr/>
        </p:nvSpPr>
        <p:spPr>
          <a:xfrm>
            <a:off x="9101196" y="4218566"/>
            <a:ext cx="2776860" cy="584775"/>
          </a:xfrm>
          <a:prstGeom prst="rect">
            <a:avLst/>
          </a:prstGeom>
          <a:noFill/>
        </p:spPr>
        <p:txBody>
          <a:bodyPr wrap="square" rtlCol="0">
            <a:spAutoFit/>
          </a:bodyPr>
          <a:lstStyle/>
          <a:p>
            <a:pPr marL="285750" indent="-285750">
              <a:buFont typeface="Arial" panose="020B0604020202020204" pitchFamily="34" charset="0"/>
              <a:buChar char="•"/>
            </a:pPr>
            <a:r>
              <a:rPr lang="en-US" sz="1600" dirty="0">
                <a:latin typeface="Noto Sans" panose="020B0502040504020204" pitchFamily="34" charset="0"/>
                <a:ea typeface="Noto Sans" panose="020B0502040504020204" pitchFamily="34" charset="0"/>
                <a:cs typeface="Noto Sans" panose="020B0502040504020204" pitchFamily="34" charset="0"/>
              </a:rPr>
              <a:t>mRNA - BARDA</a:t>
            </a:r>
          </a:p>
          <a:p>
            <a:pPr marL="285750" indent="-285750">
              <a:buFont typeface="Arial" panose="020B0604020202020204" pitchFamily="34" charset="0"/>
              <a:buChar char="•"/>
            </a:pPr>
            <a:r>
              <a:rPr lang="en-US" sz="1600" dirty="0">
                <a:latin typeface="Noto Sans" panose="020B0502040504020204" pitchFamily="34" charset="0"/>
                <a:ea typeface="Noto Sans" panose="020B0502040504020204" pitchFamily="34" charset="0"/>
                <a:cs typeface="Noto Sans" panose="020B0502040504020204" pitchFamily="34" charset="0"/>
              </a:rPr>
              <a:t>DNA Vaccine - DoD</a:t>
            </a:r>
          </a:p>
        </p:txBody>
      </p:sp>
      <p:sp>
        <p:nvSpPr>
          <p:cNvPr id="11" name="Slide Number Placeholder 10">
            <a:extLst>
              <a:ext uri="{FF2B5EF4-FFF2-40B4-BE49-F238E27FC236}">
                <a16:creationId xmlns:a16="http://schemas.microsoft.com/office/drawing/2014/main" id="{820429F6-C904-4FB9-8E39-56F5727ED3B9}"/>
              </a:ext>
            </a:extLst>
          </p:cNvPr>
          <p:cNvSpPr>
            <a:spLocks noGrp="1"/>
          </p:cNvSpPr>
          <p:nvPr>
            <p:ph type="sldNum" sz="quarter" idx="12"/>
          </p:nvPr>
        </p:nvSpPr>
        <p:spPr/>
        <p:txBody>
          <a:bodyPr/>
          <a:lstStyle/>
          <a:p>
            <a:fld id="{D1541BB9-6530-43D2-B7E0-33A89042A350}" type="slidenum">
              <a:rPr lang="en-US" smtClean="0"/>
              <a:t>13</a:t>
            </a:fld>
            <a:endParaRPr lang="en-US"/>
          </a:p>
        </p:txBody>
      </p:sp>
    </p:spTree>
    <p:extLst>
      <p:ext uri="{BB962C8B-B14F-4D97-AF65-F5344CB8AC3E}">
        <p14:creationId xmlns:p14="http://schemas.microsoft.com/office/powerpoint/2010/main" val="33448727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BCD714-9189-D54E-B2DC-FAD10C6F6ACE}"/>
              </a:ext>
            </a:extLst>
          </p:cNvPr>
          <p:cNvSpPr>
            <a:spLocks noGrp="1"/>
          </p:cNvSpPr>
          <p:nvPr>
            <p:ph type="title"/>
          </p:nvPr>
        </p:nvSpPr>
        <p:spPr/>
        <p:txBody>
          <a:bodyPr vert="horz" lIns="121920" tIns="60960" rIns="121920" bIns="60960" rtlCol="0" anchor="ctr">
            <a:normAutofit fontScale="90000"/>
          </a:bodyPr>
          <a:lstStyle/>
          <a:p>
            <a:r>
              <a:rPr lang="en-US" dirty="0">
                <a:solidFill>
                  <a:schemeClr val="bg1"/>
                </a:solidFill>
              </a:rPr>
              <a:t>Combined Effects Suppress Pandemic Curve</a:t>
            </a:r>
          </a:p>
        </p:txBody>
      </p:sp>
      <p:grpSp>
        <p:nvGrpSpPr>
          <p:cNvPr id="3" name="Group 2">
            <a:extLst>
              <a:ext uri="{FF2B5EF4-FFF2-40B4-BE49-F238E27FC236}">
                <a16:creationId xmlns:a16="http://schemas.microsoft.com/office/drawing/2014/main" id="{7EC9EDB2-6C3A-C24B-A5D9-FEB6DB0B6666}"/>
              </a:ext>
            </a:extLst>
          </p:cNvPr>
          <p:cNvGrpSpPr/>
          <p:nvPr/>
        </p:nvGrpSpPr>
        <p:grpSpPr>
          <a:xfrm>
            <a:off x="1219200" y="1193799"/>
            <a:ext cx="10562122" cy="5457257"/>
            <a:chOff x="914400" y="851808"/>
            <a:chExt cx="7467600" cy="3657600"/>
          </a:xfrm>
        </p:grpSpPr>
        <p:pic>
          <p:nvPicPr>
            <p:cNvPr id="4" name="Picture 3">
              <a:extLst>
                <a:ext uri="{FF2B5EF4-FFF2-40B4-BE49-F238E27FC236}">
                  <a16:creationId xmlns:a16="http://schemas.microsoft.com/office/drawing/2014/main" id="{83259F57-EDF4-4D39-9522-813DF139F04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4400" y="851808"/>
              <a:ext cx="7315200" cy="3657600"/>
            </a:xfrm>
            <a:prstGeom prst="rect">
              <a:avLst/>
            </a:prstGeom>
            <a:solidFill>
              <a:schemeClr val="bg1"/>
            </a:solidFill>
            <a:ln w="22225">
              <a:noFill/>
            </a:ln>
          </p:spPr>
        </p:pic>
        <p:sp>
          <p:nvSpPr>
            <p:cNvPr id="14" name="Right Brace 13">
              <a:extLst>
                <a:ext uri="{FF2B5EF4-FFF2-40B4-BE49-F238E27FC236}">
                  <a16:creationId xmlns:a16="http://schemas.microsoft.com/office/drawing/2014/main" id="{B5AE6563-A6B9-FE48-A366-C9CB3D70F229}"/>
                </a:ext>
              </a:extLst>
            </p:cNvPr>
            <p:cNvSpPr/>
            <p:nvPr/>
          </p:nvSpPr>
          <p:spPr>
            <a:xfrm>
              <a:off x="4419600" y="1047750"/>
              <a:ext cx="228600" cy="762000"/>
            </a:xfrm>
            <a:prstGeom prst="rightBrace">
              <a:avLst/>
            </a:prstGeom>
            <a:noFill/>
            <a:ln w="22225">
              <a:solidFill>
                <a:schemeClr val="tx1"/>
              </a:solidFill>
            </a:ln>
          </p:spPr>
          <p:style>
            <a:lnRef idx="2">
              <a:schemeClr val="dk1"/>
            </a:lnRef>
            <a:fillRef idx="0">
              <a:schemeClr val="dk1"/>
            </a:fillRef>
            <a:effectRef idx="1">
              <a:schemeClr val="dk1"/>
            </a:effectRef>
            <a:fontRef idx="minor">
              <a:schemeClr val="tx1"/>
            </a:fontRef>
          </p:style>
          <p:txBody>
            <a:bodyPr rtlCol="0" anchor="ctr"/>
            <a:lstStyle/>
            <a:p>
              <a:pPr algn="ctr" defTabSz="976798"/>
              <a:endParaRPr lang="en-US" sz="1867">
                <a:solidFill>
                  <a:srgbClr val="102B62"/>
                </a:solidFill>
                <a:latin typeface="Arial"/>
              </a:endParaRPr>
            </a:p>
          </p:txBody>
        </p:sp>
        <p:sp>
          <p:nvSpPr>
            <p:cNvPr id="15" name="Right Brace 14">
              <a:extLst>
                <a:ext uri="{FF2B5EF4-FFF2-40B4-BE49-F238E27FC236}">
                  <a16:creationId xmlns:a16="http://schemas.microsoft.com/office/drawing/2014/main" id="{5AA44E22-D5E2-C74C-9ABD-48A0CA42E61B}"/>
                </a:ext>
              </a:extLst>
            </p:cNvPr>
            <p:cNvSpPr/>
            <p:nvPr/>
          </p:nvSpPr>
          <p:spPr>
            <a:xfrm>
              <a:off x="5943600" y="1885950"/>
              <a:ext cx="228600" cy="762000"/>
            </a:xfrm>
            <a:prstGeom prst="rightBrace">
              <a:avLst/>
            </a:prstGeom>
            <a:noFill/>
            <a:ln w="22225">
              <a:solidFill>
                <a:schemeClr val="tx1"/>
              </a:solidFill>
            </a:ln>
          </p:spPr>
          <p:style>
            <a:lnRef idx="2">
              <a:schemeClr val="dk1"/>
            </a:lnRef>
            <a:fillRef idx="0">
              <a:schemeClr val="dk1"/>
            </a:fillRef>
            <a:effectRef idx="1">
              <a:schemeClr val="dk1"/>
            </a:effectRef>
            <a:fontRef idx="minor">
              <a:schemeClr val="tx1"/>
            </a:fontRef>
          </p:style>
          <p:txBody>
            <a:bodyPr rtlCol="0" anchor="ctr"/>
            <a:lstStyle/>
            <a:p>
              <a:pPr algn="ctr" defTabSz="976798"/>
              <a:endParaRPr lang="en-US" sz="1867">
                <a:solidFill>
                  <a:srgbClr val="102B62"/>
                </a:solidFill>
                <a:latin typeface="Arial"/>
              </a:endParaRPr>
            </a:p>
          </p:txBody>
        </p:sp>
        <p:cxnSp>
          <p:nvCxnSpPr>
            <p:cNvPr id="17" name="Straight Arrow Connector 16">
              <a:extLst>
                <a:ext uri="{FF2B5EF4-FFF2-40B4-BE49-F238E27FC236}">
                  <a16:creationId xmlns:a16="http://schemas.microsoft.com/office/drawing/2014/main" id="{CC746D87-6553-5745-BAF9-3D80676477CE}"/>
                </a:ext>
              </a:extLst>
            </p:cNvPr>
            <p:cNvCxnSpPr>
              <a:cxnSpLocks/>
            </p:cNvCxnSpPr>
            <p:nvPr/>
          </p:nvCxnSpPr>
          <p:spPr>
            <a:xfrm>
              <a:off x="3962400" y="1053084"/>
              <a:ext cx="381000" cy="0"/>
            </a:xfrm>
            <a:prstGeom prst="straightConnector1">
              <a:avLst/>
            </a:prstGeom>
            <a:ln w="22225">
              <a:solidFill>
                <a:schemeClr val="tx1"/>
              </a:solidFill>
              <a:headEnd type="none" w="med" len="med"/>
              <a:tailEnd type="arrow" w="med" len="med"/>
            </a:ln>
          </p:spPr>
          <p:style>
            <a:lnRef idx="2">
              <a:schemeClr val="dk1"/>
            </a:lnRef>
            <a:fillRef idx="0">
              <a:schemeClr val="dk1"/>
            </a:fillRef>
            <a:effectRef idx="1">
              <a:schemeClr val="dk1"/>
            </a:effectRef>
            <a:fontRef idx="minor">
              <a:schemeClr val="tx1"/>
            </a:fontRef>
          </p:style>
        </p:cxnSp>
        <p:cxnSp>
          <p:nvCxnSpPr>
            <p:cNvPr id="21" name="Straight Arrow Connector 20">
              <a:extLst>
                <a:ext uri="{FF2B5EF4-FFF2-40B4-BE49-F238E27FC236}">
                  <a16:creationId xmlns:a16="http://schemas.microsoft.com/office/drawing/2014/main" id="{193C6CA4-4EB9-244C-B560-1131E7DE5112}"/>
                </a:ext>
              </a:extLst>
            </p:cNvPr>
            <p:cNvCxnSpPr>
              <a:cxnSpLocks/>
            </p:cNvCxnSpPr>
            <p:nvPr/>
          </p:nvCxnSpPr>
          <p:spPr>
            <a:xfrm>
              <a:off x="4495800" y="1885950"/>
              <a:ext cx="1371600" cy="0"/>
            </a:xfrm>
            <a:prstGeom prst="straightConnector1">
              <a:avLst/>
            </a:prstGeom>
            <a:ln w="22225">
              <a:solidFill>
                <a:schemeClr val="tx1"/>
              </a:solidFill>
              <a:headEnd type="none" w="med" len="med"/>
              <a:tailEnd type="arrow" w="med" len="med"/>
            </a:ln>
          </p:spPr>
          <p:style>
            <a:lnRef idx="2">
              <a:schemeClr val="dk1"/>
            </a:lnRef>
            <a:fillRef idx="0">
              <a:schemeClr val="dk1"/>
            </a:fillRef>
            <a:effectRef idx="1">
              <a:schemeClr val="dk1"/>
            </a:effectRef>
            <a:fontRef idx="minor">
              <a:schemeClr val="tx1"/>
            </a:fontRef>
          </p:style>
        </p:cxnSp>
        <p:sp>
          <p:nvSpPr>
            <p:cNvPr id="24" name="Right Brace 23">
              <a:extLst>
                <a:ext uri="{FF2B5EF4-FFF2-40B4-BE49-F238E27FC236}">
                  <a16:creationId xmlns:a16="http://schemas.microsoft.com/office/drawing/2014/main" id="{A023FD5B-2BB1-B142-96B7-03A1F5AB9518}"/>
                </a:ext>
              </a:extLst>
            </p:cNvPr>
            <p:cNvSpPr/>
            <p:nvPr/>
          </p:nvSpPr>
          <p:spPr>
            <a:xfrm>
              <a:off x="6705600" y="2724150"/>
              <a:ext cx="228600" cy="685800"/>
            </a:xfrm>
            <a:prstGeom prst="rightBrace">
              <a:avLst/>
            </a:prstGeom>
            <a:noFill/>
            <a:ln w="22225">
              <a:solidFill>
                <a:schemeClr val="tx1"/>
              </a:solidFill>
            </a:ln>
          </p:spPr>
          <p:style>
            <a:lnRef idx="2">
              <a:schemeClr val="dk1"/>
            </a:lnRef>
            <a:fillRef idx="0">
              <a:schemeClr val="dk1"/>
            </a:fillRef>
            <a:effectRef idx="1">
              <a:schemeClr val="dk1"/>
            </a:effectRef>
            <a:fontRef idx="minor">
              <a:schemeClr val="tx1"/>
            </a:fontRef>
          </p:style>
          <p:txBody>
            <a:bodyPr rtlCol="0" anchor="ctr"/>
            <a:lstStyle/>
            <a:p>
              <a:pPr algn="ctr" defTabSz="976798"/>
              <a:endParaRPr lang="en-US" sz="1867">
                <a:solidFill>
                  <a:srgbClr val="102B62"/>
                </a:solidFill>
                <a:latin typeface="Arial"/>
              </a:endParaRPr>
            </a:p>
          </p:txBody>
        </p:sp>
        <p:sp>
          <p:nvSpPr>
            <p:cNvPr id="27" name="TextBox 26">
              <a:extLst>
                <a:ext uri="{FF2B5EF4-FFF2-40B4-BE49-F238E27FC236}">
                  <a16:creationId xmlns:a16="http://schemas.microsoft.com/office/drawing/2014/main" id="{13E3C5B8-1CE4-264E-A6B8-AE3CD0B32EB9}"/>
                </a:ext>
              </a:extLst>
            </p:cNvPr>
            <p:cNvSpPr txBox="1"/>
            <p:nvPr/>
          </p:nvSpPr>
          <p:spPr>
            <a:xfrm>
              <a:off x="4648200" y="1276350"/>
              <a:ext cx="1447800" cy="253916"/>
            </a:xfrm>
            <a:prstGeom prst="rect">
              <a:avLst/>
            </a:prstGeom>
            <a:noFill/>
          </p:spPr>
          <p:txBody>
            <a:bodyPr wrap="square" rtlCol="0">
              <a:spAutoFit/>
            </a:bodyPr>
            <a:lstStyle/>
            <a:p>
              <a:pPr defTabSz="976798"/>
              <a:r>
                <a:rPr lang="en-US" sz="1600" dirty="0">
                  <a:solidFill>
                    <a:srgbClr val="102B62"/>
                  </a:solidFill>
                  <a:latin typeface="Arial"/>
                </a:rPr>
                <a:t>Early Antiviral Use</a:t>
              </a:r>
            </a:p>
          </p:txBody>
        </p:sp>
        <p:sp>
          <p:nvSpPr>
            <p:cNvPr id="28" name="TextBox 27">
              <a:extLst>
                <a:ext uri="{FF2B5EF4-FFF2-40B4-BE49-F238E27FC236}">
                  <a16:creationId xmlns:a16="http://schemas.microsoft.com/office/drawing/2014/main" id="{2D79B025-D859-7C41-B600-CFC94A9C8BD3}"/>
                </a:ext>
              </a:extLst>
            </p:cNvPr>
            <p:cNvSpPr txBox="1"/>
            <p:nvPr/>
          </p:nvSpPr>
          <p:spPr>
            <a:xfrm>
              <a:off x="6172200" y="2036117"/>
              <a:ext cx="1447800" cy="438581"/>
            </a:xfrm>
            <a:prstGeom prst="rect">
              <a:avLst/>
            </a:prstGeom>
            <a:noFill/>
          </p:spPr>
          <p:txBody>
            <a:bodyPr wrap="square" rtlCol="0">
              <a:spAutoFit/>
            </a:bodyPr>
            <a:lstStyle/>
            <a:p>
              <a:pPr defTabSz="976798"/>
              <a:r>
                <a:rPr lang="en-US" sz="1600" dirty="0">
                  <a:solidFill>
                    <a:srgbClr val="102B62"/>
                  </a:solidFill>
                  <a:latin typeface="Arial"/>
                </a:rPr>
                <a:t>Combined with NPIs</a:t>
              </a:r>
            </a:p>
          </p:txBody>
        </p:sp>
        <p:sp>
          <p:nvSpPr>
            <p:cNvPr id="29" name="TextBox 28">
              <a:extLst>
                <a:ext uri="{FF2B5EF4-FFF2-40B4-BE49-F238E27FC236}">
                  <a16:creationId xmlns:a16="http://schemas.microsoft.com/office/drawing/2014/main" id="{86E53204-8386-B941-AAC4-ED8FE7CB52A5}"/>
                </a:ext>
              </a:extLst>
            </p:cNvPr>
            <p:cNvSpPr txBox="1"/>
            <p:nvPr/>
          </p:nvSpPr>
          <p:spPr>
            <a:xfrm>
              <a:off x="6934200" y="2824105"/>
              <a:ext cx="1447800" cy="438581"/>
            </a:xfrm>
            <a:prstGeom prst="rect">
              <a:avLst/>
            </a:prstGeom>
            <a:noFill/>
          </p:spPr>
          <p:txBody>
            <a:bodyPr wrap="square" rtlCol="0">
              <a:spAutoFit/>
            </a:bodyPr>
            <a:lstStyle/>
            <a:p>
              <a:pPr defTabSz="976798"/>
              <a:r>
                <a:rPr lang="en-US" sz="1600" dirty="0">
                  <a:solidFill>
                    <a:srgbClr val="102B62"/>
                  </a:solidFill>
                  <a:latin typeface="Arial"/>
                </a:rPr>
                <a:t>Combined with Vaccine</a:t>
              </a:r>
            </a:p>
          </p:txBody>
        </p:sp>
      </p:grpSp>
      <p:sp>
        <p:nvSpPr>
          <p:cNvPr id="16" name="TextBox 15">
            <a:extLst>
              <a:ext uri="{FF2B5EF4-FFF2-40B4-BE49-F238E27FC236}">
                <a16:creationId xmlns:a16="http://schemas.microsoft.com/office/drawing/2014/main" id="{97F4AF8E-2C0C-F143-8294-549CD166B805}"/>
              </a:ext>
            </a:extLst>
          </p:cNvPr>
          <p:cNvSpPr txBox="1"/>
          <p:nvPr/>
        </p:nvSpPr>
        <p:spPr>
          <a:xfrm>
            <a:off x="0" y="5755638"/>
            <a:ext cx="3015684" cy="748988"/>
          </a:xfrm>
          <a:prstGeom prst="rect">
            <a:avLst/>
          </a:prstGeom>
          <a:noFill/>
        </p:spPr>
        <p:txBody>
          <a:bodyPr wrap="square" rtlCol="0">
            <a:spAutoFit/>
          </a:bodyPr>
          <a:lstStyle/>
          <a:p>
            <a:pPr defTabSz="976798"/>
            <a:r>
              <a:rPr lang="en-US" sz="1600" dirty="0">
                <a:solidFill>
                  <a:srgbClr val="102B62"/>
                </a:solidFill>
                <a:latin typeface="Arial"/>
              </a:rPr>
              <a:t>BARDA Agent-Based Simulation of DC, MD, and VA</a:t>
            </a:r>
          </a:p>
          <a:p>
            <a:pPr defTabSz="976798"/>
            <a:r>
              <a:rPr lang="en-US" sz="1067" dirty="0">
                <a:solidFill>
                  <a:srgbClr val="102B62"/>
                </a:solidFill>
                <a:latin typeface="Arial"/>
              </a:rPr>
              <a:t>Asher, Arguello, Durham, Romero</a:t>
            </a:r>
          </a:p>
        </p:txBody>
      </p:sp>
    </p:spTree>
    <p:extLst>
      <p:ext uri="{BB962C8B-B14F-4D97-AF65-F5344CB8AC3E}">
        <p14:creationId xmlns:p14="http://schemas.microsoft.com/office/powerpoint/2010/main" val="35386740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graffiti, rain&#10;&#10;Description automatically generated">
            <a:extLst>
              <a:ext uri="{FF2B5EF4-FFF2-40B4-BE49-F238E27FC236}">
                <a16:creationId xmlns:a16="http://schemas.microsoft.com/office/drawing/2014/main" id="{C28ED991-F23A-44AB-ACA8-2473723D6737}"/>
              </a:ext>
            </a:extLst>
          </p:cNvPr>
          <p:cNvPicPr>
            <a:picLocks noChangeAspect="1"/>
          </p:cNvPicPr>
          <p:nvPr/>
        </p:nvPicPr>
        <p:blipFill rotWithShape="1">
          <a:blip r:embed="rId2">
            <a:alphaModFix amt="20000"/>
            <a:extLst>
              <a:ext uri="{28A0092B-C50C-407E-A947-70E740481C1C}">
                <a14:useLocalDpi xmlns:a14="http://schemas.microsoft.com/office/drawing/2010/main" val="0"/>
              </a:ext>
            </a:extLst>
          </a:blip>
          <a:srcRect l="21377" r="17651"/>
          <a:stretch/>
        </p:blipFill>
        <p:spPr>
          <a:xfrm rot="5400000">
            <a:off x="2667000" y="-2667000"/>
            <a:ext cx="6858000" cy="12192000"/>
          </a:xfrm>
          <a:prstGeom prst="rect">
            <a:avLst/>
          </a:prstGeom>
        </p:spPr>
      </p:pic>
      <p:grpSp>
        <p:nvGrpSpPr>
          <p:cNvPr id="7" name="Group 6">
            <a:extLst>
              <a:ext uri="{FF2B5EF4-FFF2-40B4-BE49-F238E27FC236}">
                <a16:creationId xmlns:a16="http://schemas.microsoft.com/office/drawing/2014/main" id="{300B9574-C56F-4E7E-9D08-D91FDEA0A237}"/>
              </a:ext>
            </a:extLst>
          </p:cNvPr>
          <p:cNvGrpSpPr/>
          <p:nvPr/>
        </p:nvGrpSpPr>
        <p:grpSpPr>
          <a:xfrm>
            <a:off x="1465706" y="1803401"/>
            <a:ext cx="9259528" cy="2305895"/>
            <a:chOff x="1099279" y="1352550"/>
            <a:chExt cx="6944646" cy="1729421"/>
          </a:xfrm>
        </p:grpSpPr>
        <p:sp>
          <p:nvSpPr>
            <p:cNvPr id="13" name="Rectangle 12">
              <a:extLst>
                <a:ext uri="{FF2B5EF4-FFF2-40B4-BE49-F238E27FC236}">
                  <a16:creationId xmlns:a16="http://schemas.microsoft.com/office/drawing/2014/main" id="{2C822534-FD4D-488D-AED3-6D6490A49C9E}"/>
                </a:ext>
              </a:extLst>
            </p:cNvPr>
            <p:cNvSpPr/>
            <p:nvPr/>
          </p:nvSpPr>
          <p:spPr>
            <a:xfrm>
              <a:off x="1100073" y="1472249"/>
              <a:ext cx="6943851" cy="1600195"/>
            </a:xfrm>
            <a:prstGeom prst="rect">
              <a:avLst/>
            </a:prstGeom>
            <a:solidFill>
              <a:schemeClr val="bg1">
                <a:alpha val="66000"/>
              </a:schemeClr>
            </a:solidFill>
            <a:ln>
              <a:noFill/>
            </a:ln>
          </p:spPr>
          <p:style>
            <a:lnRef idx="2">
              <a:schemeClr val="accent4"/>
            </a:lnRef>
            <a:fillRef idx="1">
              <a:schemeClr val="lt1"/>
            </a:fillRef>
            <a:effectRef idx="0">
              <a:schemeClr val="accent4"/>
            </a:effectRef>
            <a:fontRef idx="minor">
              <a:schemeClr val="dk1"/>
            </a:fontRef>
          </p:style>
          <p:txBody>
            <a:bodyPr lIns="1950720" rtlCol="0" anchor="ctr"/>
            <a:lstStyle/>
            <a:p>
              <a:pPr algn="ctr" defTabSz="1219170">
                <a:spcBef>
                  <a:spcPct val="20000"/>
                </a:spcBef>
                <a:buSzPct val="125000"/>
              </a:pPr>
              <a:endParaRPr lang="en-US" sz="4267" dirty="0">
                <a:solidFill>
                  <a:srgbClr val="000000"/>
                </a:solidFill>
                <a:latin typeface="Arial"/>
              </a:endParaRPr>
            </a:p>
          </p:txBody>
        </p:sp>
        <p:grpSp>
          <p:nvGrpSpPr>
            <p:cNvPr id="6" name="Group 5">
              <a:extLst>
                <a:ext uri="{FF2B5EF4-FFF2-40B4-BE49-F238E27FC236}">
                  <a16:creationId xmlns:a16="http://schemas.microsoft.com/office/drawing/2014/main" id="{272E4D81-1BD7-497C-935D-5E197D08E3E6}"/>
                </a:ext>
              </a:extLst>
            </p:cNvPr>
            <p:cNvGrpSpPr/>
            <p:nvPr/>
          </p:nvGrpSpPr>
          <p:grpSpPr>
            <a:xfrm>
              <a:off x="1099279" y="1352550"/>
              <a:ext cx="6944646" cy="1729421"/>
              <a:chOff x="1099279" y="1352550"/>
              <a:chExt cx="6944646" cy="1729421"/>
            </a:xfrm>
          </p:grpSpPr>
          <p:grpSp>
            <p:nvGrpSpPr>
              <p:cNvPr id="3" name="Group 2"/>
              <p:cNvGrpSpPr/>
              <p:nvPr/>
            </p:nvGrpSpPr>
            <p:grpSpPr>
              <a:xfrm>
                <a:off x="1099279" y="1352550"/>
                <a:ext cx="1530087" cy="1729421"/>
                <a:chOff x="1270137" y="1128558"/>
                <a:chExt cx="1530087" cy="1729421"/>
              </a:xfrm>
            </p:grpSpPr>
            <p:sp>
              <p:nvSpPr>
                <p:cNvPr id="8" name="Rectangle 7">
                  <a:extLst>
                    <a:ext uri="{FF2B5EF4-FFF2-40B4-BE49-F238E27FC236}">
                      <a16:creationId xmlns:a16="http://schemas.microsoft.com/office/drawing/2014/main" id="{49944591-170B-46BF-9B8A-06F591489A0A}"/>
                    </a:ext>
                  </a:extLst>
                </p:cNvPr>
                <p:cNvSpPr/>
                <p:nvPr/>
              </p:nvSpPr>
              <p:spPr>
                <a:xfrm>
                  <a:off x="1276224" y="1257783"/>
                  <a:ext cx="1524000" cy="1600196"/>
                </a:xfrm>
                <a:prstGeom prst="rect">
                  <a:avLst/>
                </a:prstGeom>
                <a:gradFill>
                  <a:gsLst>
                    <a:gs pos="0">
                      <a:srgbClr val="C00000"/>
                    </a:gs>
                    <a:gs pos="100000">
                      <a:srgbClr val="680000"/>
                    </a:gs>
                  </a:gsLst>
                </a:gradFill>
              </p:spPr>
              <p:style>
                <a:lnRef idx="1">
                  <a:schemeClr val="accent4"/>
                </a:lnRef>
                <a:fillRef idx="3">
                  <a:schemeClr val="accent4"/>
                </a:fillRef>
                <a:effectRef idx="2">
                  <a:schemeClr val="accent4"/>
                </a:effectRef>
                <a:fontRef idx="minor">
                  <a:schemeClr val="lt1"/>
                </a:fontRef>
              </p:style>
              <p:txBody>
                <a:bodyPr rtlCol="0" anchor="ctr"/>
                <a:lstStyle/>
                <a:p>
                  <a:pPr algn="ctr" defTabSz="1219170"/>
                  <a:endParaRPr lang="en-US" sz="11733" b="1" dirty="0">
                    <a:solidFill>
                      <a:prstClr val="white"/>
                    </a:solidFill>
                    <a:latin typeface="Arial"/>
                  </a:endParaRPr>
                </a:p>
              </p:txBody>
            </p:sp>
            <p:grpSp>
              <p:nvGrpSpPr>
                <p:cNvPr id="18" name="Group 17">
                  <a:extLst>
                    <a:ext uri="{FF2B5EF4-FFF2-40B4-BE49-F238E27FC236}">
                      <a16:creationId xmlns:a16="http://schemas.microsoft.com/office/drawing/2014/main" id="{15BEE507-0E10-490B-9AF7-D1677E8D15DC}"/>
                    </a:ext>
                  </a:extLst>
                </p:cNvPr>
                <p:cNvGrpSpPr/>
                <p:nvPr/>
              </p:nvGrpSpPr>
              <p:grpSpPr>
                <a:xfrm>
                  <a:off x="1270137" y="1128558"/>
                  <a:ext cx="1509067" cy="1639317"/>
                  <a:chOff x="1270137" y="1102835"/>
                  <a:chExt cx="1509067" cy="1639317"/>
                </a:xfrm>
              </p:grpSpPr>
              <p:sp>
                <p:nvSpPr>
                  <p:cNvPr id="10" name="Rectangle 9">
                    <a:extLst>
                      <a:ext uri="{FF2B5EF4-FFF2-40B4-BE49-F238E27FC236}">
                        <a16:creationId xmlns:a16="http://schemas.microsoft.com/office/drawing/2014/main" id="{568B9963-AA37-49EF-83E6-F08035BD6FF4}"/>
                      </a:ext>
                    </a:extLst>
                  </p:cNvPr>
                  <p:cNvSpPr/>
                  <p:nvPr/>
                </p:nvSpPr>
                <p:spPr>
                  <a:xfrm>
                    <a:off x="1270137" y="1102835"/>
                    <a:ext cx="1509067" cy="1546577"/>
                  </a:xfrm>
                  <a:prstGeom prst="rect">
                    <a:avLst/>
                  </a:prstGeom>
                </p:spPr>
                <p:txBody>
                  <a:bodyPr wrap="none">
                    <a:spAutoFit/>
                  </a:bodyPr>
                  <a:lstStyle/>
                  <a:p>
                    <a:pPr algn="ctr" defTabSz="1219170"/>
                    <a:r>
                      <a:rPr lang="en-US" sz="12800" b="1" dirty="0">
                        <a:solidFill>
                          <a:prstClr val="white"/>
                        </a:solidFill>
                        <a:latin typeface="Arial"/>
                      </a:rPr>
                      <a:t>16</a:t>
                    </a:r>
                  </a:p>
                </p:txBody>
              </p:sp>
              <p:sp>
                <p:nvSpPr>
                  <p:cNvPr id="11" name="Rectangle 10">
                    <a:extLst>
                      <a:ext uri="{FF2B5EF4-FFF2-40B4-BE49-F238E27FC236}">
                        <a16:creationId xmlns:a16="http://schemas.microsoft.com/office/drawing/2014/main" id="{D1293BCF-B8F2-4B4F-8213-E64ABFCE9679}"/>
                      </a:ext>
                    </a:extLst>
                  </p:cNvPr>
                  <p:cNvSpPr/>
                  <p:nvPr/>
                </p:nvSpPr>
                <p:spPr>
                  <a:xfrm>
                    <a:off x="1568001" y="2303571"/>
                    <a:ext cx="959494" cy="438581"/>
                  </a:xfrm>
                  <a:prstGeom prst="rect">
                    <a:avLst/>
                  </a:prstGeom>
                </p:spPr>
                <p:txBody>
                  <a:bodyPr wrap="none">
                    <a:spAutoFit/>
                  </a:bodyPr>
                  <a:lstStyle/>
                  <a:p>
                    <a:pPr algn="ctr" defTabSz="1219170"/>
                    <a:r>
                      <a:rPr lang="en-US" sz="3200" b="1" dirty="0">
                        <a:solidFill>
                          <a:prstClr val="white"/>
                        </a:solidFill>
                        <a:latin typeface="Arial"/>
                      </a:rPr>
                      <a:t>Years</a:t>
                    </a:r>
                  </a:p>
                </p:txBody>
              </p:sp>
            </p:grpSp>
          </p:grpSp>
          <p:sp>
            <p:nvSpPr>
              <p:cNvPr id="12" name="Rectangle 11">
                <a:extLst>
                  <a:ext uri="{FF2B5EF4-FFF2-40B4-BE49-F238E27FC236}">
                    <a16:creationId xmlns:a16="http://schemas.microsoft.com/office/drawing/2014/main" id="{5220F1E6-56BE-404E-A3A5-E1A4D5AEC56D}"/>
                  </a:ext>
                </a:extLst>
              </p:cNvPr>
              <p:cNvSpPr/>
              <p:nvPr/>
            </p:nvSpPr>
            <p:spPr>
              <a:xfrm>
                <a:off x="1100074" y="1481775"/>
                <a:ext cx="6943851" cy="1600195"/>
              </a:xfrm>
              <a:prstGeom prst="rect">
                <a:avLst/>
              </a:prstGeom>
              <a:noFill/>
              <a:ln>
                <a:solidFill>
                  <a:srgbClr val="680000"/>
                </a:solidFill>
              </a:ln>
            </p:spPr>
            <p:style>
              <a:lnRef idx="2">
                <a:schemeClr val="accent4"/>
              </a:lnRef>
              <a:fillRef idx="1">
                <a:schemeClr val="lt1"/>
              </a:fillRef>
              <a:effectRef idx="0">
                <a:schemeClr val="accent4"/>
              </a:effectRef>
              <a:fontRef idx="minor">
                <a:schemeClr val="dk1"/>
              </a:fontRef>
            </p:style>
            <p:txBody>
              <a:bodyPr lIns="1950720" rtlCol="0" anchor="ctr"/>
              <a:lstStyle/>
              <a:p>
                <a:pPr algn="ctr" defTabSz="1219170">
                  <a:spcBef>
                    <a:spcPct val="20000"/>
                  </a:spcBef>
                  <a:buSzPct val="125000"/>
                </a:pPr>
                <a:r>
                  <a:rPr lang="en-US" sz="4267" b="1" dirty="0">
                    <a:solidFill>
                      <a:srgbClr val="000000"/>
                    </a:solidFill>
                    <a:latin typeface="Arial"/>
                  </a:rPr>
                  <a:t>3</a:t>
                </a:r>
                <a:r>
                  <a:rPr lang="en-US" sz="4267" b="1" baseline="30000" dirty="0">
                    <a:solidFill>
                      <a:srgbClr val="000000"/>
                    </a:solidFill>
                    <a:latin typeface="Arial"/>
                  </a:rPr>
                  <a:t>rd</a:t>
                </a:r>
                <a:r>
                  <a:rPr lang="en-US" sz="4267" b="1" dirty="0">
                    <a:solidFill>
                      <a:srgbClr val="000000"/>
                    </a:solidFill>
                    <a:latin typeface="Arial"/>
                  </a:rPr>
                  <a:t> Coronavirus Outbreak</a:t>
                </a:r>
              </a:p>
              <a:p>
                <a:pPr algn="ctr" defTabSz="1219170">
                  <a:spcBef>
                    <a:spcPct val="20000"/>
                  </a:spcBef>
                  <a:buSzPct val="125000"/>
                </a:pPr>
                <a:r>
                  <a:rPr lang="en-US" sz="4267" dirty="0">
                    <a:solidFill>
                      <a:srgbClr val="000000"/>
                    </a:solidFill>
                    <a:latin typeface="Arial"/>
                  </a:rPr>
                  <a:t>No Licensed products</a:t>
                </a:r>
              </a:p>
            </p:txBody>
          </p:sp>
        </p:grpSp>
      </p:grpSp>
      <p:sp>
        <p:nvSpPr>
          <p:cNvPr id="5" name="Slide Number Placeholder 4">
            <a:extLst>
              <a:ext uri="{FF2B5EF4-FFF2-40B4-BE49-F238E27FC236}">
                <a16:creationId xmlns:a16="http://schemas.microsoft.com/office/drawing/2014/main" id="{58C7A64B-9515-4DF1-9A31-DB1C9B8AB849}"/>
              </a:ext>
            </a:extLst>
          </p:cNvPr>
          <p:cNvSpPr>
            <a:spLocks noGrp="1"/>
          </p:cNvSpPr>
          <p:nvPr>
            <p:ph type="sldNum" sz="quarter" idx="12"/>
          </p:nvPr>
        </p:nvSpPr>
        <p:spPr/>
        <p:txBody>
          <a:bodyPr/>
          <a:lstStyle/>
          <a:p>
            <a:fld id="{4FA07702-9C82-4FBE-B98C-E58879511A7A}" type="slidenum">
              <a:rPr lang="en-US" smtClean="0"/>
              <a:t>15</a:t>
            </a:fld>
            <a:endParaRPr lang="en-US"/>
          </a:p>
        </p:txBody>
      </p:sp>
    </p:spTree>
    <p:extLst>
      <p:ext uri="{BB962C8B-B14F-4D97-AF65-F5344CB8AC3E}">
        <p14:creationId xmlns:p14="http://schemas.microsoft.com/office/powerpoint/2010/main" val="7608472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a:xfrm>
            <a:off x="573607" y="2161664"/>
            <a:ext cx="4165680" cy="3424673"/>
          </a:xfrm>
          <a:prstGeom prst="rect">
            <a:avLst/>
          </a:prstGeom>
          <a:solidFill>
            <a:srgbClr val="979797"/>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defTabSz="1219170"/>
            <a:r>
              <a:rPr lang="en-US" sz="2400" b="1" dirty="0">
                <a:solidFill>
                  <a:srgbClr val="102B62">
                    <a:lumMod val="50000"/>
                  </a:srgbClr>
                </a:solidFill>
                <a:latin typeface="Arial"/>
              </a:rPr>
              <a:t>Align and prioritize MCM development across interagency partners to avoid duplication of effort, identify opportunities for synergy, and fill potential gaps</a:t>
            </a:r>
          </a:p>
        </p:txBody>
      </p:sp>
      <p:sp>
        <p:nvSpPr>
          <p:cNvPr id="34" name="TextBox 33"/>
          <p:cNvSpPr txBox="1"/>
          <p:nvPr/>
        </p:nvSpPr>
        <p:spPr>
          <a:xfrm>
            <a:off x="218135" y="381010"/>
            <a:ext cx="5306863" cy="1815690"/>
          </a:xfrm>
          <a:prstGeom prst="rect">
            <a:avLst/>
          </a:prstGeom>
          <a:noFill/>
        </p:spPr>
        <p:txBody>
          <a:bodyPr wrap="square" rtlCol="0">
            <a:spAutoFit/>
          </a:bodyPr>
          <a:lstStyle/>
          <a:p>
            <a:pPr algn="ctr" defTabSz="1219170"/>
            <a:r>
              <a:rPr lang="en-US" sz="3733" b="1" dirty="0">
                <a:solidFill>
                  <a:srgbClr val="102B62"/>
                </a:solidFill>
                <a:latin typeface="Arial"/>
              </a:rPr>
              <a:t>COVID-19 Medical Countermeasures Task Force</a:t>
            </a:r>
          </a:p>
        </p:txBody>
      </p:sp>
      <p:pic>
        <p:nvPicPr>
          <p:cNvPr id="6" name="Picture 5"/>
          <p:cNvPicPr preferRelativeResize="0">
            <a:picLocks noChangeAspect="1"/>
          </p:cNvPicPr>
          <p:nvPr/>
        </p:nvPicPr>
        <p:blipFill>
          <a:blip r:embed="rId3">
            <a:extLst>
              <a:ext uri="{28A0092B-C50C-407E-A947-70E740481C1C}">
                <a14:useLocalDpi xmlns:a14="http://schemas.microsoft.com/office/drawing/2010/main"/>
              </a:ext>
            </a:extLst>
          </a:blip>
          <a:stretch>
            <a:fillRect/>
          </a:stretch>
        </p:blipFill>
        <p:spPr>
          <a:xfrm>
            <a:off x="5617980" y="4446602"/>
            <a:ext cx="1232685" cy="1232685"/>
          </a:xfrm>
          <a:prstGeom prst="rect">
            <a:avLst/>
          </a:prstGeom>
        </p:spPr>
      </p:pic>
      <p:pic>
        <p:nvPicPr>
          <p:cNvPr id="5" name="Picture 4"/>
          <p:cNvPicPr preferRelativeResize="0">
            <a:picLocks noChangeAspect="1"/>
          </p:cNvPicPr>
          <p:nvPr/>
        </p:nvPicPr>
        <p:blipFill>
          <a:blip r:embed="rId4">
            <a:extLst>
              <a:ext uri="{28A0092B-C50C-407E-A947-70E740481C1C}">
                <a14:useLocalDpi xmlns:a14="http://schemas.microsoft.com/office/drawing/2010/main"/>
              </a:ext>
            </a:extLst>
          </a:blip>
          <a:stretch>
            <a:fillRect/>
          </a:stretch>
        </p:blipFill>
        <p:spPr>
          <a:xfrm>
            <a:off x="5180915" y="2946963"/>
            <a:ext cx="1145733" cy="828551"/>
          </a:xfrm>
          <a:prstGeom prst="rect">
            <a:avLst/>
          </a:prstGeom>
        </p:spPr>
      </p:pic>
      <p:pic>
        <p:nvPicPr>
          <p:cNvPr id="7" name="Picture 6"/>
          <p:cNvPicPr preferRelativeResize="0">
            <a:picLocks noChangeAspect="1"/>
          </p:cNvPicPr>
          <p:nvPr/>
        </p:nvPicPr>
        <p:blipFill>
          <a:blip r:embed="rId5"/>
          <a:stretch>
            <a:fillRect/>
          </a:stretch>
        </p:blipFill>
        <p:spPr>
          <a:xfrm>
            <a:off x="7767315" y="571898"/>
            <a:ext cx="2355012" cy="726184"/>
          </a:xfrm>
          <a:prstGeom prst="rect">
            <a:avLst/>
          </a:prstGeom>
        </p:spPr>
      </p:pic>
      <p:pic>
        <p:nvPicPr>
          <p:cNvPr id="8" name="Picture 7"/>
          <p:cNvPicPr preferRelativeResize="0">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234324" y="485548"/>
            <a:ext cx="1238721" cy="1238721"/>
          </a:xfrm>
          <a:prstGeom prst="rect">
            <a:avLst/>
          </a:prstGeom>
        </p:spPr>
      </p:pic>
      <p:pic>
        <p:nvPicPr>
          <p:cNvPr id="9" name="Picture 8"/>
          <p:cNvPicPr preferRelativeResize="0">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439380" y="1198498"/>
            <a:ext cx="1238721" cy="1238721"/>
          </a:xfrm>
          <a:prstGeom prst="rect">
            <a:avLst/>
          </a:prstGeom>
        </p:spPr>
      </p:pic>
      <p:pic>
        <p:nvPicPr>
          <p:cNvPr id="10" name="Picture 9"/>
          <p:cNvPicPr preferRelativeResize="0">
            <a:picLocks noChangeAspect="1"/>
          </p:cNvPicPr>
          <p:nvPr/>
        </p:nvPicPr>
        <p:blipFill>
          <a:blip r:embed="rId8"/>
          <a:stretch>
            <a:fillRect/>
          </a:stretch>
        </p:blipFill>
        <p:spPr>
          <a:xfrm>
            <a:off x="11036480" y="2797509"/>
            <a:ext cx="935369" cy="1127456"/>
          </a:xfrm>
          <a:prstGeom prst="rect">
            <a:avLst/>
          </a:prstGeom>
        </p:spPr>
      </p:pic>
      <p:pic>
        <p:nvPicPr>
          <p:cNvPr id="11" name="Picture 10"/>
          <p:cNvPicPr preferRelativeResize="0">
            <a:picLocks noChangeAspect="1"/>
          </p:cNvPicPr>
          <p:nvPr/>
        </p:nvPicPr>
        <p:blipFill>
          <a:blip r:embed="rId9"/>
          <a:stretch>
            <a:fillRect/>
          </a:stretch>
        </p:blipFill>
        <p:spPr>
          <a:xfrm>
            <a:off x="7738181" y="5507483"/>
            <a:ext cx="1665376" cy="874323"/>
          </a:xfrm>
          <a:prstGeom prst="rect">
            <a:avLst/>
          </a:prstGeom>
        </p:spPr>
      </p:pic>
      <p:pic>
        <p:nvPicPr>
          <p:cNvPr id="17" name="Picture 16"/>
          <p:cNvPicPr preferRelativeResize="0">
            <a:picLocks noChangeAspect="1"/>
          </p:cNvPicPr>
          <p:nvPr/>
        </p:nvPicPr>
        <p:blipFill rotWithShape="1">
          <a:blip r:embed="rId10"/>
          <a:srcRect l="10000" r="10000"/>
          <a:stretch/>
        </p:blipFill>
        <p:spPr>
          <a:xfrm>
            <a:off x="10251436" y="4630574"/>
            <a:ext cx="1252728" cy="876909"/>
          </a:xfrm>
          <a:prstGeom prst="rect">
            <a:avLst/>
          </a:prstGeom>
        </p:spPr>
      </p:pic>
      <p:sp>
        <p:nvSpPr>
          <p:cNvPr id="22" name="Freeform: Shape 11">
            <a:extLst>
              <a:ext uri="{FF2B5EF4-FFF2-40B4-BE49-F238E27FC236}">
                <a16:creationId xmlns:a16="http://schemas.microsoft.com/office/drawing/2014/main" id="{C36895E0-4FE2-4932-95BF-1AAC617C9172}"/>
              </a:ext>
            </a:extLst>
          </p:cNvPr>
          <p:cNvSpPr>
            <a:spLocks noChangeAspect="1"/>
          </p:cNvSpPr>
          <p:nvPr/>
        </p:nvSpPr>
        <p:spPr>
          <a:xfrm>
            <a:off x="9000271" y="5586337"/>
            <a:ext cx="60959" cy="609581"/>
          </a:xfrm>
          <a:custGeom>
            <a:avLst/>
            <a:gdLst>
              <a:gd name="connsiteX0" fmla="*/ 714 w 0"/>
              <a:gd name="connsiteY0" fmla="*/ 0 h 95250"/>
              <a:gd name="connsiteX1" fmla="*/ 714 w 0"/>
              <a:gd name="connsiteY1" fmla="*/ 0 h 95250"/>
              <a:gd name="connsiteX2" fmla="*/ 714 w 0"/>
              <a:gd name="connsiteY2" fmla="*/ 101917 h 95250"/>
              <a:gd name="connsiteX3" fmla="*/ 714 w 0"/>
              <a:gd name="connsiteY3" fmla="*/ 101917 h 95250"/>
              <a:gd name="connsiteX4" fmla="*/ 714 w 0"/>
              <a:gd name="connsiteY4" fmla="*/ 0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h="95250">
                <a:moveTo>
                  <a:pt x="714" y="0"/>
                </a:moveTo>
                <a:cubicBezTo>
                  <a:pt x="-238" y="0"/>
                  <a:pt x="-238" y="0"/>
                  <a:pt x="714" y="0"/>
                </a:cubicBezTo>
                <a:lnTo>
                  <a:pt x="714" y="101917"/>
                </a:lnTo>
                <a:cubicBezTo>
                  <a:pt x="714" y="101917"/>
                  <a:pt x="714" y="101917"/>
                  <a:pt x="714" y="101917"/>
                </a:cubicBezTo>
                <a:lnTo>
                  <a:pt x="714" y="0"/>
                </a:lnTo>
                <a:close/>
              </a:path>
            </a:pathLst>
          </a:custGeom>
          <a:solidFill>
            <a:srgbClr val="222E61"/>
          </a:solidFill>
          <a:ln w="9525" cap="flat">
            <a:noFill/>
            <a:prstDash val="solid"/>
            <a:miter/>
          </a:ln>
        </p:spPr>
        <p:txBody>
          <a:bodyPr rtlCol="0" anchor="ctr"/>
          <a:lstStyle/>
          <a:p>
            <a:pPr defTabSz="1219170"/>
            <a:endParaRPr lang="en-US" sz="2400" b="1">
              <a:solidFill>
                <a:srgbClr val="102B62"/>
              </a:solidFill>
              <a:latin typeface="Arial" panose="020B0604020202020204" pitchFamily="34" charset="0"/>
              <a:cs typeface="Arial" panose="020B0604020202020204" pitchFamily="34" charset="0"/>
            </a:endParaRPr>
          </a:p>
        </p:txBody>
      </p:sp>
      <p:grpSp>
        <p:nvGrpSpPr>
          <p:cNvPr id="3" name="Group 2">
            <a:extLst>
              <a:ext uri="{FF2B5EF4-FFF2-40B4-BE49-F238E27FC236}">
                <a16:creationId xmlns:a16="http://schemas.microsoft.com/office/drawing/2014/main" id="{37134D4F-DE85-4F2E-B289-BE92C6F038C4}"/>
              </a:ext>
            </a:extLst>
          </p:cNvPr>
          <p:cNvGrpSpPr/>
          <p:nvPr/>
        </p:nvGrpSpPr>
        <p:grpSpPr>
          <a:xfrm>
            <a:off x="6783540" y="1533565"/>
            <a:ext cx="3634981" cy="3634981"/>
            <a:chOff x="4823076" y="564164"/>
            <a:chExt cx="3226007" cy="3226007"/>
          </a:xfrm>
        </p:grpSpPr>
        <p:pic>
          <p:nvPicPr>
            <p:cNvPr id="26" name="Picture 25"/>
            <p:cNvPicPr>
              <a:picLocks noChangeAspect="1"/>
            </p:cNvPicPr>
            <p:nvPr/>
          </p:nvPicPr>
          <p:blipFill>
            <a:blip r:embed="rId11"/>
            <a:stretch>
              <a:fillRect/>
            </a:stretch>
          </p:blipFill>
          <p:spPr>
            <a:xfrm>
              <a:off x="5328458" y="1387581"/>
              <a:ext cx="2212311" cy="1640060"/>
            </a:xfrm>
            <a:prstGeom prst="ellipse">
              <a:avLst/>
            </a:prstGeom>
            <a:ln w="635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nvGrpSpPr>
            <p:cNvPr id="25" name="Group 24">
              <a:extLst>
                <a:ext uri="{FF2B5EF4-FFF2-40B4-BE49-F238E27FC236}">
                  <a16:creationId xmlns:a16="http://schemas.microsoft.com/office/drawing/2014/main" id="{F0AB7D43-2903-4D5D-94E2-76584AEC787E}"/>
                </a:ext>
              </a:extLst>
            </p:cNvPr>
            <p:cNvGrpSpPr/>
            <p:nvPr/>
          </p:nvGrpSpPr>
          <p:grpSpPr>
            <a:xfrm>
              <a:off x="4823076" y="564164"/>
              <a:ext cx="3226007" cy="3226007"/>
              <a:chOff x="3886200" y="1885950"/>
              <a:chExt cx="1360170" cy="1360170"/>
            </a:xfrm>
          </p:grpSpPr>
          <p:sp>
            <p:nvSpPr>
              <p:cNvPr id="27" name="Freeform: Shape 26">
                <a:extLst>
                  <a:ext uri="{FF2B5EF4-FFF2-40B4-BE49-F238E27FC236}">
                    <a16:creationId xmlns:a16="http://schemas.microsoft.com/office/drawing/2014/main" id="{491060F2-0B9C-43BB-B7E9-81EEF9619410}"/>
                  </a:ext>
                </a:extLst>
              </p:cNvPr>
              <p:cNvSpPr/>
              <p:nvPr/>
            </p:nvSpPr>
            <p:spPr>
              <a:xfrm>
                <a:off x="4570095" y="2085791"/>
                <a:ext cx="676275" cy="476250"/>
              </a:xfrm>
              <a:custGeom>
                <a:avLst/>
                <a:gdLst>
                  <a:gd name="connsiteX0" fmla="*/ 338138 w 676275"/>
                  <a:gd name="connsiteY0" fmla="*/ 484054 h 476250"/>
                  <a:gd name="connsiteX1" fmla="*/ 478155 w 676275"/>
                  <a:gd name="connsiteY1" fmla="*/ 484054 h 476250"/>
                  <a:gd name="connsiteX2" fmla="*/ 683895 w 676275"/>
                  <a:gd name="connsiteY2" fmla="*/ 484054 h 476250"/>
                  <a:gd name="connsiteX3" fmla="*/ 0 w 676275"/>
                  <a:gd name="connsiteY3" fmla="*/ 5899 h 476250"/>
                  <a:gd name="connsiteX4" fmla="*/ 0 w 676275"/>
                  <a:gd name="connsiteY4" fmla="*/ 145917 h 476250"/>
                  <a:gd name="connsiteX5" fmla="*/ 338138 w 676275"/>
                  <a:gd name="connsiteY5" fmla="*/ 484054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6275" h="476250">
                    <a:moveTo>
                      <a:pt x="338138" y="484054"/>
                    </a:moveTo>
                    <a:lnTo>
                      <a:pt x="478155" y="484054"/>
                    </a:lnTo>
                    <a:lnTo>
                      <a:pt x="683895" y="484054"/>
                    </a:lnTo>
                    <a:cubicBezTo>
                      <a:pt x="620077" y="81147"/>
                      <a:pt x="206692" y="-28391"/>
                      <a:pt x="0" y="5899"/>
                    </a:cubicBezTo>
                    <a:lnTo>
                      <a:pt x="0" y="145917"/>
                    </a:lnTo>
                    <a:cubicBezTo>
                      <a:pt x="186690" y="145917"/>
                      <a:pt x="338138" y="297364"/>
                      <a:pt x="338138" y="484054"/>
                    </a:cubicBezTo>
                    <a:close/>
                  </a:path>
                </a:pathLst>
              </a:custGeom>
              <a:gradFill>
                <a:gsLst>
                  <a:gs pos="0">
                    <a:schemeClr val="accent1"/>
                  </a:gs>
                  <a:gs pos="50000">
                    <a:schemeClr val="accent1">
                      <a:lumMod val="75000"/>
                    </a:schemeClr>
                  </a:gs>
                  <a:gs pos="100000">
                    <a:schemeClr val="accent1">
                      <a:lumMod val="50000"/>
                    </a:schemeClr>
                  </a:gs>
                </a:gsLst>
              </a:gradFill>
              <a:ln/>
            </p:spPr>
            <p:style>
              <a:lnRef idx="1">
                <a:schemeClr val="dk1"/>
              </a:lnRef>
              <a:fillRef idx="3">
                <a:schemeClr val="dk1"/>
              </a:fillRef>
              <a:effectRef idx="2">
                <a:schemeClr val="dk1"/>
              </a:effectRef>
              <a:fontRef idx="minor">
                <a:schemeClr val="lt1"/>
              </a:fontRef>
            </p:style>
            <p:txBody>
              <a:bodyPr rtlCol="0" anchor="ctr"/>
              <a:lstStyle/>
              <a:p>
                <a:pPr defTabSz="1219170"/>
                <a:endParaRPr lang="en-US" sz="2400" dirty="0">
                  <a:solidFill>
                    <a:prstClr val="white"/>
                  </a:solidFill>
                  <a:latin typeface="Arial"/>
                </a:endParaRPr>
              </a:p>
            </p:txBody>
          </p:sp>
          <p:sp>
            <p:nvSpPr>
              <p:cNvPr id="28" name="Freeform: Shape 27">
                <a:extLst>
                  <a:ext uri="{FF2B5EF4-FFF2-40B4-BE49-F238E27FC236}">
                    <a16:creationId xmlns:a16="http://schemas.microsoft.com/office/drawing/2014/main" id="{1F933CFE-CE42-4714-917D-67A9E0AD749A}"/>
                  </a:ext>
                </a:extLst>
              </p:cNvPr>
              <p:cNvSpPr/>
              <p:nvPr/>
            </p:nvSpPr>
            <p:spPr>
              <a:xfrm>
                <a:off x="4086041" y="1885950"/>
                <a:ext cx="476250" cy="676275"/>
              </a:xfrm>
              <a:custGeom>
                <a:avLst/>
                <a:gdLst>
                  <a:gd name="connsiteX0" fmla="*/ 484054 w 476250"/>
                  <a:gd name="connsiteY0" fmla="*/ 345758 h 676275"/>
                  <a:gd name="connsiteX1" fmla="*/ 484054 w 476250"/>
                  <a:gd name="connsiteY1" fmla="*/ 345758 h 676275"/>
                  <a:gd name="connsiteX2" fmla="*/ 484054 w 476250"/>
                  <a:gd name="connsiteY2" fmla="*/ 205740 h 676275"/>
                  <a:gd name="connsiteX3" fmla="*/ 484054 w 476250"/>
                  <a:gd name="connsiteY3" fmla="*/ 0 h 676275"/>
                  <a:gd name="connsiteX4" fmla="*/ 5899 w 476250"/>
                  <a:gd name="connsiteY4" fmla="*/ 683895 h 676275"/>
                  <a:gd name="connsiteX5" fmla="*/ 145917 w 476250"/>
                  <a:gd name="connsiteY5" fmla="*/ 683895 h 676275"/>
                  <a:gd name="connsiteX6" fmla="*/ 484054 w 476250"/>
                  <a:gd name="connsiteY6" fmla="*/ 345758 h 676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0" h="676275">
                    <a:moveTo>
                      <a:pt x="484054" y="345758"/>
                    </a:moveTo>
                    <a:cubicBezTo>
                      <a:pt x="484054" y="345758"/>
                      <a:pt x="484054" y="345758"/>
                      <a:pt x="484054" y="345758"/>
                    </a:cubicBezTo>
                    <a:lnTo>
                      <a:pt x="484054" y="205740"/>
                    </a:lnTo>
                    <a:lnTo>
                      <a:pt x="484054" y="0"/>
                    </a:lnTo>
                    <a:cubicBezTo>
                      <a:pt x="81147" y="63818"/>
                      <a:pt x="-28391" y="477203"/>
                      <a:pt x="5899" y="683895"/>
                    </a:cubicBezTo>
                    <a:lnTo>
                      <a:pt x="145917" y="683895"/>
                    </a:lnTo>
                    <a:cubicBezTo>
                      <a:pt x="145917" y="497205"/>
                      <a:pt x="297364" y="345758"/>
                      <a:pt x="484054" y="345758"/>
                    </a:cubicBezTo>
                    <a:close/>
                  </a:path>
                </a:pathLst>
              </a:custGeom>
              <a:gradFill>
                <a:gsLst>
                  <a:gs pos="0">
                    <a:schemeClr val="accent1"/>
                  </a:gs>
                  <a:gs pos="50000">
                    <a:schemeClr val="accent1">
                      <a:lumMod val="75000"/>
                    </a:schemeClr>
                  </a:gs>
                  <a:gs pos="100000">
                    <a:schemeClr val="accent1">
                      <a:lumMod val="50000"/>
                    </a:schemeClr>
                  </a:gs>
                </a:gsLst>
              </a:gradFill>
              <a:ln/>
            </p:spPr>
            <p:style>
              <a:lnRef idx="1">
                <a:schemeClr val="dk1"/>
              </a:lnRef>
              <a:fillRef idx="3">
                <a:schemeClr val="dk1"/>
              </a:fillRef>
              <a:effectRef idx="2">
                <a:schemeClr val="dk1"/>
              </a:effectRef>
              <a:fontRef idx="minor">
                <a:schemeClr val="lt1"/>
              </a:fontRef>
            </p:style>
            <p:txBody>
              <a:bodyPr rtlCol="0" anchor="ctr"/>
              <a:lstStyle/>
              <a:p>
                <a:pPr defTabSz="1219170"/>
                <a:endParaRPr lang="en-US" sz="2400" dirty="0">
                  <a:solidFill>
                    <a:prstClr val="white"/>
                  </a:solidFill>
                  <a:latin typeface="Arial"/>
                </a:endParaRPr>
              </a:p>
            </p:txBody>
          </p:sp>
          <p:sp>
            <p:nvSpPr>
              <p:cNvPr id="31" name="Freeform: Shape 30">
                <a:extLst>
                  <a:ext uri="{FF2B5EF4-FFF2-40B4-BE49-F238E27FC236}">
                    <a16:creationId xmlns:a16="http://schemas.microsoft.com/office/drawing/2014/main" id="{F5CEA5E1-C87F-46A7-852B-6B482D606CA3}"/>
                  </a:ext>
                </a:extLst>
              </p:cNvPr>
              <p:cNvSpPr/>
              <p:nvPr/>
            </p:nvSpPr>
            <p:spPr>
              <a:xfrm>
                <a:off x="3886200" y="2569845"/>
                <a:ext cx="676275" cy="476250"/>
              </a:xfrm>
              <a:custGeom>
                <a:avLst/>
                <a:gdLst>
                  <a:gd name="connsiteX0" fmla="*/ 683895 w 676275"/>
                  <a:gd name="connsiteY0" fmla="*/ 338138 h 476250"/>
                  <a:gd name="connsiteX1" fmla="*/ 345758 w 676275"/>
                  <a:gd name="connsiteY1" fmla="*/ 0 h 476250"/>
                  <a:gd name="connsiteX2" fmla="*/ 345758 w 676275"/>
                  <a:gd name="connsiteY2" fmla="*/ 0 h 476250"/>
                  <a:gd name="connsiteX3" fmla="*/ 205740 w 676275"/>
                  <a:gd name="connsiteY3" fmla="*/ 0 h 476250"/>
                  <a:gd name="connsiteX4" fmla="*/ 0 w 676275"/>
                  <a:gd name="connsiteY4" fmla="*/ 0 h 476250"/>
                  <a:gd name="connsiteX5" fmla="*/ 683895 w 676275"/>
                  <a:gd name="connsiteY5" fmla="*/ 478155 h 476250"/>
                  <a:gd name="connsiteX6" fmla="*/ 683895 w 676275"/>
                  <a:gd name="connsiteY6" fmla="*/ 338138 h 476250"/>
                  <a:gd name="connsiteX7" fmla="*/ 683895 w 676275"/>
                  <a:gd name="connsiteY7" fmla="*/ 338138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6275" h="476250">
                    <a:moveTo>
                      <a:pt x="683895" y="338138"/>
                    </a:moveTo>
                    <a:cubicBezTo>
                      <a:pt x="497205" y="338138"/>
                      <a:pt x="345758" y="186690"/>
                      <a:pt x="345758" y="0"/>
                    </a:cubicBezTo>
                    <a:cubicBezTo>
                      <a:pt x="345758" y="0"/>
                      <a:pt x="345758" y="0"/>
                      <a:pt x="345758" y="0"/>
                    </a:cubicBezTo>
                    <a:lnTo>
                      <a:pt x="205740" y="0"/>
                    </a:lnTo>
                    <a:lnTo>
                      <a:pt x="0" y="0"/>
                    </a:lnTo>
                    <a:cubicBezTo>
                      <a:pt x="63818" y="402907"/>
                      <a:pt x="477203" y="512445"/>
                      <a:pt x="683895" y="478155"/>
                    </a:cubicBezTo>
                    <a:lnTo>
                      <a:pt x="683895" y="338138"/>
                    </a:lnTo>
                    <a:cubicBezTo>
                      <a:pt x="683895" y="338138"/>
                      <a:pt x="683895" y="338138"/>
                      <a:pt x="683895" y="338138"/>
                    </a:cubicBezTo>
                    <a:close/>
                  </a:path>
                </a:pathLst>
              </a:custGeom>
              <a:gradFill>
                <a:gsLst>
                  <a:gs pos="0">
                    <a:schemeClr val="accent1"/>
                  </a:gs>
                  <a:gs pos="50000">
                    <a:schemeClr val="accent1">
                      <a:lumMod val="75000"/>
                    </a:schemeClr>
                  </a:gs>
                  <a:gs pos="100000">
                    <a:schemeClr val="accent1">
                      <a:lumMod val="50000"/>
                    </a:schemeClr>
                  </a:gs>
                </a:gsLst>
              </a:gradFill>
              <a:ln/>
            </p:spPr>
            <p:style>
              <a:lnRef idx="1">
                <a:schemeClr val="dk1"/>
              </a:lnRef>
              <a:fillRef idx="3">
                <a:schemeClr val="dk1"/>
              </a:fillRef>
              <a:effectRef idx="2">
                <a:schemeClr val="dk1"/>
              </a:effectRef>
              <a:fontRef idx="minor">
                <a:schemeClr val="lt1"/>
              </a:fontRef>
            </p:style>
            <p:txBody>
              <a:bodyPr rtlCol="0" anchor="ctr"/>
              <a:lstStyle/>
              <a:p>
                <a:pPr defTabSz="1219170"/>
                <a:endParaRPr lang="en-US" sz="2400">
                  <a:solidFill>
                    <a:prstClr val="white"/>
                  </a:solidFill>
                  <a:latin typeface="Arial"/>
                </a:endParaRPr>
              </a:p>
            </p:txBody>
          </p:sp>
          <p:sp>
            <p:nvSpPr>
              <p:cNvPr id="32" name="Freeform: Shape 31">
                <a:extLst>
                  <a:ext uri="{FF2B5EF4-FFF2-40B4-BE49-F238E27FC236}">
                    <a16:creationId xmlns:a16="http://schemas.microsoft.com/office/drawing/2014/main" id="{5394FF6A-70E8-4422-AD5D-50667AAC3D32}"/>
                  </a:ext>
                </a:extLst>
              </p:cNvPr>
              <p:cNvSpPr/>
              <p:nvPr/>
            </p:nvSpPr>
            <p:spPr>
              <a:xfrm>
                <a:off x="4570095" y="2569845"/>
                <a:ext cx="476250" cy="676275"/>
              </a:xfrm>
              <a:custGeom>
                <a:avLst/>
                <a:gdLst>
                  <a:gd name="connsiteX0" fmla="*/ 338138 w 476250"/>
                  <a:gd name="connsiteY0" fmla="*/ 0 h 676275"/>
                  <a:gd name="connsiteX1" fmla="*/ 338138 w 476250"/>
                  <a:gd name="connsiteY1" fmla="*/ 0 h 676275"/>
                  <a:gd name="connsiteX2" fmla="*/ 0 w 476250"/>
                  <a:gd name="connsiteY2" fmla="*/ 338138 h 676275"/>
                  <a:gd name="connsiteX3" fmla="*/ 0 w 476250"/>
                  <a:gd name="connsiteY3" fmla="*/ 478155 h 676275"/>
                  <a:gd name="connsiteX4" fmla="*/ 0 w 476250"/>
                  <a:gd name="connsiteY4" fmla="*/ 683895 h 676275"/>
                  <a:gd name="connsiteX5" fmla="*/ 478155 w 476250"/>
                  <a:gd name="connsiteY5" fmla="*/ 0 h 676275"/>
                  <a:gd name="connsiteX6" fmla="*/ 338138 w 476250"/>
                  <a:gd name="connsiteY6" fmla="*/ 0 h 676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0" h="676275">
                    <a:moveTo>
                      <a:pt x="338138" y="0"/>
                    </a:moveTo>
                    <a:cubicBezTo>
                      <a:pt x="338138" y="0"/>
                      <a:pt x="338138" y="0"/>
                      <a:pt x="338138" y="0"/>
                    </a:cubicBezTo>
                    <a:cubicBezTo>
                      <a:pt x="338138" y="186690"/>
                      <a:pt x="186690" y="338138"/>
                      <a:pt x="0" y="338138"/>
                    </a:cubicBezTo>
                    <a:lnTo>
                      <a:pt x="0" y="478155"/>
                    </a:lnTo>
                    <a:lnTo>
                      <a:pt x="0" y="683895"/>
                    </a:lnTo>
                    <a:cubicBezTo>
                      <a:pt x="402907" y="620077"/>
                      <a:pt x="512445" y="206692"/>
                      <a:pt x="478155" y="0"/>
                    </a:cubicBezTo>
                    <a:lnTo>
                      <a:pt x="338138" y="0"/>
                    </a:lnTo>
                    <a:close/>
                  </a:path>
                </a:pathLst>
              </a:custGeom>
              <a:gradFill>
                <a:gsLst>
                  <a:gs pos="0">
                    <a:schemeClr val="accent1"/>
                  </a:gs>
                  <a:gs pos="50000">
                    <a:schemeClr val="accent1">
                      <a:lumMod val="75000"/>
                    </a:schemeClr>
                  </a:gs>
                  <a:gs pos="100000">
                    <a:schemeClr val="accent1">
                      <a:lumMod val="50000"/>
                    </a:schemeClr>
                  </a:gs>
                </a:gsLst>
              </a:gradFill>
              <a:ln/>
            </p:spPr>
            <p:style>
              <a:lnRef idx="1">
                <a:schemeClr val="dk1"/>
              </a:lnRef>
              <a:fillRef idx="3">
                <a:schemeClr val="dk1"/>
              </a:fillRef>
              <a:effectRef idx="2">
                <a:schemeClr val="dk1"/>
              </a:effectRef>
              <a:fontRef idx="minor">
                <a:schemeClr val="lt1"/>
              </a:fontRef>
            </p:style>
            <p:txBody>
              <a:bodyPr rtlCol="0" anchor="ctr"/>
              <a:lstStyle/>
              <a:p>
                <a:pPr defTabSz="1219170"/>
                <a:endParaRPr lang="en-US" sz="2400">
                  <a:solidFill>
                    <a:prstClr val="white"/>
                  </a:solidFill>
                  <a:latin typeface="Arial"/>
                </a:endParaRPr>
              </a:p>
            </p:txBody>
          </p:sp>
        </p:grpSp>
      </p:grpSp>
      <p:grpSp>
        <p:nvGrpSpPr>
          <p:cNvPr id="21" name="Group 20">
            <a:extLst>
              <a:ext uri="{FF2B5EF4-FFF2-40B4-BE49-F238E27FC236}">
                <a16:creationId xmlns:a16="http://schemas.microsoft.com/office/drawing/2014/main" id="{45923682-104F-423A-887D-9D2913EBA3CA}"/>
              </a:ext>
            </a:extLst>
          </p:cNvPr>
          <p:cNvGrpSpPr/>
          <p:nvPr/>
        </p:nvGrpSpPr>
        <p:grpSpPr>
          <a:xfrm>
            <a:off x="5183101" y="1787784"/>
            <a:ext cx="1849777" cy="911725"/>
            <a:chOff x="-1908101" y="899002"/>
            <a:chExt cx="1533222" cy="755700"/>
          </a:xfrm>
        </p:grpSpPr>
        <p:pic>
          <p:nvPicPr>
            <p:cNvPr id="23" name="Picture 22">
              <a:extLst>
                <a:ext uri="{FF2B5EF4-FFF2-40B4-BE49-F238E27FC236}">
                  <a16:creationId xmlns:a16="http://schemas.microsoft.com/office/drawing/2014/main" id="{18D9F536-7DA0-42D3-9740-2A51031A4FFF}"/>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17710"/>
            <a:stretch/>
          </p:blipFill>
          <p:spPr>
            <a:xfrm>
              <a:off x="-1908101" y="1331409"/>
              <a:ext cx="1533222" cy="323293"/>
            </a:xfrm>
            <a:prstGeom prst="rect">
              <a:avLst/>
            </a:prstGeom>
          </p:spPr>
        </p:pic>
        <p:pic>
          <p:nvPicPr>
            <p:cNvPr id="24" name="Picture 23">
              <a:extLst>
                <a:ext uri="{FF2B5EF4-FFF2-40B4-BE49-F238E27FC236}">
                  <a16:creationId xmlns:a16="http://schemas.microsoft.com/office/drawing/2014/main" id="{9A2BDBBB-52BA-4AA4-B1DD-9DEFB42A5CE7}"/>
                </a:ext>
              </a:extLst>
            </p:cNvPr>
            <p:cNvPicPr>
              <a:picLocks noChangeAspect="1"/>
            </p:cNvPicPr>
            <p:nvPr/>
          </p:nvPicPr>
          <p:blipFill rotWithShape="1">
            <a:blip r:embed="rId13">
              <a:extLst>
                <a:ext uri="{28A0092B-C50C-407E-A947-70E740481C1C}">
                  <a14:useLocalDpi xmlns:a14="http://schemas.microsoft.com/office/drawing/2010/main" val="0"/>
                </a:ext>
              </a:extLst>
            </a:blip>
            <a:srcRect r="82007"/>
            <a:stretch/>
          </p:blipFill>
          <p:spPr>
            <a:xfrm>
              <a:off x="-1380802" y="899002"/>
              <a:ext cx="596652" cy="575384"/>
            </a:xfrm>
            <a:prstGeom prst="rect">
              <a:avLst/>
            </a:prstGeom>
          </p:spPr>
        </p:pic>
      </p:grpSp>
      <p:sp>
        <p:nvSpPr>
          <p:cNvPr id="2" name="TextBox 1"/>
          <p:cNvSpPr txBox="1"/>
          <p:nvPr/>
        </p:nvSpPr>
        <p:spPr>
          <a:xfrm>
            <a:off x="573607" y="5775354"/>
            <a:ext cx="4231287" cy="420564"/>
          </a:xfrm>
          <a:prstGeom prst="rect">
            <a:avLst/>
          </a:prstGeom>
          <a:solidFill>
            <a:srgbClr val="979797"/>
          </a:solidFill>
        </p:spPr>
        <p:txBody>
          <a:bodyPr wrap="square" rtlCol="0">
            <a:spAutoFit/>
          </a:bodyPr>
          <a:lstStyle/>
          <a:p>
            <a:pPr algn="ctr" defTabSz="1219170"/>
            <a:r>
              <a:rPr lang="en-US" sz="2133" b="1" dirty="0">
                <a:solidFill>
                  <a:srgbClr val="102B62">
                    <a:lumMod val="50000"/>
                  </a:srgbClr>
                </a:solidFill>
                <a:latin typeface="Arial"/>
              </a:rPr>
              <a:t>medicalcountermeasures.gov</a:t>
            </a:r>
            <a:endParaRPr lang="en-US" sz="2400" b="1" dirty="0">
              <a:solidFill>
                <a:srgbClr val="102B62">
                  <a:lumMod val="50000"/>
                </a:srgbClr>
              </a:solidFill>
              <a:latin typeface="Arial"/>
            </a:endParaRPr>
          </a:p>
        </p:txBody>
      </p:sp>
      <p:sp>
        <p:nvSpPr>
          <p:cNvPr id="13" name="Slide Number Placeholder 12">
            <a:extLst>
              <a:ext uri="{FF2B5EF4-FFF2-40B4-BE49-F238E27FC236}">
                <a16:creationId xmlns:a16="http://schemas.microsoft.com/office/drawing/2014/main" id="{66058A11-5B1D-4C24-B8DC-6CD188FB3394}"/>
              </a:ext>
            </a:extLst>
          </p:cNvPr>
          <p:cNvSpPr>
            <a:spLocks noGrp="1"/>
          </p:cNvSpPr>
          <p:nvPr>
            <p:ph type="sldNum" sz="quarter" idx="12"/>
          </p:nvPr>
        </p:nvSpPr>
        <p:spPr/>
        <p:txBody>
          <a:bodyPr/>
          <a:lstStyle/>
          <a:p>
            <a:fld id="{4FA07702-9C82-4FBE-B98C-E58879511A7A}" type="slidenum">
              <a:rPr lang="en-US" smtClean="0"/>
              <a:t>16</a:t>
            </a:fld>
            <a:endParaRPr lang="en-US"/>
          </a:p>
        </p:txBody>
      </p:sp>
    </p:spTree>
    <p:extLst>
      <p:ext uri="{BB962C8B-B14F-4D97-AF65-F5344CB8AC3E}">
        <p14:creationId xmlns:p14="http://schemas.microsoft.com/office/powerpoint/2010/main" val="27679022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CA7F13-191F-4862-8BE3-FDC0C6E3D96F}"/>
              </a:ext>
            </a:extLst>
          </p:cNvPr>
          <p:cNvSpPr>
            <a:spLocks noGrp="1"/>
          </p:cNvSpPr>
          <p:nvPr>
            <p:ph type="title"/>
          </p:nvPr>
        </p:nvSpPr>
        <p:spPr/>
        <p:txBody>
          <a:bodyPr>
            <a:normAutofit fontScale="90000"/>
          </a:bodyPr>
          <a:lstStyle/>
          <a:p>
            <a:pPr algn="ctr"/>
            <a:r>
              <a:rPr lang="en-US" dirty="0">
                <a:solidFill>
                  <a:schemeClr val="bg1"/>
                </a:solidFill>
              </a:rPr>
              <a:t>Agency-Wide Engagement with Developers</a:t>
            </a:r>
          </a:p>
        </p:txBody>
      </p:sp>
      <p:sp>
        <p:nvSpPr>
          <p:cNvPr id="3" name="Freeform: Shape 2">
            <a:extLst>
              <a:ext uri="{FF2B5EF4-FFF2-40B4-BE49-F238E27FC236}">
                <a16:creationId xmlns:a16="http://schemas.microsoft.com/office/drawing/2014/main" id="{C5B0AB56-D8B1-4C06-B80E-7DF132533DA2}"/>
              </a:ext>
            </a:extLst>
          </p:cNvPr>
          <p:cNvSpPr/>
          <p:nvPr/>
        </p:nvSpPr>
        <p:spPr>
          <a:xfrm>
            <a:off x="9341229" y="2986480"/>
            <a:ext cx="2139572" cy="1919208"/>
          </a:xfrm>
          <a:custGeom>
            <a:avLst/>
            <a:gdLst>
              <a:gd name="connsiteX0" fmla="*/ 1752656 w 1816616"/>
              <a:gd name="connsiteY0" fmla="*/ 497775 h 1629516"/>
              <a:gd name="connsiteX1" fmla="*/ 1577956 w 1816616"/>
              <a:gd name="connsiteY1" fmla="*/ 238662 h 1629516"/>
              <a:gd name="connsiteX2" fmla="*/ 1318844 w 1816616"/>
              <a:gd name="connsiteY2" fmla="*/ 63962 h 1629516"/>
              <a:gd name="connsiteX3" fmla="*/ 1001643 w 1816616"/>
              <a:gd name="connsiteY3" fmla="*/ 0 h 1629516"/>
              <a:gd name="connsiteX4" fmla="*/ 684442 w 1816616"/>
              <a:gd name="connsiteY4" fmla="*/ 63962 h 1629516"/>
              <a:gd name="connsiteX5" fmla="*/ 425329 w 1816616"/>
              <a:gd name="connsiteY5" fmla="*/ 238662 h 1629516"/>
              <a:gd name="connsiteX6" fmla="*/ 368982 w 1816616"/>
              <a:gd name="connsiteY6" fmla="*/ 301102 h 1629516"/>
              <a:gd name="connsiteX7" fmla="*/ 291748 w 1816616"/>
              <a:gd name="connsiteY7" fmla="*/ 414232 h 1629516"/>
              <a:gd name="connsiteX8" fmla="*/ 88766 w 1816616"/>
              <a:gd name="connsiteY8" fmla="*/ 319377 h 1629516"/>
              <a:gd name="connsiteX9" fmla="*/ 5876 w 1816616"/>
              <a:gd name="connsiteY9" fmla="*/ 349400 h 1629516"/>
              <a:gd name="connsiteX10" fmla="*/ 35899 w 1816616"/>
              <a:gd name="connsiteY10" fmla="*/ 432289 h 1629516"/>
              <a:gd name="connsiteX11" fmla="*/ 238881 w 1816616"/>
              <a:gd name="connsiteY11" fmla="*/ 527145 h 1629516"/>
              <a:gd name="connsiteX12" fmla="*/ 201461 w 1816616"/>
              <a:gd name="connsiteY12" fmla="*/ 658986 h 1629516"/>
              <a:gd name="connsiteX13" fmla="*/ 186667 w 1816616"/>
              <a:gd name="connsiteY13" fmla="*/ 814758 h 1629516"/>
              <a:gd name="connsiteX14" fmla="*/ 250629 w 1816616"/>
              <a:gd name="connsiteY14" fmla="*/ 1131959 h 1629516"/>
              <a:gd name="connsiteX15" fmla="*/ 425329 w 1816616"/>
              <a:gd name="connsiteY15" fmla="*/ 1391072 h 1629516"/>
              <a:gd name="connsiteX16" fmla="*/ 684442 w 1816616"/>
              <a:gd name="connsiteY16" fmla="*/ 1565771 h 1629516"/>
              <a:gd name="connsiteX17" fmla="*/ 1001643 w 1816616"/>
              <a:gd name="connsiteY17" fmla="*/ 1629734 h 1629516"/>
              <a:gd name="connsiteX18" fmla="*/ 1318844 w 1816616"/>
              <a:gd name="connsiteY18" fmla="*/ 1565771 h 1629516"/>
              <a:gd name="connsiteX19" fmla="*/ 1577956 w 1816616"/>
              <a:gd name="connsiteY19" fmla="*/ 1391072 h 1629516"/>
              <a:gd name="connsiteX20" fmla="*/ 1752656 w 1816616"/>
              <a:gd name="connsiteY20" fmla="*/ 1131959 h 1629516"/>
              <a:gd name="connsiteX21" fmla="*/ 1816618 w 1816616"/>
              <a:gd name="connsiteY21" fmla="*/ 814758 h 1629516"/>
              <a:gd name="connsiteX22" fmla="*/ 1752656 w 1816616"/>
              <a:gd name="connsiteY22" fmla="*/ 497775 h 1629516"/>
              <a:gd name="connsiteX23" fmla="*/ 1001860 w 1816616"/>
              <a:gd name="connsiteY23" fmla="*/ 1505073 h 1629516"/>
              <a:gd name="connsiteX24" fmla="*/ 311764 w 1816616"/>
              <a:gd name="connsiteY24" fmla="*/ 814976 h 1629516"/>
              <a:gd name="connsiteX25" fmla="*/ 319160 w 1816616"/>
              <a:gd name="connsiteY25" fmla="*/ 714028 h 1629516"/>
              <a:gd name="connsiteX26" fmla="*/ 352882 w 1816616"/>
              <a:gd name="connsiteY26" fmla="*/ 580447 h 1629516"/>
              <a:gd name="connsiteX27" fmla="*/ 405967 w 1816616"/>
              <a:gd name="connsiteY27" fmla="*/ 467317 h 1629516"/>
              <a:gd name="connsiteX28" fmla="*/ 487116 w 1816616"/>
              <a:gd name="connsiteY28" fmla="*/ 355926 h 1629516"/>
              <a:gd name="connsiteX29" fmla="*/ 1002295 w 1816616"/>
              <a:gd name="connsiteY29" fmla="*/ 124661 h 1629516"/>
              <a:gd name="connsiteX30" fmla="*/ 1692392 w 1816616"/>
              <a:gd name="connsiteY30" fmla="*/ 814758 h 1629516"/>
              <a:gd name="connsiteX31" fmla="*/ 1001860 w 1816616"/>
              <a:gd name="connsiteY31" fmla="*/ 1505073 h 1629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816616" h="1629516">
                <a:moveTo>
                  <a:pt x="1752656" y="497775"/>
                </a:moveTo>
                <a:cubicBezTo>
                  <a:pt x="1711538" y="400743"/>
                  <a:pt x="1652797" y="313502"/>
                  <a:pt x="1577956" y="238662"/>
                </a:cubicBezTo>
                <a:cubicBezTo>
                  <a:pt x="1503116" y="163822"/>
                  <a:pt x="1415875" y="105081"/>
                  <a:pt x="1318844" y="63962"/>
                </a:cubicBezTo>
                <a:cubicBezTo>
                  <a:pt x="1218331" y="21538"/>
                  <a:pt x="1111510" y="0"/>
                  <a:pt x="1001643" y="0"/>
                </a:cubicBezTo>
                <a:cubicBezTo>
                  <a:pt x="891558" y="0"/>
                  <a:pt x="784954" y="21538"/>
                  <a:pt x="684442" y="63962"/>
                </a:cubicBezTo>
                <a:cubicBezTo>
                  <a:pt x="587411" y="105081"/>
                  <a:pt x="500169" y="163822"/>
                  <a:pt x="425329" y="238662"/>
                </a:cubicBezTo>
                <a:cubicBezTo>
                  <a:pt x="405314" y="258678"/>
                  <a:pt x="386604" y="279346"/>
                  <a:pt x="368982" y="301102"/>
                </a:cubicBezTo>
                <a:cubicBezTo>
                  <a:pt x="340046" y="336564"/>
                  <a:pt x="314156" y="374419"/>
                  <a:pt x="291748" y="414232"/>
                </a:cubicBezTo>
                <a:lnTo>
                  <a:pt x="88766" y="319377"/>
                </a:lnTo>
                <a:cubicBezTo>
                  <a:pt x="57437" y="304800"/>
                  <a:pt x="20452" y="318289"/>
                  <a:pt x="5876" y="349400"/>
                </a:cubicBezTo>
                <a:cubicBezTo>
                  <a:pt x="-8701" y="380728"/>
                  <a:pt x="4788" y="417713"/>
                  <a:pt x="35899" y="432289"/>
                </a:cubicBezTo>
                <a:lnTo>
                  <a:pt x="238881" y="527145"/>
                </a:lnTo>
                <a:cubicBezTo>
                  <a:pt x="222564" y="570004"/>
                  <a:pt x="210164" y="614169"/>
                  <a:pt x="201461" y="658986"/>
                </a:cubicBezTo>
                <a:cubicBezTo>
                  <a:pt x="191671" y="709895"/>
                  <a:pt x="186667" y="761891"/>
                  <a:pt x="186667" y="814758"/>
                </a:cubicBezTo>
                <a:cubicBezTo>
                  <a:pt x="186667" y="924843"/>
                  <a:pt x="208205" y="1031447"/>
                  <a:pt x="250629" y="1131959"/>
                </a:cubicBezTo>
                <a:cubicBezTo>
                  <a:pt x="291748" y="1228990"/>
                  <a:pt x="350489" y="1316231"/>
                  <a:pt x="425329" y="1391072"/>
                </a:cubicBezTo>
                <a:cubicBezTo>
                  <a:pt x="500169" y="1465912"/>
                  <a:pt x="587411" y="1524653"/>
                  <a:pt x="684442" y="1565771"/>
                </a:cubicBezTo>
                <a:cubicBezTo>
                  <a:pt x="784954" y="1608195"/>
                  <a:pt x="891775" y="1629734"/>
                  <a:pt x="1001643" y="1629734"/>
                </a:cubicBezTo>
                <a:cubicBezTo>
                  <a:pt x="1111728" y="1629734"/>
                  <a:pt x="1218331" y="1608195"/>
                  <a:pt x="1318844" y="1565771"/>
                </a:cubicBezTo>
                <a:cubicBezTo>
                  <a:pt x="1415875" y="1524653"/>
                  <a:pt x="1503116" y="1465912"/>
                  <a:pt x="1577956" y="1391072"/>
                </a:cubicBezTo>
                <a:cubicBezTo>
                  <a:pt x="1652797" y="1316231"/>
                  <a:pt x="1711538" y="1228990"/>
                  <a:pt x="1752656" y="1131959"/>
                </a:cubicBezTo>
                <a:cubicBezTo>
                  <a:pt x="1795080" y="1031447"/>
                  <a:pt x="1816618" y="924625"/>
                  <a:pt x="1816618" y="814758"/>
                </a:cubicBezTo>
                <a:cubicBezTo>
                  <a:pt x="1816618" y="704891"/>
                  <a:pt x="1795298" y="598287"/>
                  <a:pt x="1752656" y="497775"/>
                </a:cubicBezTo>
                <a:close/>
                <a:moveTo>
                  <a:pt x="1001860" y="1505073"/>
                </a:moveTo>
                <a:cubicBezTo>
                  <a:pt x="621350" y="1505073"/>
                  <a:pt x="311764" y="1195486"/>
                  <a:pt x="311764" y="814976"/>
                </a:cubicBezTo>
                <a:cubicBezTo>
                  <a:pt x="311764" y="780601"/>
                  <a:pt x="314374" y="747097"/>
                  <a:pt x="319160" y="714028"/>
                </a:cubicBezTo>
                <a:cubicBezTo>
                  <a:pt x="325905" y="667906"/>
                  <a:pt x="337218" y="623306"/>
                  <a:pt x="352882" y="580447"/>
                </a:cubicBezTo>
                <a:cubicBezTo>
                  <a:pt x="367241" y="541069"/>
                  <a:pt x="384863" y="503214"/>
                  <a:pt x="405967" y="467317"/>
                </a:cubicBezTo>
                <a:cubicBezTo>
                  <a:pt x="429245" y="427503"/>
                  <a:pt x="456440" y="390083"/>
                  <a:pt x="487116" y="355926"/>
                </a:cubicBezTo>
                <a:cubicBezTo>
                  <a:pt x="613518" y="214078"/>
                  <a:pt x="797573" y="124661"/>
                  <a:pt x="1002295" y="124661"/>
                </a:cubicBezTo>
                <a:cubicBezTo>
                  <a:pt x="1382806" y="124661"/>
                  <a:pt x="1692392" y="434248"/>
                  <a:pt x="1692392" y="814758"/>
                </a:cubicBezTo>
                <a:cubicBezTo>
                  <a:pt x="1692392" y="1195269"/>
                  <a:pt x="1382371" y="1505073"/>
                  <a:pt x="1001860" y="1505073"/>
                </a:cubicBezTo>
                <a:close/>
              </a:path>
            </a:pathLst>
          </a:custGeom>
          <a:solidFill>
            <a:srgbClr val="6481B0"/>
          </a:solidFill>
          <a:ln w="2176" cap="flat">
            <a:noFill/>
            <a:prstDash val="solid"/>
            <a:miter/>
          </a:ln>
          <a:effectLst/>
        </p:spPr>
        <p:txBody>
          <a:bodyPr rtlCol="0" anchor="ctr"/>
          <a:lstStyle/>
          <a:p>
            <a:pPr defTabSz="1219170"/>
            <a:endParaRPr lang="en-US" sz="2400">
              <a:solidFill>
                <a:srgbClr val="102B62"/>
              </a:solidFill>
              <a:latin typeface="Arial"/>
            </a:endParaRPr>
          </a:p>
        </p:txBody>
      </p:sp>
      <p:grpSp>
        <p:nvGrpSpPr>
          <p:cNvPr id="4" name="Graphic 4">
            <a:extLst>
              <a:ext uri="{FF2B5EF4-FFF2-40B4-BE49-F238E27FC236}">
                <a16:creationId xmlns:a16="http://schemas.microsoft.com/office/drawing/2014/main" id="{0E8189F0-B453-42CA-95D5-BF920B8A8329}"/>
              </a:ext>
            </a:extLst>
          </p:cNvPr>
          <p:cNvGrpSpPr/>
          <p:nvPr/>
        </p:nvGrpSpPr>
        <p:grpSpPr>
          <a:xfrm>
            <a:off x="7128734" y="1952311"/>
            <a:ext cx="2357372" cy="1919208"/>
            <a:chOff x="5448848" y="1317523"/>
            <a:chExt cx="2001542" cy="1629516"/>
          </a:xfrm>
          <a:solidFill>
            <a:srgbClr val="4D5872"/>
          </a:solidFill>
          <a:effectLst/>
        </p:grpSpPr>
        <p:sp>
          <p:nvSpPr>
            <p:cNvPr id="5" name="Freeform: Shape 4">
              <a:extLst>
                <a:ext uri="{FF2B5EF4-FFF2-40B4-BE49-F238E27FC236}">
                  <a16:creationId xmlns:a16="http://schemas.microsoft.com/office/drawing/2014/main" id="{F55D86A0-40A7-4F61-A5E8-73E3B3AC7C51}"/>
                </a:ext>
              </a:extLst>
            </p:cNvPr>
            <p:cNvSpPr/>
            <p:nvPr/>
          </p:nvSpPr>
          <p:spPr>
            <a:xfrm>
              <a:off x="5448848" y="1317523"/>
              <a:ext cx="1814441" cy="1316231"/>
            </a:xfrm>
            <a:custGeom>
              <a:avLst/>
              <a:gdLst>
                <a:gd name="connsiteX0" fmla="*/ 352577 w 1814441"/>
                <a:gd name="connsiteY0" fmla="*/ 1049504 h 1316231"/>
                <a:gd name="connsiteX1" fmla="*/ 318856 w 1814441"/>
                <a:gd name="connsiteY1" fmla="*/ 915923 h 1316231"/>
                <a:gd name="connsiteX2" fmla="*/ 318856 w 1814441"/>
                <a:gd name="connsiteY2" fmla="*/ 915923 h 1316231"/>
                <a:gd name="connsiteX3" fmla="*/ 311458 w 1814441"/>
                <a:gd name="connsiteY3" fmla="*/ 814976 h 1316231"/>
                <a:gd name="connsiteX4" fmla="*/ 1001555 w 1814441"/>
                <a:gd name="connsiteY4" fmla="*/ 124879 h 1316231"/>
                <a:gd name="connsiteX5" fmla="*/ 1691652 w 1814441"/>
                <a:gd name="connsiteY5" fmla="*/ 814976 h 1316231"/>
                <a:gd name="connsiteX6" fmla="*/ 1684255 w 1814441"/>
                <a:gd name="connsiteY6" fmla="*/ 915923 h 1316231"/>
                <a:gd name="connsiteX7" fmla="*/ 1801737 w 1814441"/>
                <a:gd name="connsiteY7" fmla="*/ 970748 h 1316231"/>
                <a:gd name="connsiteX8" fmla="*/ 1816531 w 1814441"/>
                <a:gd name="connsiteY8" fmla="*/ 814976 h 1316231"/>
                <a:gd name="connsiteX9" fmla="*/ 1752569 w 1814441"/>
                <a:gd name="connsiteY9" fmla="*/ 497775 h 1316231"/>
                <a:gd name="connsiteX10" fmla="*/ 1577869 w 1814441"/>
                <a:gd name="connsiteY10" fmla="*/ 238662 h 1316231"/>
                <a:gd name="connsiteX11" fmla="*/ 1318756 w 1814441"/>
                <a:gd name="connsiteY11" fmla="*/ 63962 h 1316231"/>
                <a:gd name="connsiteX12" fmla="*/ 1001773 w 1814441"/>
                <a:gd name="connsiteY12" fmla="*/ 0 h 1316231"/>
                <a:gd name="connsiteX13" fmla="*/ 684572 w 1814441"/>
                <a:gd name="connsiteY13" fmla="*/ 63962 h 1316231"/>
                <a:gd name="connsiteX14" fmla="*/ 425459 w 1814441"/>
                <a:gd name="connsiteY14" fmla="*/ 238662 h 1316231"/>
                <a:gd name="connsiteX15" fmla="*/ 250759 w 1814441"/>
                <a:gd name="connsiteY15" fmla="*/ 497775 h 1316231"/>
                <a:gd name="connsiteX16" fmla="*/ 186797 w 1814441"/>
                <a:gd name="connsiteY16" fmla="*/ 814976 h 1316231"/>
                <a:gd name="connsiteX17" fmla="*/ 201591 w 1814441"/>
                <a:gd name="connsiteY17" fmla="*/ 970748 h 1316231"/>
                <a:gd name="connsiteX18" fmla="*/ 239011 w 1814441"/>
                <a:gd name="connsiteY18" fmla="*/ 1102588 h 1316231"/>
                <a:gd name="connsiteX19" fmla="*/ 205942 w 1814441"/>
                <a:gd name="connsiteY19" fmla="*/ 1118035 h 1316231"/>
                <a:gd name="connsiteX20" fmla="*/ 36029 w 1814441"/>
                <a:gd name="connsiteY20" fmla="*/ 1197444 h 1316231"/>
                <a:gd name="connsiteX21" fmla="*/ 6006 w 1814441"/>
                <a:gd name="connsiteY21" fmla="*/ 1280334 h 1316231"/>
                <a:gd name="connsiteX22" fmla="*/ 62571 w 1814441"/>
                <a:gd name="connsiteY22" fmla="*/ 1316449 h 1316231"/>
                <a:gd name="connsiteX23" fmla="*/ 88895 w 1814441"/>
                <a:gd name="connsiteY23" fmla="*/ 1310575 h 1316231"/>
                <a:gd name="connsiteX24" fmla="*/ 258809 w 1814441"/>
                <a:gd name="connsiteY24" fmla="*/ 1231166 h 1316231"/>
                <a:gd name="connsiteX25" fmla="*/ 291661 w 1814441"/>
                <a:gd name="connsiteY25" fmla="*/ 1215719 h 1316231"/>
                <a:gd name="connsiteX26" fmla="*/ 405444 w 1814441"/>
                <a:gd name="connsiteY26" fmla="*/ 1162635 h 1316231"/>
                <a:gd name="connsiteX27" fmla="*/ 352577 w 1814441"/>
                <a:gd name="connsiteY27" fmla="*/ 1049504 h 1316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814441" h="1316231">
                  <a:moveTo>
                    <a:pt x="352577" y="1049504"/>
                  </a:moveTo>
                  <a:cubicBezTo>
                    <a:pt x="337130" y="1006863"/>
                    <a:pt x="325600" y="962045"/>
                    <a:pt x="318856" y="915923"/>
                  </a:cubicBezTo>
                  <a:lnTo>
                    <a:pt x="318856" y="915923"/>
                  </a:lnTo>
                  <a:cubicBezTo>
                    <a:pt x="314069" y="883072"/>
                    <a:pt x="311458" y="849350"/>
                    <a:pt x="311458" y="814976"/>
                  </a:cubicBezTo>
                  <a:cubicBezTo>
                    <a:pt x="311458" y="434465"/>
                    <a:pt x="621045" y="124879"/>
                    <a:pt x="1001555" y="124879"/>
                  </a:cubicBezTo>
                  <a:cubicBezTo>
                    <a:pt x="1382066" y="124879"/>
                    <a:pt x="1691652" y="434465"/>
                    <a:pt x="1691652" y="814976"/>
                  </a:cubicBezTo>
                  <a:cubicBezTo>
                    <a:pt x="1691652" y="849350"/>
                    <a:pt x="1689041" y="883072"/>
                    <a:pt x="1684255" y="915923"/>
                  </a:cubicBezTo>
                  <a:lnTo>
                    <a:pt x="1801737" y="970748"/>
                  </a:lnTo>
                  <a:cubicBezTo>
                    <a:pt x="1811527" y="919839"/>
                    <a:pt x="1816531" y="867842"/>
                    <a:pt x="1816531" y="814976"/>
                  </a:cubicBezTo>
                  <a:cubicBezTo>
                    <a:pt x="1816531" y="704891"/>
                    <a:pt x="1794993" y="598287"/>
                    <a:pt x="1752569" y="497775"/>
                  </a:cubicBezTo>
                  <a:cubicBezTo>
                    <a:pt x="1711450" y="400743"/>
                    <a:pt x="1652709" y="313502"/>
                    <a:pt x="1577869" y="238662"/>
                  </a:cubicBezTo>
                  <a:cubicBezTo>
                    <a:pt x="1503028" y="163822"/>
                    <a:pt x="1415787" y="105081"/>
                    <a:pt x="1318756" y="63962"/>
                  </a:cubicBezTo>
                  <a:cubicBezTo>
                    <a:pt x="1218462" y="21538"/>
                    <a:pt x="1111858" y="0"/>
                    <a:pt x="1001773" y="0"/>
                  </a:cubicBezTo>
                  <a:cubicBezTo>
                    <a:pt x="891688" y="0"/>
                    <a:pt x="785084" y="21538"/>
                    <a:pt x="684572" y="63962"/>
                  </a:cubicBezTo>
                  <a:cubicBezTo>
                    <a:pt x="587541" y="105081"/>
                    <a:pt x="500299" y="163822"/>
                    <a:pt x="425459" y="238662"/>
                  </a:cubicBezTo>
                  <a:cubicBezTo>
                    <a:pt x="350619" y="313502"/>
                    <a:pt x="291878" y="400743"/>
                    <a:pt x="250759" y="497775"/>
                  </a:cubicBezTo>
                  <a:cubicBezTo>
                    <a:pt x="208335" y="598287"/>
                    <a:pt x="186797" y="705108"/>
                    <a:pt x="186797" y="814976"/>
                  </a:cubicBezTo>
                  <a:cubicBezTo>
                    <a:pt x="186797" y="867842"/>
                    <a:pt x="191801" y="919839"/>
                    <a:pt x="201591" y="970748"/>
                  </a:cubicBezTo>
                  <a:cubicBezTo>
                    <a:pt x="210293" y="1015565"/>
                    <a:pt x="222694" y="1059512"/>
                    <a:pt x="239011" y="1102588"/>
                  </a:cubicBezTo>
                  <a:lnTo>
                    <a:pt x="205942" y="1118035"/>
                  </a:lnTo>
                  <a:lnTo>
                    <a:pt x="36029" y="1197444"/>
                  </a:lnTo>
                  <a:cubicBezTo>
                    <a:pt x="4700" y="1212021"/>
                    <a:pt x="-8788" y="1249223"/>
                    <a:pt x="6006" y="1280334"/>
                  </a:cubicBezTo>
                  <a:cubicBezTo>
                    <a:pt x="16666" y="1302960"/>
                    <a:pt x="39075" y="1316449"/>
                    <a:pt x="62571" y="1316449"/>
                  </a:cubicBezTo>
                  <a:cubicBezTo>
                    <a:pt x="71491" y="1316449"/>
                    <a:pt x="80411" y="1314491"/>
                    <a:pt x="88895" y="1310575"/>
                  </a:cubicBezTo>
                  <a:lnTo>
                    <a:pt x="258809" y="1231166"/>
                  </a:lnTo>
                  <a:lnTo>
                    <a:pt x="291661" y="1215719"/>
                  </a:lnTo>
                  <a:lnTo>
                    <a:pt x="405444" y="1162635"/>
                  </a:lnTo>
                  <a:cubicBezTo>
                    <a:pt x="384775" y="1126738"/>
                    <a:pt x="366936" y="1089100"/>
                    <a:pt x="352577" y="1049504"/>
                  </a:cubicBezTo>
                  <a:close/>
                </a:path>
              </a:pathLst>
            </a:custGeom>
            <a:solidFill>
              <a:srgbClr val="4D5872"/>
            </a:solidFill>
            <a:ln w="2176" cap="flat">
              <a:noFill/>
              <a:prstDash val="solid"/>
              <a:miter/>
            </a:ln>
          </p:spPr>
          <p:txBody>
            <a:bodyPr rtlCol="0" anchor="ctr"/>
            <a:lstStyle/>
            <a:p>
              <a:pPr defTabSz="1219170"/>
              <a:endParaRPr lang="en-US" sz="2400">
                <a:solidFill>
                  <a:srgbClr val="102B62"/>
                </a:solidFill>
                <a:latin typeface="Arial"/>
              </a:endParaRPr>
            </a:p>
          </p:txBody>
        </p:sp>
        <p:sp>
          <p:nvSpPr>
            <p:cNvPr id="6" name="Freeform: Shape 5">
              <a:extLst>
                <a:ext uri="{FF2B5EF4-FFF2-40B4-BE49-F238E27FC236}">
                  <a16:creationId xmlns:a16="http://schemas.microsoft.com/office/drawing/2014/main" id="{CAE2A48C-EE1B-464C-8305-09D953554459}"/>
                </a:ext>
              </a:extLst>
            </p:cNvPr>
            <p:cNvSpPr/>
            <p:nvPr/>
          </p:nvSpPr>
          <p:spPr>
            <a:xfrm>
              <a:off x="5817525" y="2367027"/>
              <a:ext cx="1633867" cy="578707"/>
            </a:xfrm>
            <a:custGeom>
              <a:avLst/>
              <a:gdLst>
                <a:gd name="connsiteX0" fmla="*/ 1598840 w 1633867"/>
                <a:gd name="connsiteY0" fmla="*/ 147940 h 578706"/>
                <a:gd name="connsiteX1" fmla="*/ 1428927 w 1633867"/>
                <a:gd name="connsiteY1" fmla="*/ 68531 h 578706"/>
                <a:gd name="connsiteX2" fmla="*/ 1395858 w 1633867"/>
                <a:gd name="connsiteY2" fmla="*/ 53084 h 578706"/>
                <a:gd name="connsiteX3" fmla="*/ 1282292 w 1633867"/>
                <a:gd name="connsiteY3" fmla="*/ 0 h 578706"/>
                <a:gd name="connsiteX4" fmla="*/ 1229208 w 1633867"/>
                <a:gd name="connsiteY4" fmla="*/ 113131 h 578706"/>
                <a:gd name="connsiteX5" fmla="*/ 1148058 w 1633867"/>
                <a:gd name="connsiteY5" fmla="*/ 224521 h 578706"/>
                <a:gd name="connsiteX6" fmla="*/ 632879 w 1633867"/>
                <a:gd name="connsiteY6" fmla="*/ 455786 h 578706"/>
                <a:gd name="connsiteX7" fmla="*/ 117700 w 1633867"/>
                <a:gd name="connsiteY7" fmla="*/ 224521 h 578706"/>
                <a:gd name="connsiteX8" fmla="*/ 0 w 1633867"/>
                <a:gd name="connsiteY8" fmla="*/ 279563 h 578706"/>
                <a:gd name="connsiteX9" fmla="*/ 56348 w 1633867"/>
                <a:gd name="connsiteY9" fmla="*/ 342003 h 578706"/>
                <a:gd name="connsiteX10" fmla="*/ 315460 w 1633867"/>
                <a:gd name="connsiteY10" fmla="*/ 516702 h 578706"/>
                <a:gd name="connsiteX11" fmla="*/ 632661 w 1633867"/>
                <a:gd name="connsiteY11" fmla="*/ 580665 h 578706"/>
                <a:gd name="connsiteX12" fmla="*/ 949862 w 1633867"/>
                <a:gd name="connsiteY12" fmla="*/ 516702 h 578706"/>
                <a:gd name="connsiteX13" fmla="*/ 1208975 w 1633867"/>
                <a:gd name="connsiteY13" fmla="*/ 342003 h 578706"/>
                <a:gd name="connsiteX14" fmla="*/ 1265323 w 1633867"/>
                <a:gd name="connsiteY14" fmla="*/ 279563 h 578706"/>
                <a:gd name="connsiteX15" fmla="*/ 1342556 w 1633867"/>
                <a:gd name="connsiteY15" fmla="*/ 166433 h 578706"/>
                <a:gd name="connsiteX16" fmla="*/ 1375407 w 1633867"/>
                <a:gd name="connsiteY16" fmla="*/ 181879 h 578706"/>
                <a:gd name="connsiteX17" fmla="*/ 1545321 w 1633867"/>
                <a:gd name="connsiteY17" fmla="*/ 261288 h 578706"/>
                <a:gd name="connsiteX18" fmla="*/ 1571645 w 1633867"/>
                <a:gd name="connsiteY18" fmla="*/ 267162 h 578706"/>
                <a:gd name="connsiteX19" fmla="*/ 1628211 w 1633867"/>
                <a:gd name="connsiteY19" fmla="*/ 231048 h 578706"/>
                <a:gd name="connsiteX20" fmla="*/ 1598840 w 1633867"/>
                <a:gd name="connsiteY20" fmla="*/ 147940 h 57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33867" h="578706">
                  <a:moveTo>
                    <a:pt x="1598840" y="147940"/>
                  </a:moveTo>
                  <a:lnTo>
                    <a:pt x="1428927" y="68531"/>
                  </a:lnTo>
                  <a:lnTo>
                    <a:pt x="1395858" y="53084"/>
                  </a:lnTo>
                  <a:lnTo>
                    <a:pt x="1282292" y="0"/>
                  </a:lnTo>
                  <a:cubicBezTo>
                    <a:pt x="1267933" y="39378"/>
                    <a:pt x="1250311" y="77233"/>
                    <a:pt x="1229208" y="113131"/>
                  </a:cubicBezTo>
                  <a:cubicBezTo>
                    <a:pt x="1205929" y="152944"/>
                    <a:pt x="1178734" y="190364"/>
                    <a:pt x="1148058" y="224521"/>
                  </a:cubicBezTo>
                  <a:cubicBezTo>
                    <a:pt x="1021657" y="366369"/>
                    <a:pt x="837602" y="455786"/>
                    <a:pt x="632879" y="455786"/>
                  </a:cubicBezTo>
                  <a:cubicBezTo>
                    <a:pt x="428373" y="455786"/>
                    <a:pt x="244319" y="366369"/>
                    <a:pt x="117700" y="224521"/>
                  </a:cubicBezTo>
                  <a:lnTo>
                    <a:pt x="0" y="279563"/>
                  </a:lnTo>
                  <a:cubicBezTo>
                    <a:pt x="17622" y="301319"/>
                    <a:pt x="36332" y="321987"/>
                    <a:pt x="56348" y="342003"/>
                  </a:cubicBezTo>
                  <a:cubicBezTo>
                    <a:pt x="131188" y="416843"/>
                    <a:pt x="218429" y="475584"/>
                    <a:pt x="315460" y="516702"/>
                  </a:cubicBezTo>
                  <a:cubicBezTo>
                    <a:pt x="415973" y="559126"/>
                    <a:pt x="522794" y="580665"/>
                    <a:pt x="632661" y="580665"/>
                  </a:cubicBezTo>
                  <a:cubicBezTo>
                    <a:pt x="742746" y="580665"/>
                    <a:pt x="849350" y="559126"/>
                    <a:pt x="949862" y="516702"/>
                  </a:cubicBezTo>
                  <a:cubicBezTo>
                    <a:pt x="1046893" y="475584"/>
                    <a:pt x="1134135" y="416843"/>
                    <a:pt x="1208975" y="342003"/>
                  </a:cubicBezTo>
                  <a:cubicBezTo>
                    <a:pt x="1228990" y="321987"/>
                    <a:pt x="1247700" y="301319"/>
                    <a:pt x="1265323" y="279563"/>
                  </a:cubicBezTo>
                  <a:cubicBezTo>
                    <a:pt x="1294258" y="244101"/>
                    <a:pt x="1320147" y="206246"/>
                    <a:pt x="1342556" y="166433"/>
                  </a:cubicBezTo>
                  <a:lnTo>
                    <a:pt x="1375407" y="181879"/>
                  </a:lnTo>
                  <a:lnTo>
                    <a:pt x="1545321" y="261288"/>
                  </a:lnTo>
                  <a:cubicBezTo>
                    <a:pt x="1553806" y="265204"/>
                    <a:pt x="1562943" y="267162"/>
                    <a:pt x="1571645" y="267162"/>
                  </a:cubicBezTo>
                  <a:cubicBezTo>
                    <a:pt x="1595142" y="267162"/>
                    <a:pt x="1617550" y="253891"/>
                    <a:pt x="1628211" y="231048"/>
                  </a:cubicBezTo>
                  <a:cubicBezTo>
                    <a:pt x="1643440" y="199719"/>
                    <a:pt x="1629951" y="162516"/>
                    <a:pt x="1598840" y="147940"/>
                  </a:cubicBezTo>
                  <a:close/>
                </a:path>
              </a:pathLst>
            </a:custGeom>
            <a:solidFill>
              <a:srgbClr val="4D5872"/>
            </a:solidFill>
            <a:ln w="2176" cap="flat">
              <a:noFill/>
              <a:prstDash val="solid"/>
              <a:miter/>
            </a:ln>
          </p:spPr>
          <p:txBody>
            <a:bodyPr rtlCol="0" anchor="ctr"/>
            <a:lstStyle/>
            <a:p>
              <a:pPr defTabSz="1219170"/>
              <a:endParaRPr lang="en-US" sz="2400">
                <a:solidFill>
                  <a:srgbClr val="102B62"/>
                </a:solidFill>
                <a:latin typeface="Arial"/>
              </a:endParaRPr>
            </a:p>
          </p:txBody>
        </p:sp>
      </p:grpSp>
      <p:grpSp>
        <p:nvGrpSpPr>
          <p:cNvPr id="7" name="Graphic 4">
            <a:extLst>
              <a:ext uri="{FF2B5EF4-FFF2-40B4-BE49-F238E27FC236}">
                <a16:creationId xmlns:a16="http://schemas.microsoft.com/office/drawing/2014/main" id="{66150482-1BDC-4C4B-9CEE-9BD4F0D8A2A4}"/>
              </a:ext>
            </a:extLst>
          </p:cNvPr>
          <p:cNvGrpSpPr/>
          <p:nvPr/>
        </p:nvGrpSpPr>
        <p:grpSpPr>
          <a:xfrm>
            <a:off x="4916802" y="2986223"/>
            <a:ext cx="2357372" cy="1919208"/>
            <a:chOff x="3570793" y="2195373"/>
            <a:chExt cx="2001542" cy="1629516"/>
          </a:xfrm>
          <a:solidFill>
            <a:srgbClr val="00ADB5"/>
          </a:solidFill>
          <a:effectLst/>
        </p:grpSpPr>
        <p:sp>
          <p:nvSpPr>
            <p:cNvPr id="8" name="Freeform: Shape 7">
              <a:extLst>
                <a:ext uri="{FF2B5EF4-FFF2-40B4-BE49-F238E27FC236}">
                  <a16:creationId xmlns:a16="http://schemas.microsoft.com/office/drawing/2014/main" id="{1A0FE7D3-39E1-4A50-9918-8F07DDAE4C99}"/>
                </a:ext>
              </a:extLst>
            </p:cNvPr>
            <p:cNvSpPr/>
            <p:nvPr/>
          </p:nvSpPr>
          <p:spPr>
            <a:xfrm>
              <a:off x="3570793" y="2195373"/>
              <a:ext cx="1633867" cy="578707"/>
            </a:xfrm>
            <a:custGeom>
              <a:avLst/>
              <a:gdLst>
                <a:gd name="connsiteX0" fmla="*/ 238446 w 1633867"/>
                <a:gd name="connsiteY0" fmla="*/ 527580 h 578706"/>
                <a:gd name="connsiteX1" fmla="*/ 352012 w 1633867"/>
                <a:gd name="connsiteY1" fmla="*/ 580665 h 578706"/>
                <a:gd name="connsiteX2" fmla="*/ 405096 w 1633867"/>
                <a:gd name="connsiteY2" fmla="*/ 467534 h 578706"/>
                <a:gd name="connsiteX3" fmla="*/ 486246 w 1633867"/>
                <a:gd name="connsiteY3" fmla="*/ 356144 h 578706"/>
                <a:gd name="connsiteX4" fmla="*/ 1001425 w 1633867"/>
                <a:gd name="connsiteY4" fmla="*/ 124879 h 578706"/>
                <a:gd name="connsiteX5" fmla="*/ 1516604 w 1633867"/>
                <a:gd name="connsiteY5" fmla="*/ 356144 h 578706"/>
                <a:gd name="connsiteX6" fmla="*/ 1634304 w 1633867"/>
                <a:gd name="connsiteY6" fmla="*/ 301102 h 578706"/>
                <a:gd name="connsiteX7" fmla="*/ 1577956 w 1633867"/>
                <a:gd name="connsiteY7" fmla="*/ 238662 h 578706"/>
                <a:gd name="connsiteX8" fmla="*/ 1318844 w 1633867"/>
                <a:gd name="connsiteY8" fmla="*/ 63962 h 578706"/>
                <a:gd name="connsiteX9" fmla="*/ 1001643 w 1633867"/>
                <a:gd name="connsiteY9" fmla="*/ 0 h 578706"/>
                <a:gd name="connsiteX10" fmla="*/ 684442 w 1633867"/>
                <a:gd name="connsiteY10" fmla="*/ 63962 h 578706"/>
                <a:gd name="connsiteX11" fmla="*/ 425329 w 1633867"/>
                <a:gd name="connsiteY11" fmla="*/ 238662 h 578706"/>
                <a:gd name="connsiteX12" fmla="*/ 368981 w 1633867"/>
                <a:gd name="connsiteY12" fmla="*/ 301102 h 578706"/>
                <a:gd name="connsiteX13" fmla="*/ 291748 w 1633867"/>
                <a:gd name="connsiteY13" fmla="*/ 414232 h 578706"/>
                <a:gd name="connsiteX14" fmla="*/ 258679 w 1633867"/>
                <a:gd name="connsiteY14" fmla="*/ 398785 h 578706"/>
                <a:gd name="connsiteX15" fmla="*/ 88765 w 1633867"/>
                <a:gd name="connsiteY15" fmla="*/ 319376 h 578706"/>
                <a:gd name="connsiteX16" fmla="*/ 5876 w 1633867"/>
                <a:gd name="connsiteY16" fmla="*/ 349400 h 578706"/>
                <a:gd name="connsiteX17" fmla="*/ 35899 w 1633867"/>
                <a:gd name="connsiteY17" fmla="*/ 432290 h 578706"/>
                <a:gd name="connsiteX18" fmla="*/ 205812 w 1633867"/>
                <a:gd name="connsiteY18" fmla="*/ 511699 h 578706"/>
                <a:gd name="connsiteX19" fmla="*/ 238446 w 1633867"/>
                <a:gd name="connsiteY19" fmla="*/ 527580 h 57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33867" h="578706">
                  <a:moveTo>
                    <a:pt x="238446" y="527580"/>
                  </a:moveTo>
                  <a:lnTo>
                    <a:pt x="352012" y="580665"/>
                  </a:lnTo>
                  <a:cubicBezTo>
                    <a:pt x="366371" y="541287"/>
                    <a:pt x="383993" y="503431"/>
                    <a:pt x="405096" y="467534"/>
                  </a:cubicBezTo>
                  <a:cubicBezTo>
                    <a:pt x="428375" y="427721"/>
                    <a:pt x="455570" y="390301"/>
                    <a:pt x="486246" y="356144"/>
                  </a:cubicBezTo>
                  <a:cubicBezTo>
                    <a:pt x="612647" y="214296"/>
                    <a:pt x="796702" y="124879"/>
                    <a:pt x="1001425" y="124879"/>
                  </a:cubicBezTo>
                  <a:cubicBezTo>
                    <a:pt x="1205931" y="124879"/>
                    <a:pt x="1389985" y="214296"/>
                    <a:pt x="1516604" y="356144"/>
                  </a:cubicBezTo>
                  <a:lnTo>
                    <a:pt x="1634304" y="301102"/>
                  </a:lnTo>
                  <a:cubicBezTo>
                    <a:pt x="1616681" y="279346"/>
                    <a:pt x="1597972" y="258678"/>
                    <a:pt x="1577956" y="238662"/>
                  </a:cubicBezTo>
                  <a:cubicBezTo>
                    <a:pt x="1503116" y="163822"/>
                    <a:pt x="1415875" y="105081"/>
                    <a:pt x="1318844" y="63962"/>
                  </a:cubicBezTo>
                  <a:cubicBezTo>
                    <a:pt x="1218331" y="21538"/>
                    <a:pt x="1111510" y="0"/>
                    <a:pt x="1001643" y="0"/>
                  </a:cubicBezTo>
                  <a:cubicBezTo>
                    <a:pt x="891558" y="0"/>
                    <a:pt x="784954" y="21538"/>
                    <a:pt x="684442" y="63962"/>
                  </a:cubicBezTo>
                  <a:cubicBezTo>
                    <a:pt x="587411" y="105081"/>
                    <a:pt x="500169" y="163822"/>
                    <a:pt x="425329" y="238662"/>
                  </a:cubicBezTo>
                  <a:cubicBezTo>
                    <a:pt x="405314" y="258678"/>
                    <a:pt x="386604" y="279346"/>
                    <a:pt x="368981" y="301102"/>
                  </a:cubicBezTo>
                  <a:cubicBezTo>
                    <a:pt x="340046" y="336564"/>
                    <a:pt x="314156" y="374419"/>
                    <a:pt x="291748" y="414232"/>
                  </a:cubicBezTo>
                  <a:lnTo>
                    <a:pt x="258679" y="398785"/>
                  </a:lnTo>
                  <a:lnTo>
                    <a:pt x="88765" y="319376"/>
                  </a:lnTo>
                  <a:cubicBezTo>
                    <a:pt x="57437" y="304800"/>
                    <a:pt x="20452" y="318289"/>
                    <a:pt x="5876" y="349400"/>
                  </a:cubicBezTo>
                  <a:cubicBezTo>
                    <a:pt x="-8701" y="380728"/>
                    <a:pt x="4788" y="417713"/>
                    <a:pt x="35899" y="432290"/>
                  </a:cubicBezTo>
                  <a:lnTo>
                    <a:pt x="205812" y="511699"/>
                  </a:lnTo>
                  <a:lnTo>
                    <a:pt x="238446" y="527580"/>
                  </a:lnTo>
                  <a:close/>
                </a:path>
              </a:pathLst>
            </a:custGeom>
            <a:solidFill>
              <a:srgbClr val="00ADB5"/>
            </a:solidFill>
            <a:ln w="2176" cap="flat">
              <a:noFill/>
              <a:prstDash val="solid"/>
              <a:miter/>
            </a:ln>
          </p:spPr>
          <p:txBody>
            <a:bodyPr rtlCol="0" anchor="ctr"/>
            <a:lstStyle/>
            <a:p>
              <a:pPr defTabSz="1219170"/>
              <a:endParaRPr lang="en-US" sz="1400">
                <a:solidFill>
                  <a:srgbClr val="102B62"/>
                </a:solidFill>
                <a:latin typeface="Arial"/>
              </a:endParaRPr>
            </a:p>
          </p:txBody>
        </p:sp>
        <p:sp>
          <p:nvSpPr>
            <p:cNvPr id="9" name="Freeform: Shape 8">
              <a:extLst>
                <a:ext uri="{FF2B5EF4-FFF2-40B4-BE49-F238E27FC236}">
                  <a16:creationId xmlns:a16="http://schemas.microsoft.com/office/drawing/2014/main" id="{928A48D3-4E2D-4D02-A313-87A67FD73C44}"/>
                </a:ext>
              </a:extLst>
            </p:cNvPr>
            <p:cNvSpPr/>
            <p:nvPr/>
          </p:nvSpPr>
          <p:spPr>
            <a:xfrm>
              <a:off x="3757677" y="2509179"/>
              <a:ext cx="1814441" cy="1316231"/>
            </a:xfrm>
            <a:custGeom>
              <a:avLst/>
              <a:gdLst>
                <a:gd name="connsiteX0" fmla="*/ 1810308 w 1814441"/>
                <a:gd name="connsiteY0" fmla="*/ 36029 h 1316231"/>
                <a:gd name="connsiteX1" fmla="*/ 1727418 w 1814441"/>
                <a:gd name="connsiteY1" fmla="*/ 6006 h 1316231"/>
                <a:gd name="connsiteX2" fmla="*/ 1557504 w 1814441"/>
                <a:gd name="connsiteY2" fmla="*/ 85415 h 1316231"/>
                <a:gd name="connsiteX3" fmla="*/ 1524653 w 1814441"/>
                <a:gd name="connsiteY3" fmla="*/ 100861 h 1316231"/>
                <a:gd name="connsiteX4" fmla="*/ 1410869 w 1814441"/>
                <a:gd name="connsiteY4" fmla="*/ 153946 h 1316231"/>
                <a:gd name="connsiteX5" fmla="*/ 1463954 w 1814441"/>
                <a:gd name="connsiteY5" fmla="*/ 267076 h 1316231"/>
                <a:gd name="connsiteX6" fmla="*/ 1497676 w 1814441"/>
                <a:gd name="connsiteY6" fmla="*/ 400658 h 1316231"/>
                <a:gd name="connsiteX7" fmla="*/ 1505073 w 1814441"/>
                <a:gd name="connsiteY7" fmla="*/ 501605 h 1316231"/>
                <a:gd name="connsiteX8" fmla="*/ 814976 w 1814441"/>
                <a:gd name="connsiteY8" fmla="*/ 1191702 h 1316231"/>
                <a:gd name="connsiteX9" fmla="*/ 124879 w 1814441"/>
                <a:gd name="connsiteY9" fmla="*/ 501605 h 1316231"/>
                <a:gd name="connsiteX10" fmla="*/ 132276 w 1814441"/>
                <a:gd name="connsiteY10" fmla="*/ 400658 h 1316231"/>
                <a:gd name="connsiteX11" fmla="*/ 14794 w 1814441"/>
                <a:gd name="connsiteY11" fmla="*/ 345833 h 1316231"/>
                <a:gd name="connsiteX12" fmla="*/ 0 w 1814441"/>
                <a:gd name="connsiteY12" fmla="*/ 501605 h 1316231"/>
                <a:gd name="connsiteX13" fmla="*/ 63962 w 1814441"/>
                <a:gd name="connsiteY13" fmla="*/ 818806 h 1316231"/>
                <a:gd name="connsiteX14" fmla="*/ 238662 w 1814441"/>
                <a:gd name="connsiteY14" fmla="*/ 1077918 h 1316231"/>
                <a:gd name="connsiteX15" fmla="*/ 497775 w 1814441"/>
                <a:gd name="connsiteY15" fmla="*/ 1252618 h 1316231"/>
                <a:gd name="connsiteX16" fmla="*/ 814976 w 1814441"/>
                <a:gd name="connsiteY16" fmla="*/ 1316580 h 1316231"/>
                <a:gd name="connsiteX17" fmla="*/ 1132177 w 1814441"/>
                <a:gd name="connsiteY17" fmla="*/ 1252618 h 1316231"/>
                <a:gd name="connsiteX18" fmla="*/ 1391289 w 1814441"/>
                <a:gd name="connsiteY18" fmla="*/ 1077918 h 1316231"/>
                <a:gd name="connsiteX19" fmla="*/ 1565989 w 1814441"/>
                <a:gd name="connsiteY19" fmla="*/ 818806 h 1316231"/>
                <a:gd name="connsiteX20" fmla="*/ 1629951 w 1814441"/>
                <a:gd name="connsiteY20" fmla="*/ 501605 h 1316231"/>
                <a:gd name="connsiteX21" fmla="*/ 1615158 w 1814441"/>
                <a:gd name="connsiteY21" fmla="*/ 345833 h 1316231"/>
                <a:gd name="connsiteX22" fmla="*/ 1577737 w 1814441"/>
                <a:gd name="connsiteY22" fmla="*/ 213992 h 1316231"/>
                <a:gd name="connsiteX23" fmla="*/ 1610806 w 1814441"/>
                <a:gd name="connsiteY23" fmla="*/ 198545 h 1316231"/>
                <a:gd name="connsiteX24" fmla="*/ 1780720 w 1814441"/>
                <a:gd name="connsiteY24" fmla="*/ 119136 h 1316231"/>
                <a:gd name="connsiteX25" fmla="*/ 1810308 w 1814441"/>
                <a:gd name="connsiteY25" fmla="*/ 36029 h 1316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14441" h="1316231">
                  <a:moveTo>
                    <a:pt x="1810308" y="36029"/>
                  </a:moveTo>
                  <a:cubicBezTo>
                    <a:pt x="1795731" y="4700"/>
                    <a:pt x="1758529" y="-8788"/>
                    <a:pt x="1727418" y="6006"/>
                  </a:cubicBezTo>
                  <a:lnTo>
                    <a:pt x="1557504" y="85415"/>
                  </a:lnTo>
                  <a:lnTo>
                    <a:pt x="1524653" y="100861"/>
                  </a:lnTo>
                  <a:lnTo>
                    <a:pt x="1410869" y="153946"/>
                  </a:lnTo>
                  <a:cubicBezTo>
                    <a:pt x="1431755" y="189625"/>
                    <a:pt x="1449595" y="227481"/>
                    <a:pt x="1463954" y="267076"/>
                  </a:cubicBezTo>
                  <a:cubicBezTo>
                    <a:pt x="1479400" y="309718"/>
                    <a:pt x="1490931" y="354535"/>
                    <a:pt x="1497676" y="400658"/>
                  </a:cubicBezTo>
                  <a:cubicBezTo>
                    <a:pt x="1502462" y="433509"/>
                    <a:pt x="1505073" y="467230"/>
                    <a:pt x="1505073" y="501605"/>
                  </a:cubicBezTo>
                  <a:cubicBezTo>
                    <a:pt x="1505073" y="882115"/>
                    <a:pt x="1195486" y="1191702"/>
                    <a:pt x="814976" y="1191702"/>
                  </a:cubicBezTo>
                  <a:cubicBezTo>
                    <a:pt x="434465" y="1191702"/>
                    <a:pt x="124879" y="882115"/>
                    <a:pt x="124879" y="501605"/>
                  </a:cubicBezTo>
                  <a:cubicBezTo>
                    <a:pt x="124879" y="467230"/>
                    <a:pt x="127490" y="433726"/>
                    <a:pt x="132276" y="400658"/>
                  </a:cubicBezTo>
                  <a:lnTo>
                    <a:pt x="14794" y="345833"/>
                  </a:lnTo>
                  <a:cubicBezTo>
                    <a:pt x="5004" y="396741"/>
                    <a:pt x="0" y="448738"/>
                    <a:pt x="0" y="501605"/>
                  </a:cubicBezTo>
                  <a:cubicBezTo>
                    <a:pt x="0" y="611690"/>
                    <a:pt x="21538" y="718293"/>
                    <a:pt x="63962" y="818806"/>
                  </a:cubicBezTo>
                  <a:cubicBezTo>
                    <a:pt x="105081" y="915837"/>
                    <a:pt x="163822" y="1003078"/>
                    <a:pt x="238662" y="1077918"/>
                  </a:cubicBezTo>
                  <a:cubicBezTo>
                    <a:pt x="313503" y="1152759"/>
                    <a:pt x="400744" y="1211499"/>
                    <a:pt x="497775" y="1252618"/>
                  </a:cubicBezTo>
                  <a:cubicBezTo>
                    <a:pt x="598287" y="1295042"/>
                    <a:pt x="705109" y="1316580"/>
                    <a:pt x="814976" y="1316580"/>
                  </a:cubicBezTo>
                  <a:cubicBezTo>
                    <a:pt x="925060" y="1316580"/>
                    <a:pt x="1031664" y="1295042"/>
                    <a:pt x="1132177" y="1252618"/>
                  </a:cubicBezTo>
                  <a:cubicBezTo>
                    <a:pt x="1229208" y="1211499"/>
                    <a:pt x="1316449" y="1152759"/>
                    <a:pt x="1391289" y="1077918"/>
                  </a:cubicBezTo>
                  <a:cubicBezTo>
                    <a:pt x="1466130" y="1003078"/>
                    <a:pt x="1524871" y="915837"/>
                    <a:pt x="1565989" y="818806"/>
                  </a:cubicBezTo>
                  <a:cubicBezTo>
                    <a:pt x="1608413" y="718293"/>
                    <a:pt x="1629951" y="611472"/>
                    <a:pt x="1629951" y="501605"/>
                  </a:cubicBezTo>
                  <a:cubicBezTo>
                    <a:pt x="1629951" y="448738"/>
                    <a:pt x="1624948" y="396741"/>
                    <a:pt x="1615158" y="345833"/>
                  </a:cubicBezTo>
                  <a:cubicBezTo>
                    <a:pt x="1606455" y="301015"/>
                    <a:pt x="1594054" y="256851"/>
                    <a:pt x="1577737" y="213992"/>
                  </a:cubicBezTo>
                  <a:lnTo>
                    <a:pt x="1610806" y="198545"/>
                  </a:lnTo>
                  <a:lnTo>
                    <a:pt x="1780720" y="119136"/>
                  </a:lnTo>
                  <a:cubicBezTo>
                    <a:pt x="1811396" y="104342"/>
                    <a:pt x="1824884" y="67140"/>
                    <a:pt x="1810308" y="36029"/>
                  </a:cubicBezTo>
                  <a:close/>
                </a:path>
              </a:pathLst>
            </a:custGeom>
            <a:solidFill>
              <a:srgbClr val="00ADB5"/>
            </a:solidFill>
            <a:ln w="2176" cap="flat">
              <a:noFill/>
              <a:prstDash val="solid"/>
              <a:miter/>
            </a:ln>
          </p:spPr>
          <p:txBody>
            <a:bodyPr rtlCol="0" anchor="ctr"/>
            <a:lstStyle/>
            <a:p>
              <a:pPr defTabSz="1219170"/>
              <a:endParaRPr lang="en-US" sz="1400">
                <a:solidFill>
                  <a:srgbClr val="102B62"/>
                </a:solidFill>
                <a:latin typeface="Arial"/>
              </a:endParaRPr>
            </a:p>
          </p:txBody>
        </p:sp>
      </p:grpSp>
      <p:grpSp>
        <p:nvGrpSpPr>
          <p:cNvPr id="10" name="Graphic 4">
            <a:extLst>
              <a:ext uri="{FF2B5EF4-FFF2-40B4-BE49-F238E27FC236}">
                <a16:creationId xmlns:a16="http://schemas.microsoft.com/office/drawing/2014/main" id="{51A76CFD-E7D9-4350-B85D-AE1F38D0F927}"/>
              </a:ext>
            </a:extLst>
          </p:cNvPr>
          <p:cNvGrpSpPr/>
          <p:nvPr/>
        </p:nvGrpSpPr>
        <p:grpSpPr>
          <a:xfrm>
            <a:off x="2703794" y="1952311"/>
            <a:ext cx="2357372" cy="1919208"/>
            <a:chOff x="1691824" y="1317523"/>
            <a:chExt cx="2001542" cy="1629516"/>
          </a:xfrm>
          <a:solidFill>
            <a:srgbClr val="2185A0"/>
          </a:solidFill>
          <a:effectLst/>
        </p:grpSpPr>
        <p:sp>
          <p:nvSpPr>
            <p:cNvPr id="11" name="Freeform: Shape 10">
              <a:extLst>
                <a:ext uri="{FF2B5EF4-FFF2-40B4-BE49-F238E27FC236}">
                  <a16:creationId xmlns:a16="http://schemas.microsoft.com/office/drawing/2014/main" id="{532837D4-17F1-4539-8154-009C96BEA94A}"/>
                </a:ext>
              </a:extLst>
            </p:cNvPr>
            <p:cNvSpPr/>
            <p:nvPr/>
          </p:nvSpPr>
          <p:spPr>
            <a:xfrm>
              <a:off x="1691824" y="1317523"/>
              <a:ext cx="1814441" cy="1316231"/>
            </a:xfrm>
            <a:custGeom>
              <a:avLst/>
              <a:gdLst>
                <a:gd name="connsiteX0" fmla="*/ 352577 w 1814441"/>
                <a:gd name="connsiteY0" fmla="*/ 1049504 h 1316231"/>
                <a:gd name="connsiteX1" fmla="*/ 318855 w 1814441"/>
                <a:gd name="connsiteY1" fmla="*/ 915923 h 1316231"/>
                <a:gd name="connsiteX2" fmla="*/ 311458 w 1814441"/>
                <a:gd name="connsiteY2" fmla="*/ 814976 h 1316231"/>
                <a:gd name="connsiteX3" fmla="*/ 1001555 w 1814441"/>
                <a:gd name="connsiteY3" fmla="*/ 124879 h 1316231"/>
                <a:gd name="connsiteX4" fmla="*/ 1691652 w 1814441"/>
                <a:gd name="connsiteY4" fmla="*/ 814976 h 1316231"/>
                <a:gd name="connsiteX5" fmla="*/ 1684255 w 1814441"/>
                <a:gd name="connsiteY5" fmla="*/ 915923 h 1316231"/>
                <a:gd name="connsiteX6" fmla="*/ 1801737 w 1814441"/>
                <a:gd name="connsiteY6" fmla="*/ 970748 h 1316231"/>
                <a:gd name="connsiteX7" fmla="*/ 1816531 w 1814441"/>
                <a:gd name="connsiteY7" fmla="*/ 814976 h 1316231"/>
                <a:gd name="connsiteX8" fmla="*/ 1752568 w 1814441"/>
                <a:gd name="connsiteY8" fmla="*/ 497775 h 1316231"/>
                <a:gd name="connsiteX9" fmla="*/ 1577869 w 1814441"/>
                <a:gd name="connsiteY9" fmla="*/ 238662 h 1316231"/>
                <a:gd name="connsiteX10" fmla="*/ 1318756 w 1814441"/>
                <a:gd name="connsiteY10" fmla="*/ 63962 h 1316231"/>
                <a:gd name="connsiteX11" fmla="*/ 1001773 w 1814441"/>
                <a:gd name="connsiteY11" fmla="*/ 0 h 1316231"/>
                <a:gd name="connsiteX12" fmla="*/ 684572 w 1814441"/>
                <a:gd name="connsiteY12" fmla="*/ 63962 h 1316231"/>
                <a:gd name="connsiteX13" fmla="*/ 425459 w 1814441"/>
                <a:gd name="connsiteY13" fmla="*/ 238662 h 1316231"/>
                <a:gd name="connsiteX14" fmla="*/ 250759 w 1814441"/>
                <a:gd name="connsiteY14" fmla="*/ 497775 h 1316231"/>
                <a:gd name="connsiteX15" fmla="*/ 186797 w 1814441"/>
                <a:gd name="connsiteY15" fmla="*/ 814976 h 1316231"/>
                <a:gd name="connsiteX16" fmla="*/ 201591 w 1814441"/>
                <a:gd name="connsiteY16" fmla="*/ 970748 h 1316231"/>
                <a:gd name="connsiteX17" fmla="*/ 239011 w 1814441"/>
                <a:gd name="connsiteY17" fmla="*/ 1102588 h 1316231"/>
                <a:gd name="connsiteX18" fmla="*/ 205942 w 1814441"/>
                <a:gd name="connsiteY18" fmla="*/ 1118035 h 1316231"/>
                <a:gd name="connsiteX19" fmla="*/ 36029 w 1814441"/>
                <a:gd name="connsiteY19" fmla="*/ 1197444 h 1316231"/>
                <a:gd name="connsiteX20" fmla="*/ 6006 w 1814441"/>
                <a:gd name="connsiteY20" fmla="*/ 1280334 h 1316231"/>
                <a:gd name="connsiteX21" fmla="*/ 62571 w 1814441"/>
                <a:gd name="connsiteY21" fmla="*/ 1316449 h 1316231"/>
                <a:gd name="connsiteX22" fmla="*/ 88896 w 1814441"/>
                <a:gd name="connsiteY22" fmla="*/ 1310575 h 1316231"/>
                <a:gd name="connsiteX23" fmla="*/ 258809 w 1814441"/>
                <a:gd name="connsiteY23" fmla="*/ 1231166 h 1316231"/>
                <a:gd name="connsiteX24" fmla="*/ 291878 w 1814441"/>
                <a:gd name="connsiteY24" fmla="*/ 1215719 h 1316231"/>
                <a:gd name="connsiteX25" fmla="*/ 405661 w 1814441"/>
                <a:gd name="connsiteY25" fmla="*/ 1162635 h 1316231"/>
                <a:gd name="connsiteX26" fmla="*/ 352577 w 1814441"/>
                <a:gd name="connsiteY26" fmla="*/ 1049504 h 1316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14441" h="1316231">
                  <a:moveTo>
                    <a:pt x="352577" y="1049504"/>
                  </a:moveTo>
                  <a:cubicBezTo>
                    <a:pt x="337130" y="1006863"/>
                    <a:pt x="325600" y="962045"/>
                    <a:pt x="318855" y="915923"/>
                  </a:cubicBezTo>
                  <a:cubicBezTo>
                    <a:pt x="314069" y="883072"/>
                    <a:pt x="311458" y="849350"/>
                    <a:pt x="311458" y="814976"/>
                  </a:cubicBezTo>
                  <a:cubicBezTo>
                    <a:pt x="311458" y="434465"/>
                    <a:pt x="621045" y="124879"/>
                    <a:pt x="1001555" y="124879"/>
                  </a:cubicBezTo>
                  <a:cubicBezTo>
                    <a:pt x="1382066" y="124879"/>
                    <a:pt x="1691652" y="434465"/>
                    <a:pt x="1691652" y="814976"/>
                  </a:cubicBezTo>
                  <a:cubicBezTo>
                    <a:pt x="1691652" y="849350"/>
                    <a:pt x="1689041" y="883072"/>
                    <a:pt x="1684255" y="915923"/>
                  </a:cubicBezTo>
                  <a:lnTo>
                    <a:pt x="1801737" y="970748"/>
                  </a:lnTo>
                  <a:cubicBezTo>
                    <a:pt x="1811527" y="919839"/>
                    <a:pt x="1816531" y="867842"/>
                    <a:pt x="1816531" y="814976"/>
                  </a:cubicBezTo>
                  <a:cubicBezTo>
                    <a:pt x="1816531" y="704891"/>
                    <a:pt x="1794992" y="598287"/>
                    <a:pt x="1752568" y="497775"/>
                  </a:cubicBezTo>
                  <a:cubicBezTo>
                    <a:pt x="1711450" y="400743"/>
                    <a:pt x="1652709" y="313502"/>
                    <a:pt x="1577869" y="238662"/>
                  </a:cubicBezTo>
                  <a:cubicBezTo>
                    <a:pt x="1503028" y="163822"/>
                    <a:pt x="1415787" y="105081"/>
                    <a:pt x="1318756" y="63962"/>
                  </a:cubicBezTo>
                  <a:cubicBezTo>
                    <a:pt x="1218461" y="21538"/>
                    <a:pt x="1111640" y="0"/>
                    <a:pt x="1001773" y="0"/>
                  </a:cubicBezTo>
                  <a:cubicBezTo>
                    <a:pt x="891688" y="0"/>
                    <a:pt x="785084" y="21538"/>
                    <a:pt x="684572" y="63962"/>
                  </a:cubicBezTo>
                  <a:cubicBezTo>
                    <a:pt x="587540" y="105081"/>
                    <a:pt x="500299" y="163822"/>
                    <a:pt x="425459" y="238662"/>
                  </a:cubicBezTo>
                  <a:cubicBezTo>
                    <a:pt x="350619" y="313502"/>
                    <a:pt x="291878" y="400743"/>
                    <a:pt x="250759" y="497775"/>
                  </a:cubicBezTo>
                  <a:cubicBezTo>
                    <a:pt x="208335" y="598287"/>
                    <a:pt x="186797" y="705108"/>
                    <a:pt x="186797" y="814976"/>
                  </a:cubicBezTo>
                  <a:cubicBezTo>
                    <a:pt x="186797" y="867842"/>
                    <a:pt x="191801" y="919839"/>
                    <a:pt x="201591" y="970748"/>
                  </a:cubicBezTo>
                  <a:cubicBezTo>
                    <a:pt x="210293" y="1015565"/>
                    <a:pt x="222694" y="1059512"/>
                    <a:pt x="239011" y="1102588"/>
                  </a:cubicBezTo>
                  <a:lnTo>
                    <a:pt x="205942" y="1118035"/>
                  </a:lnTo>
                  <a:lnTo>
                    <a:pt x="36029" y="1197444"/>
                  </a:lnTo>
                  <a:cubicBezTo>
                    <a:pt x="4700" y="1212021"/>
                    <a:pt x="-8788" y="1249223"/>
                    <a:pt x="6006" y="1280334"/>
                  </a:cubicBezTo>
                  <a:cubicBezTo>
                    <a:pt x="16666" y="1302960"/>
                    <a:pt x="39075" y="1316449"/>
                    <a:pt x="62571" y="1316449"/>
                  </a:cubicBezTo>
                  <a:cubicBezTo>
                    <a:pt x="71491" y="1316449"/>
                    <a:pt x="80411" y="1314491"/>
                    <a:pt x="88896" y="1310575"/>
                  </a:cubicBezTo>
                  <a:lnTo>
                    <a:pt x="258809" y="1231166"/>
                  </a:lnTo>
                  <a:lnTo>
                    <a:pt x="291878" y="1215719"/>
                  </a:lnTo>
                  <a:lnTo>
                    <a:pt x="405661" y="1162635"/>
                  </a:lnTo>
                  <a:cubicBezTo>
                    <a:pt x="384776" y="1126738"/>
                    <a:pt x="366936" y="1089100"/>
                    <a:pt x="352577" y="1049504"/>
                  </a:cubicBezTo>
                  <a:close/>
                </a:path>
              </a:pathLst>
            </a:custGeom>
            <a:solidFill>
              <a:srgbClr val="2185A0"/>
            </a:solidFill>
            <a:ln w="2176" cap="flat">
              <a:noFill/>
              <a:prstDash val="solid"/>
              <a:miter/>
            </a:ln>
          </p:spPr>
          <p:txBody>
            <a:bodyPr rtlCol="0" anchor="ctr"/>
            <a:lstStyle/>
            <a:p>
              <a:pPr defTabSz="1219170"/>
              <a:endParaRPr lang="en-US" sz="2400">
                <a:solidFill>
                  <a:srgbClr val="102B62"/>
                </a:solidFill>
                <a:latin typeface="Arial"/>
              </a:endParaRPr>
            </a:p>
          </p:txBody>
        </p:sp>
        <p:sp>
          <p:nvSpPr>
            <p:cNvPr id="12" name="Freeform: Shape 11">
              <a:extLst>
                <a:ext uri="{FF2B5EF4-FFF2-40B4-BE49-F238E27FC236}">
                  <a16:creationId xmlns:a16="http://schemas.microsoft.com/office/drawing/2014/main" id="{2BAF0701-3F77-4042-ACE5-0EAD41083BD8}"/>
                </a:ext>
              </a:extLst>
            </p:cNvPr>
            <p:cNvSpPr/>
            <p:nvPr/>
          </p:nvSpPr>
          <p:spPr>
            <a:xfrm>
              <a:off x="2060500" y="2367027"/>
              <a:ext cx="1633867" cy="578707"/>
            </a:xfrm>
            <a:custGeom>
              <a:avLst/>
              <a:gdLst>
                <a:gd name="connsiteX0" fmla="*/ 1598840 w 1633867"/>
                <a:gd name="connsiteY0" fmla="*/ 147940 h 578706"/>
                <a:gd name="connsiteX1" fmla="*/ 1428927 w 1633867"/>
                <a:gd name="connsiteY1" fmla="*/ 68531 h 578706"/>
                <a:gd name="connsiteX2" fmla="*/ 1395858 w 1633867"/>
                <a:gd name="connsiteY2" fmla="*/ 53084 h 578706"/>
                <a:gd name="connsiteX3" fmla="*/ 1282292 w 1633867"/>
                <a:gd name="connsiteY3" fmla="*/ 0 h 578706"/>
                <a:gd name="connsiteX4" fmla="*/ 1229208 w 1633867"/>
                <a:gd name="connsiteY4" fmla="*/ 113131 h 578706"/>
                <a:gd name="connsiteX5" fmla="*/ 1148058 w 1633867"/>
                <a:gd name="connsiteY5" fmla="*/ 224521 h 578706"/>
                <a:gd name="connsiteX6" fmla="*/ 632879 w 1633867"/>
                <a:gd name="connsiteY6" fmla="*/ 455786 h 578706"/>
                <a:gd name="connsiteX7" fmla="*/ 117699 w 1633867"/>
                <a:gd name="connsiteY7" fmla="*/ 224521 h 578706"/>
                <a:gd name="connsiteX8" fmla="*/ 0 w 1633867"/>
                <a:gd name="connsiteY8" fmla="*/ 279563 h 578706"/>
                <a:gd name="connsiteX9" fmla="*/ 56348 w 1633867"/>
                <a:gd name="connsiteY9" fmla="*/ 342003 h 578706"/>
                <a:gd name="connsiteX10" fmla="*/ 315460 w 1633867"/>
                <a:gd name="connsiteY10" fmla="*/ 516702 h 578706"/>
                <a:gd name="connsiteX11" fmla="*/ 632661 w 1633867"/>
                <a:gd name="connsiteY11" fmla="*/ 580665 h 578706"/>
                <a:gd name="connsiteX12" fmla="*/ 949862 w 1633867"/>
                <a:gd name="connsiteY12" fmla="*/ 516702 h 578706"/>
                <a:gd name="connsiteX13" fmla="*/ 1208975 w 1633867"/>
                <a:gd name="connsiteY13" fmla="*/ 342003 h 578706"/>
                <a:gd name="connsiteX14" fmla="*/ 1265322 w 1633867"/>
                <a:gd name="connsiteY14" fmla="*/ 279563 h 578706"/>
                <a:gd name="connsiteX15" fmla="*/ 1342556 w 1633867"/>
                <a:gd name="connsiteY15" fmla="*/ 166433 h 578706"/>
                <a:gd name="connsiteX16" fmla="*/ 1375625 w 1633867"/>
                <a:gd name="connsiteY16" fmla="*/ 181879 h 578706"/>
                <a:gd name="connsiteX17" fmla="*/ 1545538 w 1633867"/>
                <a:gd name="connsiteY17" fmla="*/ 261288 h 578706"/>
                <a:gd name="connsiteX18" fmla="*/ 1571863 w 1633867"/>
                <a:gd name="connsiteY18" fmla="*/ 267162 h 578706"/>
                <a:gd name="connsiteX19" fmla="*/ 1628428 w 1633867"/>
                <a:gd name="connsiteY19" fmla="*/ 231048 h 578706"/>
                <a:gd name="connsiteX20" fmla="*/ 1598840 w 1633867"/>
                <a:gd name="connsiteY20" fmla="*/ 147940 h 578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33867" h="578706">
                  <a:moveTo>
                    <a:pt x="1598840" y="147940"/>
                  </a:moveTo>
                  <a:lnTo>
                    <a:pt x="1428927" y="68531"/>
                  </a:lnTo>
                  <a:lnTo>
                    <a:pt x="1395858" y="53084"/>
                  </a:lnTo>
                  <a:lnTo>
                    <a:pt x="1282292" y="0"/>
                  </a:lnTo>
                  <a:cubicBezTo>
                    <a:pt x="1267933" y="39378"/>
                    <a:pt x="1250311" y="77233"/>
                    <a:pt x="1229208" y="113131"/>
                  </a:cubicBezTo>
                  <a:cubicBezTo>
                    <a:pt x="1205929" y="152944"/>
                    <a:pt x="1178734" y="190364"/>
                    <a:pt x="1148058" y="224521"/>
                  </a:cubicBezTo>
                  <a:cubicBezTo>
                    <a:pt x="1021657" y="366369"/>
                    <a:pt x="837602" y="455786"/>
                    <a:pt x="632879" y="455786"/>
                  </a:cubicBezTo>
                  <a:cubicBezTo>
                    <a:pt x="428156" y="455786"/>
                    <a:pt x="244319" y="366369"/>
                    <a:pt x="117699" y="224521"/>
                  </a:cubicBezTo>
                  <a:lnTo>
                    <a:pt x="0" y="279563"/>
                  </a:lnTo>
                  <a:cubicBezTo>
                    <a:pt x="17622" y="301319"/>
                    <a:pt x="36332" y="321987"/>
                    <a:pt x="56348" y="342003"/>
                  </a:cubicBezTo>
                  <a:cubicBezTo>
                    <a:pt x="131188" y="416843"/>
                    <a:pt x="218429" y="475584"/>
                    <a:pt x="315460" y="516702"/>
                  </a:cubicBezTo>
                  <a:cubicBezTo>
                    <a:pt x="415973" y="559126"/>
                    <a:pt x="522794" y="580665"/>
                    <a:pt x="632661" y="580665"/>
                  </a:cubicBezTo>
                  <a:cubicBezTo>
                    <a:pt x="742746" y="580665"/>
                    <a:pt x="849350" y="559126"/>
                    <a:pt x="949862" y="516702"/>
                  </a:cubicBezTo>
                  <a:cubicBezTo>
                    <a:pt x="1046894" y="475584"/>
                    <a:pt x="1134135" y="416843"/>
                    <a:pt x="1208975" y="342003"/>
                  </a:cubicBezTo>
                  <a:cubicBezTo>
                    <a:pt x="1228990" y="321987"/>
                    <a:pt x="1247700" y="301319"/>
                    <a:pt x="1265322" y="279563"/>
                  </a:cubicBezTo>
                  <a:cubicBezTo>
                    <a:pt x="1294258" y="244101"/>
                    <a:pt x="1320147" y="206246"/>
                    <a:pt x="1342556" y="166433"/>
                  </a:cubicBezTo>
                  <a:lnTo>
                    <a:pt x="1375625" y="181879"/>
                  </a:lnTo>
                  <a:lnTo>
                    <a:pt x="1545538" y="261288"/>
                  </a:lnTo>
                  <a:cubicBezTo>
                    <a:pt x="1554023" y="265204"/>
                    <a:pt x="1563161" y="267162"/>
                    <a:pt x="1571863" y="267162"/>
                  </a:cubicBezTo>
                  <a:cubicBezTo>
                    <a:pt x="1595359" y="267162"/>
                    <a:pt x="1617768" y="253891"/>
                    <a:pt x="1628428" y="231048"/>
                  </a:cubicBezTo>
                  <a:cubicBezTo>
                    <a:pt x="1643440" y="199719"/>
                    <a:pt x="1629951" y="162516"/>
                    <a:pt x="1598840" y="147940"/>
                  </a:cubicBezTo>
                  <a:close/>
                </a:path>
              </a:pathLst>
            </a:custGeom>
            <a:solidFill>
              <a:srgbClr val="2185A0"/>
            </a:solidFill>
            <a:ln w="2176" cap="flat">
              <a:noFill/>
              <a:prstDash val="solid"/>
              <a:miter/>
            </a:ln>
          </p:spPr>
          <p:txBody>
            <a:bodyPr rtlCol="0" anchor="ctr"/>
            <a:lstStyle/>
            <a:p>
              <a:pPr defTabSz="1219170"/>
              <a:endParaRPr lang="en-US" sz="2400">
                <a:solidFill>
                  <a:srgbClr val="102B62"/>
                </a:solidFill>
                <a:latin typeface="Arial"/>
              </a:endParaRPr>
            </a:p>
          </p:txBody>
        </p:sp>
      </p:grpSp>
      <p:sp>
        <p:nvSpPr>
          <p:cNvPr id="13" name="Freeform: Shape 12">
            <a:extLst>
              <a:ext uri="{FF2B5EF4-FFF2-40B4-BE49-F238E27FC236}">
                <a16:creationId xmlns:a16="http://schemas.microsoft.com/office/drawing/2014/main" id="{0523464A-5529-4E27-A0C9-2BC816984A36}"/>
              </a:ext>
            </a:extLst>
          </p:cNvPr>
          <p:cNvSpPr/>
          <p:nvPr/>
        </p:nvSpPr>
        <p:spPr>
          <a:xfrm>
            <a:off x="711201" y="2986480"/>
            <a:ext cx="2139572" cy="1919208"/>
          </a:xfrm>
          <a:custGeom>
            <a:avLst/>
            <a:gdLst>
              <a:gd name="connsiteX0" fmla="*/ 1810960 w 1816616"/>
              <a:gd name="connsiteY0" fmla="*/ 349617 h 1629516"/>
              <a:gd name="connsiteX1" fmla="*/ 1727853 w 1816616"/>
              <a:gd name="connsiteY1" fmla="*/ 319594 h 1629516"/>
              <a:gd name="connsiteX2" fmla="*/ 1524870 w 1816616"/>
              <a:gd name="connsiteY2" fmla="*/ 414232 h 1629516"/>
              <a:gd name="connsiteX3" fmla="*/ 1411087 w 1816616"/>
              <a:gd name="connsiteY3" fmla="*/ 467317 h 1629516"/>
              <a:gd name="connsiteX4" fmla="*/ 1464171 w 1816616"/>
              <a:gd name="connsiteY4" fmla="*/ 580447 h 1629516"/>
              <a:gd name="connsiteX5" fmla="*/ 1497893 w 1816616"/>
              <a:gd name="connsiteY5" fmla="*/ 714028 h 1629516"/>
              <a:gd name="connsiteX6" fmla="*/ 1505290 w 1816616"/>
              <a:gd name="connsiteY6" fmla="*/ 814976 h 1629516"/>
              <a:gd name="connsiteX7" fmla="*/ 815193 w 1816616"/>
              <a:gd name="connsiteY7" fmla="*/ 1505073 h 1629516"/>
              <a:gd name="connsiteX8" fmla="*/ 124879 w 1816616"/>
              <a:gd name="connsiteY8" fmla="*/ 814976 h 1629516"/>
              <a:gd name="connsiteX9" fmla="*/ 814976 w 1816616"/>
              <a:gd name="connsiteY9" fmla="*/ 124879 h 1629516"/>
              <a:gd name="connsiteX10" fmla="*/ 1330155 w 1816616"/>
              <a:gd name="connsiteY10" fmla="*/ 356144 h 1629516"/>
              <a:gd name="connsiteX11" fmla="*/ 1447854 w 1816616"/>
              <a:gd name="connsiteY11" fmla="*/ 301102 h 1629516"/>
              <a:gd name="connsiteX12" fmla="*/ 1391507 w 1816616"/>
              <a:gd name="connsiteY12" fmla="*/ 238662 h 1629516"/>
              <a:gd name="connsiteX13" fmla="*/ 1132394 w 1816616"/>
              <a:gd name="connsiteY13" fmla="*/ 63962 h 1629516"/>
              <a:gd name="connsiteX14" fmla="*/ 815193 w 1816616"/>
              <a:gd name="connsiteY14" fmla="*/ 0 h 1629516"/>
              <a:gd name="connsiteX15" fmla="*/ 497992 w 1816616"/>
              <a:gd name="connsiteY15" fmla="*/ 63962 h 1629516"/>
              <a:gd name="connsiteX16" fmla="*/ 238880 w 1816616"/>
              <a:gd name="connsiteY16" fmla="*/ 238662 h 1629516"/>
              <a:gd name="connsiteX17" fmla="*/ 64180 w 1816616"/>
              <a:gd name="connsiteY17" fmla="*/ 497775 h 1629516"/>
              <a:gd name="connsiteX18" fmla="*/ 0 w 1816616"/>
              <a:gd name="connsiteY18" fmla="*/ 814976 h 1629516"/>
              <a:gd name="connsiteX19" fmla="*/ 64180 w 1816616"/>
              <a:gd name="connsiteY19" fmla="*/ 1132177 h 1629516"/>
              <a:gd name="connsiteX20" fmla="*/ 238880 w 1816616"/>
              <a:gd name="connsiteY20" fmla="*/ 1391289 h 1629516"/>
              <a:gd name="connsiteX21" fmla="*/ 497992 w 1816616"/>
              <a:gd name="connsiteY21" fmla="*/ 1565989 h 1629516"/>
              <a:gd name="connsiteX22" fmla="*/ 815193 w 1816616"/>
              <a:gd name="connsiteY22" fmla="*/ 1629951 h 1629516"/>
              <a:gd name="connsiteX23" fmla="*/ 1132394 w 1816616"/>
              <a:gd name="connsiteY23" fmla="*/ 1565989 h 1629516"/>
              <a:gd name="connsiteX24" fmla="*/ 1391507 w 1816616"/>
              <a:gd name="connsiteY24" fmla="*/ 1391289 h 1629516"/>
              <a:gd name="connsiteX25" fmla="*/ 1566207 w 1816616"/>
              <a:gd name="connsiteY25" fmla="*/ 1132177 h 1629516"/>
              <a:gd name="connsiteX26" fmla="*/ 1630169 w 1816616"/>
              <a:gd name="connsiteY26" fmla="*/ 814976 h 1629516"/>
              <a:gd name="connsiteX27" fmla="*/ 1615375 w 1816616"/>
              <a:gd name="connsiteY27" fmla="*/ 659203 h 1629516"/>
              <a:gd name="connsiteX28" fmla="*/ 1577955 w 1816616"/>
              <a:gd name="connsiteY28" fmla="*/ 527363 h 1629516"/>
              <a:gd name="connsiteX29" fmla="*/ 1780937 w 1816616"/>
              <a:gd name="connsiteY29" fmla="*/ 432507 h 1629516"/>
              <a:gd name="connsiteX30" fmla="*/ 1810960 w 1816616"/>
              <a:gd name="connsiteY30" fmla="*/ 349617 h 1629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16616" h="1629516">
                <a:moveTo>
                  <a:pt x="1810960" y="349617"/>
                </a:moveTo>
                <a:cubicBezTo>
                  <a:pt x="1796384" y="318289"/>
                  <a:pt x="1759181" y="304800"/>
                  <a:pt x="1727853" y="319594"/>
                </a:cubicBezTo>
                <a:lnTo>
                  <a:pt x="1524870" y="414232"/>
                </a:lnTo>
                <a:lnTo>
                  <a:pt x="1411087" y="467317"/>
                </a:lnTo>
                <a:cubicBezTo>
                  <a:pt x="1431973" y="502996"/>
                  <a:pt x="1449813" y="540851"/>
                  <a:pt x="1464171" y="580447"/>
                </a:cubicBezTo>
                <a:cubicBezTo>
                  <a:pt x="1479618" y="623089"/>
                  <a:pt x="1491149" y="667906"/>
                  <a:pt x="1497893" y="714028"/>
                </a:cubicBezTo>
                <a:cubicBezTo>
                  <a:pt x="1502679" y="746880"/>
                  <a:pt x="1505290" y="780601"/>
                  <a:pt x="1505290" y="814976"/>
                </a:cubicBezTo>
                <a:cubicBezTo>
                  <a:pt x="1505290" y="1195486"/>
                  <a:pt x="1195704" y="1505073"/>
                  <a:pt x="815193" y="1505073"/>
                </a:cubicBezTo>
                <a:cubicBezTo>
                  <a:pt x="434683" y="1505073"/>
                  <a:pt x="124879" y="1195486"/>
                  <a:pt x="124879" y="814976"/>
                </a:cubicBezTo>
                <a:cubicBezTo>
                  <a:pt x="124879" y="434465"/>
                  <a:pt x="434465" y="124879"/>
                  <a:pt x="814976" y="124879"/>
                </a:cubicBezTo>
                <a:cubicBezTo>
                  <a:pt x="1019481" y="124879"/>
                  <a:pt x="1203536" y="214296"/>
                  <a:pt x="1330155" y="356144"/>
                </a:cubicBezTo>
                <a:lnTo>
                  <a:pt x="1447854" y="301102"/>
                </a:lnTo>
                <a:cubicBezTo>
                  <a:pt x="1430232" y="279346"/>
                  <a:pt x="1411522" y="258678"/>
                  <a:pt x="1391507" y="238662"/>
                </a:cubicBezTo>
                <a:cubicBezTo>
                  <a:pt x="1316666" y="163822"/>
                  <a:pt x="1229425" y="105081"/>
                  <a:pt x="1132394" y="63962"/>
                </a:cubicBezTo>
                <a:cubicBezTo>
                  <a:pt x="1031882" y="21538"/>
                  <a:pt x="925060" y="0"/>
                  <a:pt x="815193" y="0"/>
                </a:cubicBezTo>
                <a:cubicBezTo>
                  <a:pt x="705108" y="0"/>
                  <a:pt x="598505" y="21538"/>
                  <a:pt x="497992" y="63962"/>
                </a:cubicBezTo>
                <a:cubicBezTo>
                  <a:pt x="400961" y="105081"/>
                  <a:pt x="313720" y="163822"/>
                  <a:pt x="238880" y="238662"/>
                </a:cubicBezTo>
                <a:cubicBezTo>
                  <a:pt x="164039" y="313502"/>
                  <a:pt x="105299" y="400743"/>
                  <a:pt x="64180" y="497775"/>
                </a:cubicBezTo>
                <a:cubicBezTo>
                  <a:pt x="21538" y="598287"/>
                  <a:pt x="0" y="704891"/>
                  <a:pt x="0" y="814976"/>
                </a:cubicBezTo>
                <a:cubicBezTo>
                  <a:pt x="0" y="925060"/>
                  <a:pt x="21538" y="1031664"/>
                  <a:pt x="64180" y="1132177"/>
                </a:cubicBezTo>
                <a:cubicBezTo>
                  <a:pt x="105299" y="1229208"/>
                  <a:pt x="164039" y="1316449"/>
                  <a:pt x="238880" y="1391289"/>
                </a:cubicBezTo>
                <a:cubicBezTo>
                  <a:pt x="313720" y="1466129"/>
                  <a:pt x="400961" y="1524870"/>
                  <a:pt x="497992" y="1565989"/>
                </a:cubicBezTo>
                <a:cubicBezTo>
                  <a:pt x="598505" y="1608413"/>
                  <a:pt x="705326" y="1629951"/>
                  <a:pt x="815193" y="1629951"/>
                </a:cubicBezTo>
                <a:cubicBezTo>
                  <a:pt x="925278" y="1629951"/>
                  <a:pt x="1031882" y="1608413"/>
                  <a:pt x="1132394" y="1565989"/>
                </a:cubicBezTo>
                <a:cubicBezTo>
                  <a:pt x="1229425" y="1524870"/>
                  <a:pt x="1316666" y="1466129"/>
                  <a:pt x="1391507" y="1391289"/>
                </a:cubicBezTo>
                <a:cubicBezTo>
                  <a:pt x="1466347" y="1316449"/>
                  <a:pt x="1525088" y="1229208"/>
                  <a:pt x="1566207" y="1132177"/>
                </a:cubicBezTo>
                <a:cubicBezTo>
                  <a:pt x="1608631" y="1031664"/>
                  <a:pt x="1630169" y="924843"/>
                  <a:pt x="1630169" y="814976"/>
                </a:cubicBezTo>
                <a:cubicBezTo>
                  <a:pt x="1630169" y="762109"/>
                  <a:pt x="1625165" y="710112"/>
                  <a:pt x="1615375" y="659203"/>
                </a:cubicBezTo>
                <a:cubicBezTo>
                  <a:pt x="1606672" y="614386"/>
                  <a:pt x="1594272" y="570439"/>
                  <a:pt x="1577955" y="527363"/>
                </a:cubicBezTo>
                <a:lnTo>
                  <a:pt x="1780937" y="432507"/>
                </a:lnTo>
                <a:cubicBezTo>
                  <a:pt x="1812048" y="417931"/>
                  <a:pt x="1825537" y="380728"/>
                  <a:pt x="1810960" y="349617"/>
                </a:cubicBezTo>
                <a:close/>
              </a:path>
            </a:pathLst>
          </a:custGeom>
          <a:solidFill>
            <a:srgbClr val="2B5269"/>
          </a:solidFill>
          <a:ln w="2176" cap="flat">
            <a:noFill/>
            <a:prstDash val="solid"/>
            <a:miter/>
          </a:ln>
          <a:effectLst/>
        </p:spPr>
        <p:txBody>
          <a:bodyPr rtlCol="0" anchor="ctr"/>
          <a:lstStyle/>
          <a:p>
            <a:pPr defTabSz="1219170"/>
            <a:endParaRPr lang="en-US" sz="2400">
              <a:solidFill>
                <a:srgbClr val="102B62"/>
              </a:solidFill>
              <a:latin typeface="Arial"/>
            </a:endParaRPr>
          </a:p>
        </p:txBody>
      </p:sp>
      <p:sp>
        <p:nvSpPr>
          <p:cNvPr id="14" name="Oval 13">
            <a:extLst>
              <a:ext uri="{FF2B5EF4-FFF2-40B4-BE49-F238E27FC236}">
                <a16:creationId xmlns:a16="http://schemas.microsoft.com/office/drawing/2014/main" id="{DD783921-CEC8-4D2F-AA91-75B1106ADDA3}"/>
              </a:ext>
            </a:extLst>
          </p:cNvPr>
          <p:cNvSpPr/>
          <p:nvPr/>
        </p:nvSpPr>
        <p:spPr>
          <a:xfrm>
            <a:off x="1013309" y="3294151"/>
            <a:ext cx="1303867" cy="1303867"/>
          </a:xfrm>
          <a:prstGeom prst="ellipse">
            <a:avLst/>
          </a:prstGeom>
          <a:gradFill flip="none" rotWithShape="0">
            <a:gsLst>
              <a:gs pos="0">
                <a:schemeClr val="bg2">
                  <a:lumMod val="90000"/>
                </a:schemeClr>
              </a:gs>
              <a:gs pos="50000">
                <a:schemeClr val="bg2">
                  <a:lumMod val="90000"/>
                </a:schemeClr>
              </a:gs>
              <a:gs pos="100000">
                <a:schemeClr val="bg2">
                  <a:lumMod val="75000"/>
                </a:schemeClr>
              </a:gs>
            </a:gsLst>
            <a:lin ang="5400000" scaled="0"/>
            <a:tileRect/>
          </a:gradFill>
        </p:spPr>
        <p:style>
          <a:lnRef idx="1">
            <a:schemeClr val="accent2"/>
          </a:lnRef>
          <a:fillRef idx="2">
            <a:schemeClr val="accent2"/>
          </a:fillRef>
          <a:effectRef idx="1">
            <a:schemeClr val="accent2"/>
          </a:effectRef>
          <a:fontRef idx="minor">
            <a:schemeClr val="dk1"/>
          </a:fontRef>
        </p:style>
        <p:txBody>
          <a:bodyPr rtlCol="0" anchor="ctr"/>
          <a:lstStyle/>
          <a:p>
            <a:pPr algn="ctr" defTabSz="1219170"/>
            <a:endParaRPr lang="en-US" sz="1333" dirty="0">
              <a:solidFill>
                <a:srgbClr val="000000"/>
              </a:solidFill>
              <a:latin typeface="Arial"/>
            </a:endParaRPr>
          </a:p>
        </p:txBody>
      </p:sp>
      <p:sp>
        <p:nvSpPr>
          <p:cNvPr id="15" name="Oval 14">
            <a:extLst>
              <a:ext uri="{FF2B5EF4-FFF2-40B4-BE49-F238E27FC236}">
                <a16:creationId xmlns:a16="http://schemas.microsoft.com/office/drawing/2014/main" id="{A3CB94C5-1E61-4E8E-92DE-AB9C952D4982}"/>
              </a:ext>
            </a:extLst>
          </p:cNvPr>
          <p:cNvSpPr/>
          <p:nvPr/>
        </p:nvSpPr>
        <p:spPr>
          <a:xfrm>
            <a:off x="3231213" y="2253008"/>
            <a:ext cx="1303867" cy="1303867"/>
          </a:xfrm>
          <a:prstGeom prst="ellipse">
            <a:avLst/>
          </a:prstGeom>
          <a:gradFill flip="none" rotWithShape="0">
            <a:gsLst>
              <a:gs pos="0">
                <a:schemeClr val="bg2">
                  <a:lumMod val="90000"/>
                </a:schemeClr>
              </a:gs>
              <a:gs pos="50000">
                <a:schemeClr val="bg2">
                  <a:lumMod val="90000"/>
                </a:schemeClr>
              </a:gs>
              <a:gs pos="100000">
                <a:schemeClr val="bg2">
                  <a:lumMod val="75000"/>
                </a:schemeClr>
              </a:gs>
            </a:gsLst>
            <a:lin ang="5400000" scaled="0"/>
            <a:tileRect/>
          </a:gradFill>
        </p:spPr>
        <p:style>
          <a:lnRef idx="1">
            <a:schemeClr val="accent2"/>
          </a:lnRef>
          <a:fillRef idx="2">
            <a:schemeClr val="accent2"/>
          </a:fillRef>
          <a:effectRef idx="1">
            <a:schemeClr val="accent2"/>
          </a:effectRef>
          <a:fontRef idx="minor">
            <a:schemeClr val="dk1"/>
          </a:fontRef>
        </p:style>
        <p:txBody>
          <a:bodyPr rtlCol="0" anchor="ctr"/>
          <a:lstStyle/>
          <a:p>
            <a:pPr algn="ctr" defTabSz="1219170"/>
            <a:endParaRPr lang="en-US" sz="1333" dirty="0">
              <a:solidFill>
                <a:srgbClr val="000000"/>
              </a:solidFill>
              <a:latin typeface="Arial"/>
            </a:endParaRPr>
          </a:p>
        </p:txBody>
      </p:sp>
      <p:sp>
        <p:nvSpPr>
          <p:cNvPr id="16" name="Oval 15">
            <a:extLst>
              <a:ext uri="{FF2B5EF4-FFF2-40B4-BE49-F238E27FC236}">
                <a16:creationId xmlns:a16="http://schemas.microsoft.com/office/drawing/2014/main" id="{37F10C4D-9D71-42DD-8032-3CD0792ED4F8}"/>
              </a:ext>
            </a:extLst>
          </p:cNvPr>
          <p:cNvSpPr/>
          <p:nvPr/>
        </p:nvSpPr>
        <p:spPr>
          <a:xfrm>
            <a:off x="5447228" y="3294151"/>
            <a:ext cx="1303867" cy="1303867"/>
          </a:xfrm>
          <a:prstGeom prst="ellipse">
            <a:avLst/>
          </a:prstGeom>
          <a:gradFill flip="none" rotWithShape="0">
            <a:gsLst>
              <a:gs pos="0">
                <a:schemeClr val="bg2">
                  <a:lumMod val="90000"/>
                </a:schemeClr>
              </a:gs>
              <a:gs pos="50000">
                <a:schemeClr val="bg2">
                  <a:lumMod val="90000"/>
                </a:schemeClr>
              </a:gs>
              <a:gs pos="100000">
                <a:schemeClr val="bg2">
                  <a:lumMod val="75000"/>
                </a:schemeClr>
              </a:gs>
            </a:gsLst>
            <a:lin ang="5400000" scaled="0"/>
            <a:tileRect/>
          </a:gradFill>
        </p:spPr>
        <p:style>
          <a:lnRef idx="1">
            <a:schemeClr val="accent2"/>
          </a:lnRef>
          <a:fillRef idx="2">
            <a:schemeClr val="accent2"/>
          </a:fillRef>
          <a:effectRef idx="1">
            <a:schemeClr val="accent2"/>
          </a:effectRef>
          <a:fontRef idx="minor">
            <a:schemeClr val="dk1"/>
          </a:fontRef>
        </p:style>
        <p:txBody>
          <a:bodyPr rtlCol="0" anchor="ctr"/>
          <a:lstStyle/>
          <a:p>
            <a:pPr algn="ctr" defTabSz="1219170"/>
            <a:endParaRPr lang="en-US" sz="1333" dirty="0">
              <a:solidFill>
                <a:srgbClr val="000000"/>
              </a:solidFill>
              <a:latin typeface="Arial"/>
            </a:endParaRPr>
          </a:p>
        </p:txBody>
      </p:sp>
      <p:sp>
        <p:nvSpPr>
          <p:cNvPr id="17" name="Oval 16">
            <a:extLst>
              <a:ext uri="{FF2B5EF4-FFF2-40B4-BE49-F238E27FC236}">
                <a16:creationId xmlns:a16="http://schemas.microsoft.com/office/drawing/2014/main" id="{C34DC230-4FA7-49DF-9702-6FA58C67E54D}"/>
              </a:ext>
            </a:extLst>
          </p:cNvPr>
          <p:cNvSpPr/>
          <p:nvPr/>
        </p:nvSpPr>
        <p:spPr>
          <a:xfrm>
            <a:off x="9868447" y="3294151"/>
            <a:ext cx="1303867" cy="1303867"/>
          </a:xfrm>
          <a:prstGeom prst="ellipse">
            <a:avLst/>
          </a:prstGeom>
          <a:gradFill flip="none" rotWithShape="0">
            <a:gsLst>
              <a:gs pos="0">
                <a:schemeClr val="bg2">
                  <a:lumMod val="90000"/>
                </a:schemeClr>
              </a:gs>
              <a:gs pos="50000">
                <a:schemeClr val="bg2">
                  <a:lumMod val="90000"/>
                </a:schemeClr>
              </a:gs>
              <a:gs pos="100000">
                <a:schemeClr val="bg2">
                  <a:lumMod val="75000"/>
                </a:schemeClr>
              </a:gs>
            </a:gsLst>
            <a:lin ang="5400000" scaled="0"/>
            <a:tileRect/>
          </a:gradFill>
        </p:spPr>
        <p:style>
          <a:lnRef idx="1">
            <a:schemeClr val="accent2"/>
          </a:lnRef>
          <a:fillRef idx="2">
            <a:schemeClr val="accent2"/>
          </a:fillRef>
          <a:effectRef idx="1">
            <a:schemeClr val="accent2"/>
          </a:effectRef>
          <a:fontRef idx="minor">
            <a:schemeClr val="dk1"/>
          </a:fontRef>
        </p:style>
        <p:txBody>
          <a:bodyPr rtlCol="0" anchor="ctr"/>
          <a:lstStyle/>
          <a:p>
            <a:pPr algn="ctr" defTabSz="1219170"/>
            <a:endParaRPr lang="en-US" sz="1333" dirty="0">
              <a:solidFill>
                <a:srgbClr val="000000"/>
              </a:solidFill>
              <a:latin typeface="Arial"/>
            </a:endParaRPr>
          </a:p>
        </p:txBody>
      </p:sp>
      <p:sp>
        <p:nvSpPr>
          <p:cNvPr id="18" name="Oval 17">
            <a:extLst>
              <a:ext uri="{FF2B5EF4-FFF2-40B4-BE49-F238E27FC236}">
                <a16:creationId xmlns:a16="http://schemas.microsoft.com/office/drawing/2014/main" id="{E301C020-A011-4F8F-BD47-08B5AC6991ED}"/>
              </a:ext>
            </a:extLst>
          </p:cNvPr>
          <p:cNvSpPr/>
          <p:nvPr/>
        </p:nvSpPr>
        <p:spPr>
          <a:xfrm>
            <a:off x="7656351" y="2253008"/>
            <a:ext cx="1303867" cy="1303867"/>
          </a:xfrm>
          <a:prstGeom prst="ellipse">
            <a:avLst/>
          </a:prstGeom>
          <a:gradFill flip="none" rotWithShape="0">
            <a:gsLst>
              <a:gs pos="0">
                <a:schemeClr val="bg2">
                  <a:lumMod val="90000"/>
                </a:schemeClr>
              </a:gs>
              <a:gs pos="50000">
                <a:schemeClr val="bg2">
                  <a:lumMod val="90000"/>
                </a:schemeClr>
              </a:gs>
              <a:gs pos="100000">
                <a:schemeClr val="bg2">
                  <a:lumMod val="75000"/>
                </a:schemeClr>
              </a:gs>
            </a:gsLst>
            <a:lin ang="5400000" scaled="0"/>
            <a:tileRect/>
          </a:gradFill>
        </p:spPr>
        <p:style>
          <a:lnRef idx="1">
            <a:schemeClr val="accent2"/>
          </a:lnRef>
          <a:fillRef idx="2">
            <a:schemeClr val="accent2"/>
          </a:fillRef>
          <a:effectRef idx="1">
            <a:schemeClr val="accent2"/>
          </a:effectRef>
          <a:fontRef idx="minor">
            <a:schemeClr val="dk1"/>
          </a:fontRef>
        </p:style>
        <p:txBody>
          <a:bodyPr rtlCol="0" anchor="ctr"/>
          <a:lstStyle/>
          <a:p>
            <a:pPr algn="ctr" defTabSz="1219170"/>
            <a:endParaRPr lang="en-US" sz="1333" dirty="0">
              <a:solidFill>
                <a:srgbClr val="000000"/>
              </a:solidFill>
              <a:latin typeface="Arial"/>
            </a:endParaRPr>
          </a:p>
        </p:txBody>
      </p:sp>
      <p:sp>
        <p:nvSpPr>
          <p:cNvPr id="19" name="Rectangle 18">
            <a:extLst>
              <a:ext uri="{FF2B5EF4-FFF2-40B4-BE49-F238E27FC236}">
                <a16:creationId xmlns:a16="http://schemas.microsoft.com/office/drawing/2014/main" id="{D0322A8E-C387-4970-9DA8-214742B31325}"/>
              </a:ext>
            </a:extLst>
          </p:cNvPr>
          <p:cNvSpPr/>
          <p:nvPr/>
        </p:nvSpPr>
        <p:spPr>
          <a:xfrm>
            <a:off x="993339" y="2001276"/>
            <a:ext cx="1337226" cy="748795"/>
          </a:xfrm>
          <a:prstGeom prst="rect">
            <a:avLst/>
          </a:prstGeom>
        </p:spPr>
        <p:txBody>
          <a:bodyPr wrap="none">
            <a:spAutoFit/>
          </a:bodyPr>
          <a:lstStyle/>
          <a:p>
            <a:pPr algn="ctr" defTabSz="1219170"/>
            <a:r>
              <a:rPr lang="en-US" sz="2133" b="1" dirty="0">
                <a:solidFill>
                  <a:srgbClr val="000000"/>
                </a:solidFill>
                <a:latin typeface="Arial"/>
              </a:rPr>
              <a:t>Industry </a:t>
            </a:r>
            <a:br>
              <a:rPr lang="en-US" sz="2133" b="1" dirty="0">
                <a:solidFill>
                  <a:srgbClr val="000000"/>
                </a:solidFill>
                <a:latin typeface="Arial"/>
              </a:rPr>
            </a:br>
            <a:r>
              <a:rPr lang="en-US" sz="2133" b="1" dirty="0">
                <a:solidFill>
                  <a:srgbClr val="000000"/>
                </a:solidFill>
                <a:latin typeface="Arial"/>
              </a:rPr>
              <a:t>Call</a:t>
            </a:r>
          </a:p>
        </p:txBody>
      </p:sp>
      <p:sp>
        <p:nvSpPr>
          <p:cNvPr id="20" name="Rectangle 19">
            <a:extLst>
              <a:ext uri="{FF2B5EF4-FFF2-40B4-BE49-F238E27FC236}">
                <a16:creationId xmlns:a16="http://schemas.microsoft.com/office/drawing/2014/main" id="{C73DC0C3-9B73-4F62-8DE2-CEDA2C87E670}"/>
              </a:ext>
            </a:extLst>
          </p:cNvPr>
          <p:cNvSpPr/>
          <p:nvPr/>
        </p:nvSpPr>
        <p:spPr>
          <a:xfrm>
            <a:off x="5532508" y="2001276"/>
            <a:ext cx="1140056" cy="748795"/>
          </a:xfrm>
          <a:prstGeom prst="rect">
            <a:avLst/>
          </a:prstGeom>
        </p:spPr>
        <p:txBody>
          <a:bodyPr wrap="none">
            <a:spAutoFit/>
          </a:bodyPr>
          <a:lstStyle/>
          <a:p>
            <a:pPr algn="ctr" defTabSz="1219170"/>
            <a:r>
              <a:rPr lang="en-US" sz="2133" b="1" dirty="0">
                <a:solidFill>
                  <a:srgbClr val="000000"/>
                </a:solidFill>
                <a:latin typeface="Arial"/>
              </a:rPr>
              <a:t>Corona</a:t>
            </a:r>
            <a:br>
              <a:rPr lang="en-US" sz="2133" b="1" dirty="0">
                <a:solidFill>
                  <a:srgbClr val="000000"/>
                </a:solidFill>
                <a:latin typeface="Arial"/>
              </a:rPr>
            </a:br>
            <a:r>
              <a:rPr lang="en-US" sz="2133" b="1" dirty="0">
                <a:solidFill>
                  <a:srgbClr val="000000"/>
                </a:solidFill>
                <a:latin typeface="Arial"/>
              </a:rPr>
              <a:t>Watch</a:t>
            </a:r>
            <a:endParaRPr lang="en-US" sz="2133" b="1" dirty="0">
              <a:solidFill>
                <a:srgbClr val="5482E1">
                  <a:lumMod val="75000"/>
                </a:srgbClr>
              </a:solidFill>
              <a:latin typeface="Arial"/>
            </a:endParaRPr>
          </a:p>
        </p:txBody>
      </p:sp>
      <p:sp>
        <p:nvSpPr>
          <p:cNvPr id="21" name="Rectangle 20">
            <a:extLst>
              <a:ext uri="{FF2B5EF4-FFF2-40B4-BE49-F238E27FC236}">
                <a16:creationId xmlns:a16="http://schemas.microsoft.com/office/drawing/2014/main" id="{64BE04E0-BC59-4B5E-AABA-FC9008A2BA73}"/>
              </a:ext>
            </a:extLst>
          </p:cNvPr>
          <p:cNvSpPr/>
          <p:nvPr/>
        </p:nvSpPr>
        <p:spPr>
          <a:xfrm>
            <a:off x="9336952" y="1803400"/>
            <a:ext cx="2550249" cy="1077026"/>
          </a:xfrm>
          <a:prstGeom prst="rect">
            <a:avLst/>
          </a:prstGeom>
        </p:spPr>
        <p:txBody>
          <a:bodyPr wrap="square">
            <a:spAutoFit/>
          </a:bodyPr>
          <a:lstStyle/>
          <a:p>
            <a:pPr algn="ctr" defTabSz="1219170"/>
            <a:r>
              <a:rPr lang="en-US" sz="2133" b="1" dirty="0">
                <a:solidFill>
                  <a:srgbClr val="000000"/>
                </a:solidFill>
                <a:latin typeface="Arial"/>
              </a:rPr>
              <a:t>Industry and Congressional Engagements</a:t>
            </a:r>
          </a:p>
        </p:txBody>
      </p:sp>
      <p:sp>
        <p:nvSpPr>
          <p:cNvPr id="22" name="Rectangle 21">
            <a:extLst>
              <a:ext uri="{FF2B5EF4-FFF2-40B4-BE49-F238E27FC236}">
                <a16:creationId xmlns:a16="http://schemas.microsoft.com/office/drawing/2014/main" id="{3835550D-F505-4375-B03B-6A1BC6E269ED}"/>
              </a:ext>
            </a:extLst>
          </p:cNvPr>
          <p:cNvSpPr/>
          <p:nvPr/>
        </p:nvSpPr>
        <p:spPr>
          <a:xfrm>
            <a:off x="3399091" y="4029708"/>
            <a:ext cx="958916" cy="748795"/>
          </a:xfrm>
          <a:prstGeom prst="rect">
            <a:avLst/>
          </a:prstGeom>
        </p:spPr>
        <p:txBody>
          <a:bodyPr wrap="none">
            <a:spAutoFit/>
          </a:bodyPr>
          <a:lstStyle/>
          <a:p>
            <a:pPr algn="ctr" defTabSz="1219170"/>
            <a:r>
              <a:rPr lang="en-US" sz="2133" b="1" dirty="0">
                <a:solidFill>
                  <a:srgbClr val="000000"/>
                </a:solidFill>
                <a:latin typeface="Arial"/>
              </a:rPr>
              <a:t>MCM </a:t>
            </a:r>
            <a:br>
              <a:rPr lang="en-US" sz="2133" b="1" dirty="0">
                <a:solidFill>
                  <a:srgbClr val="000000"/>
                </a:solidFill>
                <a:latin typeface="Arial"/>
              </a:rPr>
            </a:br>
            <a:r>
              <a:rPr lang="en-US" sz="2133" b="1" dirty="0">
                <a:solidFill>
                  <a:srgbClr val="000000"/>
                </a:solidFill>
                <a:latin typeface="Arial"/>
              </a:rPr>
              <a:t>Portal</a:t>
            </a:r>
            <a:endParaRPr lang="en-US" sz="2133" b="1" dirty="0">
              <a:solidFill>
                <a:srgbClr val="5482E1">
                  <a:lumMod val="75000"/>
                </a:srgbClr>
              </a:solidFill>
              <a:latin typeface="Arial"/>
            </a:endParaRPr>
          </a:p>
        </p:txBody>
      </p:sp>
      <p:sp>
        <p:nvSpPr>
          <p:cNvPr id="23" name="Rectangle 22">
            <a:extLst>
              <a:ext uri="{FF2B5EF4-FFF2-40B4-BE49-F238E27FC236}">
                <a16:creationId xmlns:a16="http://schemas.microsoft.com/office/drawing/2014/main" id="{C3BF25FB-BEE8-4EC2-91C9-8749BE188420}"/>
              </a:ext>
            </a:extLst>
          </p:cNvPr>
          <p:cNvSpPr/>
          <p:nvPr/>
        </p:nvSpPr>
        <p:spPr>
          <a:xfrm>
            <a:off x="7165314" y="4029707"/>
            <a:ext cx="2336705" cy="1651862"/>
          </a:xfrm>
          <a:prstGeom prst="rect">
            <a:avLst/>
          </a:prstGeom>
        </p:spPr>
        <p:txBody>
          <a:bodyPr wrap="square">
            <a:spAutoFit/>
          </a:bodyPr>
          <a:lstStyle/>
          <a:p>
            <a:pPr algn="ctr" defTabSz="1219170"/>
            <a:r>
              <a:rPr lang="en-US" sz="2133" b="1" dirty="0">
                <a:solidFill>
                  <a:srgbClr val="000000"/>
                </a:solidFill>
                <a:latin typeface="Arial"/>
              </a:rPr>
              <a:t>Funding </a:t>
            </a:r>
            <a:br>
              <a:rPr lang="en-US" sz="2133" b="1" dirty="0">
                <a:solidFill>
                  <a:srgbClr val="000000"/>
                </a:solidFill>
                <a:latin typeface="Arial"/>
              </a:rPr>
            </a:br>
            <a:r>
              <a:rPr lang="en-US" sz="2133" b="1" dirty="0">
                <a:solidFill>
                  <a:srgbClr val="000000"/>
                </a:solidFill>
                <a:latin typeface="Arial"/>
              </a:rPr>
              <a:t>Announcement </a:t>
            </a:r>
          </a:p>
          <a:p>
            <a:pPr algn="ctr" defTabSz="1219170"/>
            <a:r>
              <a:rPr lang="en-US" sz="1467" dirty="0">
                <a:solidFill>
                  <a:srgbClr val="000000"/>
                </a:solidFill>
                <a:latin typeface="Arial"/>
              </a:rPr>
              <a:t>(14 NIH/NIAID Funding Opportunities; FDA BAA, BARDA EZ BAA and BAA)</a:t>
            </a:r>
          </a:p>
        </p:txBody>
      </p:sp>
      <p:grpSp>
        <p:nvGrpSpPr>
          <p:cNvPr id="27" name="Graphic 26">
            <a:extLst>
              <a:ext uri="{FF2B5EF4-FFF2-40B4-BE49-F238E27FC236}">
                <a16:creationId xmlns:a16="http://schemas.microsoft.com/office/drawing/2014/main" id="{A6782ED5-AD2F-423F-8DAE-3B234A9B4C44}"/>
              </a:ext>
            </a:extLst>
          </p:cNvPr>
          <p:cNvGrpSpPr/>
          <p:nvPr/>
        </p:nvGrpSpPr>
        <p:grpSpPr>
          <a:xfrm>
            <a:off x="3408407" y="2620404"/>
            <a:ext cx="936588" cy="567989"/>
            <a:chOff x="3229110" y="1861183"/>
            <a:chExt cx="824621" cy="500087"/>
          </a:xfrm>
          <a:solidFill>
            <a:schemeClr val="accent1"/>
          </a:solidFill>
        </p:grpSpPr>
        <p:sp>
          <p:nvSpPr>
            <p:cNvPr id="28" name="Freeform: Shape 27">
              <a:extLst>
                <a:ext uri="{FF2B5EF4-FFF2-40B4-BE49-F238E27FC236}">
                  <a16:creationId xmlns:a16="http://schemas.microsoft.com/office/drawing/2014/main" id="{8EE7120A-5BA5-4809-96D4-761C25416F83}"/>
                </a:ext>
              </a:extLst>
            </p:cNvPr>
            <p:cNvSpPr/>
            <p:nvPr/>
          </p:nvSpPr>
          <p:spPr>
            <a:xfrm>
              <a:off x="3229110" y="2305553"/>
              <a:ext cx="824621" cy="55716"/>
            </a:xfrm>
            <a:custGeom>
              <a:avLst/>
              <a:gdLst>
                <a:gd name="connsiteX0" fmla="*/ 817333 w 824621"/>
                <a:gd name="connsiteY0" fmla="*/ 39116 h 55716"/>
                <a:gd name="connsiteX1" fmla="*/ 812557 w 824621"/>
                <a:gd name="connsiteY1" fmla="*/ 38888 h 55716"/>
                <a:gd name="connsiteX2" fmla="*/ 792090 w 824621"/>
                <a:gd name="connsiteY2" fmla="*/ 38888 h 55716"/>
                <a:gd name="connsiteX3" fmla="*/ 776853 w 824621"/>
                <a:gd name="connsiteY3" fmla="*/ 38888 h 55716"/>
                <a:gd name="connsiteX4" fmla="*/ 776626 w 824621"/>
                <a:gd name="connsiteY4" fmla="*/ 38888 h 55716"/>
                <a:gd name="connsiteX5" fmla="*/ 776626 w 824621"/>
                <a:gd name="connsiteY5" fmla="*/ 38661 h 55716"/>
                <a:gd name="connsiteX6" fmla="*/ 780264 w 824621"/>
                <a:gd name="connsiteY6" fmla="*/ 31838 h 55716"/>
                <a:gd name="connsiteX7" fmla="*/ 782993 w 824621"/>
                <a:gd name="connsiteY7" fmla="*/ 14555 h 55716"/>
                <a:gd name="connsiteX8" fmla="*/ 764118 w 824621"/>
                <a:gd name="connsiteY8" fmla="*/ 0 h 55716"/>
                <a:gd name="connsiteX9" fmla="*/ 690208 w 824621"/>
                <a:gd name="connsiteY9" fmla="*/ 0 h 55716"/>
                <a:gd name="connsiteX10" fmla="*/ 625621 w 824621"/>
                <a:gd name="connsiteY10" fmla="*/ 0 h 55716"/>
                <a:gd name="connsiteX11" fmla="*/ 478483 w 824621"/>
                <a:gd name="connsiteY11" fmla="*/ 0 h 55716"/>
                <a:gd name="connsiteX12" fmla="*/ 478483 w 824621"/>
                <a:gd name="connsiteY12" fmla="*/ 0 h 55716"/>
                <a:gd name="connsiteX13" fmla="*/ 464156 w 824621"/>
                <a:gd name="connsiteY13" fmla="*/ 5685 h 55716"/>
                <a:gd name="connsiteX14" fmla="*/ 462337 w 824621"/>
                <a:gd name="connsiteY14" fmla="*/ 6368 h 55716"/>
                <a:gd name="connsiteX15" fmla="*/ 416171 w 824621"/>
                <a:gd name="connsiteY15" fmla="*/ 6368 h 55716"/>
                <a:gd name="connsiteX16" fmla="*/ 414579 w 824621"/>
                <a:gd name="connsiteY16" fmla="*/ 6140 h 55716"/>
                <a:gd name="connsiteX17" fmla="*/ 399342 w 824621"/>
                <a:gd name="connsiteY17" fmla="*/ 227 h 55716"/>
                <a:gd name="connsiteX18" fmla="*/ 235603 w 824621"/>
                <a:gd name="connsiteY18" fmla="*/ 455 h 55716"/>
                <a:gd name="connsiteX19" fmla="*/ 209905 w 824621"/>
                <a:gd name="connsiteY19" fmla="*/ 455 h 55716"/>
                <a:gd name="connsiteX20" fmla="*/ 186936 w 824621"/>
                <a:gd name="connsiteY20" fmla="*/ 455 h 55716"/>
                <a:gd name="connsiteX21" fmla="*/ 184207 w 824621"/>
                <a:gd name="connsiteY21" fmla="*/ 455 h 55716"/>
                <a:gd name="connsiteX22" fmla="*/ 111889 w 824621"/>
                <a:gd name="connsiteY22" fmla="*/ 682 h 55716"/>
                <a:gd name="connsiteX23" fmla="*/ 95287 w 824621"/>
                <a:gd name="connsiteY23" fmla="*/ 17511 h 55716"/>
                <a:gd name="connsiteX24" fmla="*/ 98699 w 824621"/>
                <a:gd name="connsiteY24" fmla="*/ 33203 h 55716"/>
                <a:gd name="connsiteX25" fmla="*/ 101882 w 824621"/>
                <a:gd name="connsiteY25" fmla="*/ 39343 h 55716"/>
                <a:gd name="connsiteX26" fmla="*/ 10916 w 824621"/>
                <a:gd name="connsiteY26" fmla="*/ 39343 h 55716"/>
                <a:gd name="connsiteX27" fmla="*/ 2047 w 824621"/>
                <a:gd name="connsiteY27" fmla="*/ 42299 h 55716"/>
                <a:gd name="connsiteX28" fmla="*/ 0 w 824621"/>
                <a:gd name="connsiteY28" fmla="*/ 47757 h 55716"/>
                <a:gd name="connsiteX29" fmla="*/ 10916 w 824621"/>
                <a:gd name="connsiteY29" fmla="*/ 55717 h 55716"/>
                <a:gd name="connsiteX30" fmla="*/ 38888 w 824621"/>
                <a:gd name="connsiteY30" fmla="*/ 55717 h 55716"/>
                <a:gd name="connsiteX31" fmla="*/ 118939 w 824621"/>
                <a:gd name="connsiteY31" fmla="*/ 55717 h 55716"/>
                <a:gd name="connsiteX32" fmla="*/ 140543 w 824621"/>
                <a:gd name="connsiteY32" fmla="*/ 55490 h 55716"/>
                <a:gd name="connsiteX33" fmla="*/ 161238 w 824621"/>
                <a:gd name="connsiteY33" fmla="*/ 55262 h 55716"/>
                <a:gd name="connsiteX34" fmla="*/ 173291 w 824621"/>
                <a:gd name="connsiteY34" fmla="*/ 55490 h 55716"/>
                <a:gd name="connsiteX35" fmla="*/ 184889 w 824621"/>
                <a:gd name="connsiteY35" fmla="*/ 55717 h 55716"/>
                <a:gd name="connsiteX36" fmla="*/ 395249 w 824621"/>
                <a:gd name="connsiteY36" fmla="*/ 55717 h 55716"/>
                <a:gd name="connsiteX37" fmla="*/ 567858 w 824621"/>
                <a:gd name="connsiteY37" fmla="*/ 55717 h 55716"/>
                <a:gd name="connsiteX38" fmla="*/ 813922 w 824621"/>
                <a:gd name="connsiteY38" fmla="*/ 55717 h 55716"/>
                <a:gd name="connsiteX39" fmla="*/ 814604 w 824621"/>
                <a:gd name="connsiteY39" fmla="*/ 55717 h 55716"/>
                <a:gd name="connsiteX40" fmla="*/ 817333 w 824621"/>
                <a:gd name="connsiteY40" fmla="*/ 55717 h 55716"/>
                <a:gd name="connsiteX41" fmla="*/ 824610 w 824621"/>
                <a:gd name="connsiteY41" fmla="*/ 47757 h 55716"/>
                <a:gd name="connsiteX42" fmla="*/ 817333 w 824621"/>
                <a:gd name="connsiteY42" fmla="*/ 39116 h 55716"/>
                <a:gd name="connsiteX43" fmla="*/ 760252 w 824621"/>
                <a:gd name="connsiteY43" fmla="*/ 15692 h 55716"/>
                <a:gd name="connsiteX44" fmla="*/ 766847 w 824621"/>
                <a:gd name="connsiteY44" fmla="*/ 16601 h 55716"/>
                <a:gd name="connsiteX45" fmla="*/ 765710 w 824621"/>
                <a:gd name="connsiteY45" fmla="*/ 24561 h 55716"/>
                <a:gd name="connsiteX46" fmla="*/ 745242 w 824621"/>
                <a:gd name="connsiteY46" fmla="*/ 38661 h 55716"/>
                <a:gd name="connsiteX47" fmla="*/ 745015 w 824621"/>
                <a:gd name="connsiteY47" fmla="*/ 38661 h 55716"/>
                <a:gd name="connsiteX48" fmla="*/ 692027 w 824621"/>
                <a:gd name="connsiteY48" fmla="*/ 38433 h 55716"/>
                <a:gd name="connsiteX49" fmla="*/ 670422 w 824621"/>
                <a:gd name="connsiteY49" fmla="*/ 38433 h 55716"/>
                <a:gd name="connsiteX50" fmla="*/ 567630 w 824621"/>
                <a:gd name="connsiteY50" fmla="*/ 38433 h 55716"/>
                <a:gd name="connsiteX51" fmla="*/ 204220 w 824621"/>
                <a:gd name="connsiteY51" fmla="*/ 38433 h 55716"/>
                <a:gd name="connsiteX52" fmla="*/ 189892 w 824621"/>
                <a:gd name="connsiteY52" fmla="*/ 38661 h 55716"/>
                <a:gd name="connsiteX53" fmla="*/ 174883 w 824621"/>
                <a:gd name="connsiteY53" fmla="*/ 38888 h 55716"/>
                <a:gd name="connsiteX54" fmla="*/ 147593 w 824621"/>
                <a:gd name="connsiteY54" fmla="*/ 38661 h 55716"/>
                <a:gd name="connsiteX55" fmla="*/ 129855 w 824621"/>
                <a:gd name="connsiteY55" fmla="*/ 38433 h 55716"/>
                <a:gd name="connsiteX56" fmla="*/ 110297 w 824621"/>
                <a:gd name="connsiteY56" fmla="*/ 18648 h 55716"/>
                <a:gd name="connsiteX57" fmla="*/ 110752 w 824621"/>
                <a:gd name="connsiteY57" fmla="*/ 16147 h 55716"/>
                <a:gd name="connsiteX58" fmla="*/ 113935 w 824621"/>
                <a:gd name="connsiteY58" fmla="*/ 15464 h 55716"/>
                <a:gd name="connsiteX59" fmla="*/ 138269 w 824621"/>
                <a:gd name="connsiteY59" fmla="*/ 15464 h 55716"/>
                <a:gd name="connsiteX60" fmla="*/ 152824 w 824621"/>
                <a:gd name="connsiteY60" fmla="*/ 15464 h 55716"/>
                <a:gd name="connsiteX61" fmla="*/ 219456 w 824621"/>
                <a:gd name="connsiteY61" fmla="*/ 15464 h 55716"/>
                <a:gd name="connsiteX62" fmla="*/ 250840 w 824621"/>
                <a:gd name="connsiteY62" fmla="*/ 15464 h 55716"/>
                <a:gd name="connsiteX63" fmla="*/ 396841 w 824621"/>
                <a:gd name="connsiteY63" fmla="*/ 15464 h 55716"/>
                <a:gd name="connsiteX64" fmla="*/ 396841 w 824621"/>
                <a:gd name="connsiteY64" fmla="*/ 15464 h 55716"/>
                <a:gd name="connsiteX65" fmla="*/ 403436 w 824621"/>
                <a:gd name="connsiteY65" fmla="*/ 17966 h 55716"/>
                <a:gd name="connsiteX66" fmla="*/ 412533 w 824621"/>
                <a:gd name="connsiteY66" fmla="*/ 21605 h 55716"/>
                <a:gd name="connsiteX67" fmla="*/ 463929 w 824621"/>
                <a:gd name="connsiteY67" fmla="*/ 21605 h 55716"/>
                <a:gd name="connsiteX68" fmla="*/ 473253 w 824621"/>
                <a:gd name="connsiteY68" fmla="*/ 17738 h 55716"/>
                <a:gd name="connsiteX69" fmla="*/ 479393 w 824621"/>
                <a:gd name="connsiteY69" fmla="*/ 15464 h 55716"/>
                <a:gd name="connsiteX70" fmla="*/ 479393 w 824621"/>
                <a:gd name="connsiteY70" fmla="*/ 15464 h 55716"/>
                <a:gd name="connsiteX71" fmla="*/ 626758 w 824621"/>
                <a:gd name="connsiteY71" fmla="*/ 15464 h 55716"/>
                <a:gd name="connsiteX72" fmla="*/ 654276 w 824621"/>
                <a:gd name="connsiteY72" fmla="*/ 15464 h 55716"/>
                <a:gd name="connsiteX73" fmla="*/ 682930 w 824621"/>
                <a:gd name="connsiteY73" fmla="*/ 15464 h 5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824621" h="55716">
                  <a:moveTo>
                    <a:pt x="817333" y="39116"/>
                  </a:moveTo>
                  <a:cubicBezTo>
                    <a:pt x="815741" y="38888"/>
                    <a:pt x="813922" y="38888"/>
                    <a:pt x="812557" y="38888"/>
                  </a:cubicBezTo>
                  <a:cubicBezTo>
                    <a:pt x="805735" y="38888"/>
                    <a:pt x="798912" y="38888"/>
                    <a:pt x="792090" y="38888"/>
                  </a:cubicBezTo>
                  <a:lnTo>
                    <a:pt x="776853" y="38888"/>
                  </a:lnTo>
                  <a:cubicBezTo>
                    <a:pt x="776853" y="38888"/>
                    <a:pt x="776626" y="38888"/>
                    <a:pt x="776626" y="38888"/>
                  </a:cubicBezTo>
                  <a:cubicBezTo>
                    <a:pt x="776626" y="38888"/>
                    <a:pt x="776626" y="38888"/>
                    <a:pt x="776626" y="38661"/>
                  </a:cubicBezTo>
                  <a:cubicBezTo>
                    <a:pt x="777990" y="36387"/>
                    <a:pt x="779127" y="34112"/>
                    <a:pt x="780264" y="31838"/>
                  </a:cubicBezTo>
                  <a:cubicBezTo>
                    <a:pt x="782766" y="26380"/>
                    <a:pt x="783676" y="20467"/>
                    <a:pt x="782993" y="14555"/>
                  </a:cubicBezTo>
                  <a:cubicBezTo>
                    <a:pt x="781856" y="6140"/>
                    <a:pt x="774124" y="0"/>
                    <a:pt x="764118" y="0"/>
                  </a:cubicBezTo>
                  <a:cubicBezTo>
                    <a:pt x="739557" y="0"/>
                    <a:pt x="714996" y="0"/>
                    <a:pt x="690208" y="0"/>
                  </a:cubicBezTo>
                  <a:lnTo>
                    <a:pt x="625621" y="0"/>
                  </a:lnTo>
                  <a:cubicBezTo>
                    <a:pt x="576500" y="0"/>
                    <a:pt x="527378" y="0"/>
                    <a:pt x="478483" y="0"/>
                  </a:cubicBezTo>
                  <a:cubicBezTo>
                    <a:pt x="478483" y="0"/>
                    <a:pt x="478483" y="0"/>
                    <a:pt x="478483" y="0"/>
                  </a:cubicBezTo>
                  <a:cubicBezTo>
                    <a:pt x="473707" y="0"/>
                    <a:pt x="468477" y="682"/>
                    <a:pt x="464156" y="5685"/>
                  </a:cubicBezTo>
                  <a:cubicBezTo>
                    <a:pt x="463929" y="5913"/>
                    <a:pt x="463019" y="6368"/>
                    <a:pt x="462337" y="6368"/>
                  </a:cubicBezTo>
                  <a:cubicBezTo>
                    <a:pt x="448010" y="6368"/>
                    <a:pt x="433000" y="6368"/>
                    <a:pt x="416171" y="6368"/>
                  </a:cubicBezTo>
                  <a:cubicBezTo>
                    <a:pt x="415489" y="6368"/>
                    <a:pt x="414579" y="6140"/>
                    <a:pt x="414579" y="6140"/>
                  </a:cubicBezTo>
                  <a:cubicBezTo>
                    <a:pt x="410258" y="910"/>
                    <a:pt x="404346" y="0"/>
                    <a:pt x="399342" y="227"/>
                  </a:cubicBezTo>
                  <a:cubicBezTo>
                    <a:pt x="340897" y="455"/>
                    <a:pt x="283815" y="455"/>
                    <a:pt x="235603" y="455"/>
                  </a:cubicBezTo>
                  <a:cubicBezTo>
                    <a:pt x="227189" y="455"/>
                    <a:pt x="218547" y="455"/>
                    <a:pt x="209905" y="455"/>
                  </a:cubicBezTo>
                  <a:cubicBezTo>
                    <a:pt x="202173" y="455"/>
                    <a:pt x="194668" y="455"/>
                    <a:pt x="186936" y="455"/>
                  </a:cubicBezTo>
                  <a:lnTo>
                    <a:pt x="184207" y="455"/>
                  </a:lnTo>
                  <a:cubicBezTo>
                    <a:pt x="160556" y="455"/>
                    <a:pt x="135995" y="455"/>
                    <a:pt x="111889" y="682"/>
                  </a:cubicBezTo>
                  <a:cubicBezTo>
                    <a:pt x="102792" y="682"/>
                    <a:pt x="95515" y="8187"/>
                    <a:pt x="95287" y="17511"/>
                  </a:cubicBezTo>
                  <a:cubicBezTo>
                    <a:pt x="95060" y="23424"/>
                    <a:pt x="96197" y="28654"/>
                    <a:pt x="98699" y="33203"/>
                  </a:cubicBezTo>
                  <a:cubicBezTo>
                    <a:pt x="99608" y="35249"/>
                    <a:pt x="100745" y="37069"/>
                    <a:pt x="101882" y="39343"/>
                  </a:cubicBezTo>
                  <a:lnTo>
                    <a:pt x="10916" y="39343"/>
                  </a:lnTo>
                  <a:cubicBezTo>
                    <a:pt x="6822" y="39343"/>
                    <a:pt x="3866" y="40253"/>
                    <a:pt x="2047" y="42299"/>
                  </a:cubicBezTo>
                  <a:cubicBezTo>
                    <a:pt x="682" y="43664"/>
                    <a:pt x="0" y="45483"/>
                    <a:pt x="0" y="47757"/>
                  </a:cubicBezTo>
                  <a:cubicBezTo>
                    <a:pt x="0" y="50714"/>
                    <a:pt x="1592" y="55717"/>
                    <a:pt x="10916" y="55717"/>
                  </a:cubicBezTo>
                  <a:lnTo>
                    <a:pt x="38888" y="55717"/>
                  </a:lnTo>
                  <a:cubicBezTo>
                    <a:pt x="65496" y="55717"/>
                    <a:pt x="92103" y="55717"/>
                    <a:pt x="118939" y="55717"/>
                  </a:cubicBezTo>
                  <a:cubicBezTo>
                    <a:pt x="126216" y="55717"/>
                    <a:pt x="133266" y="55490"/>
                    <a:pt x="140543" y="55490"/>
                  </a:cubicBezTo>
                  <a:cubicBezTo>
                    <a:pt x="147366" y="55490"/>
                    <a:pt x="154415" y="55262"/>
                    <a:pt x="161238" y="55262"/>
                  </a:cubicBezTo>
                  <a:cubicBezTo>
                    <a:pt x="165331" y="55262"/>
                    <a:pt x="169197" y="55490"/>
                    <a:pt x="173291" y="55490"/>
                  </a:cubicBezTo>
                  <a:cubicBezTo>
                    <a:pt x="177157" y="55717"/>
                    <a:pt x="181023" y="55717"/>
                    <a:pt x="184889" y="55717"/>
                  </a:cubicBezTo>
                  <a:cubicBezTo>
                    <a:pt x="254933" y="55717"/>
                    <a:pt x="325205" y="55717"/>
                    <a:pt x="395249" y="55717"/>
                  </a:cubicBezTo>
                  <a:cubicBezTo>
                    <a:pt x="452785" y="55717"/>
                    <a:pt x="510321" y="55717"/>
                    <a:pt x="567858" y="55717"/>
                  </a:cubicBezTo>
                  <a:lnTo>
                    <a:pt x="813922" y="55717"/>
                  </a:lnTo>
                  <a:lnTo>
                    <a:pt x="814604" y="55717"/>
                  </a:lnTo>
                  <a:cubicBezTo>
                    <a:pt x="815514" y="55717"/>
                    <a:pt x="816423" y="55717"/>
                    <a:pt x="817333" y="55717"/>
                  </a:cubicBezTo>
                  <a:cubicBezTo>
                    <a:pt x="821654" y="55262"/>
                    <a:pt x="824838" y="51851"/>
                    <a:pt x="824610" y="47757"/>
                  </a:cubicBezTo>
                  <a:cubicBezTo>
                    <a:pt x="824156" y="42754"/>
                    <a:pt x="821654" y="39798"/>
                    <a:pt x="817333" y="39116"/>
                  </a:cubicBezTo>
                  <a:close/>
                  <a:moveTo>
                    <a:pt x="760252" y="15692"/>
                  </a:moveTo>
                  <a:cubicBezTo>
                    <a:pt x="762071" y="15692"/>
                    <a:pt x="766164" y="15692"/>
                    <a:pt x="766847" y="16601"/>
                  </a:cubicBezTo>
                  <a:cubicBezTo>
                    <a:pt x="767529" y="17511"/>
                    <a:pt x="767074" y="20013"/>
                    <a:pt x="765710" y="24561"/>
                  </a:cubicBezTo>
                  <a:cubicBezTo>
                    <a:pt x="763208" y="32748"/>
                    <a:pt x="754566" y="38661"/>
                    <a:pt x="745242" y="38661"/>
                  </a:cubicBezTo>
                  <a:cubicBezTo>
                    <a:pt x="745242" y="38661"/>
                    <a:pt x="745015" y="38661"/>
                    <a:pt x="745015" y="38661"/>
                  </a:cubicBezTo>
                  <a:cubicBezTo>
                    <a:pt x="727276" y="38433"/>
                    <a:pt x="709538" y="38433"/>
                    <a:pt x="692027" y="38433"/>
                  </a:cubicBezTo>
                  <a:cubicBezTo>
                    <a:pt x="684750" y="38433"/>
                    <a:pt x="677700" y="38433"/>
                    <a:pt x="670422" y="38433"/>
                  </a:cubicBezTo>
                  <a:lnTo>
                    <a:pt x="567630" y="38433"/>
                  </a:lnTo>
                  <a:cubicBezTo>
                    <a:pt x="446418" y="38433"/>
                    <a:pt x="325432" y="38433"/>
                    <a:pt x="204220" y="38433"/>
                  </a:cubicBezTo>
                  <a:cubicBezTo>
                    <a:pt x="199444" y="38433"/>
                    <a:pt x="194668" y="38661"/>
                    <a:pt x="189892" y="38661"/>
                  </a:cubicBezTo>
                  <a:cubicBezTo>
                    <a:pt x="184889" y="38888"/>
                    <a:pt x="179886" y="38888"/>
                    <a:pt x="174883" y="38888"/>
                  </a:cubicBezTo>
                  <a:cubicBezTo>
                    <a:pt x="165786" y="38888"/>
                    <a:pt x="156690" y="38661"/>
                    <a:pt x="147593" y="38661"/>
                  </a:cubicBezTo>
                  <a:cubicBezTo>
                    <a:pt x="141680" y="38661"/>
                    <a:pt x="135767" y="38433"/>
                    <a:pt x="129855" y="38433"/>
                  </a:cubicBezTo>
                  <a:cubicBezTo>
                    <a:pt x="119848" y="38433"/>
                    <a:pt x="110752" y="29109"/>
                    <a:pt x="110297" y="18648"/>
                  </a:cubicBezTo>
                  <a:cubicBezTo>
                    <a:pt x="110297" y="16829"/>
                    <a:pt x="110524" y="16374"/>
                    <a:pt x="110752" y="16147"/>
                  </a:cubicBezTo>
                  <a:cubicBezTo>
                    <a:pt x="110979" y="15919"/>
                    <a:pt x="111661" y="15464"/>
                    <a:pt x="113935" y="15464"/>
                  </a:cubicBezTo>
                  <a:cubicBezTo>
                    <a:pt x="122122" y="15464"/>
                    <a:pt x="130082" y="15464"/>
                    <a:pt x="138269" y="15464"/>
                  </a:cubicBezTo>
                  <a:cubicBezTo>
                    <a:pt x="143045" y="15464"/>
                    <a:pt x="148048" y="15464"/>
                    <a:pt x="152824" y="15464"/>
                  </a:cubicBezTo>
                  <a:lnTo>
                    <a:pt x="219456" y="15464"/>
                  </a:lnTo>
                  <a:lnTo>
                    <a:pt x="250840" y="15464"/>
                  </a:lnTo>
                  <a:cubicBezTo>
                    <a:pt x="299507" y="15464"/>
                    <a:pt x="348174" y="15464"/>
                    <a:pt x="396841" y="15464"/>
                  </a:cubicBezTo>
                  <a:cubicBezTo>
                    <a:pt x="396841" y="15464"/>
                    <a:pt x="396841" y="15464"/>
                    <a:pt x="396841" y="15464"/>
                  </a:cubicBezTo>
                  <a:cubicBezTo>
                    <a:pt x="399797" y="15464"/>
                    <a:pt x="401617" y="16147"/>
                    <a:pt x="403436" y="17966"/>
                  </a:cubicBezTo>
                  <a:cubicBezTo>
                    <a:pt x="405710" y="20240"/>
                    <a:pt x="409349" y="21605"/>
                    <a:pt x="412533" y="21605"/>
                  </a:cubicBezTo>
                  <a:cubicBezTo>
                    <a:pt x="430044" y="21832"/>
                    <a:pt x="447327" y="21832"/>
                    <a:pt x="463929" y="21605"/>
                  </a:cubicBezTo>
                  <a:cubicBezTo>
                    <a:pt x="467112" y="21605"/>
                    <a:pt x="470978" y="20013"/>
                    <a:pt x="473253" y="17738"/>
                  </a:cubicBezTo>
                  <a:cubicBezTo>
                    <a:pt x="475072" y="16147"/>
                    <a:pt x="476664" y="15464"/>
                    <a:pt x="479393" y="15464"/>
                  </a:cubicBezTo>
                  <a:cubicBezTo>
                    <a:pt x="479393" y="15464"/>
                    <a:pt x="479393" y="15464"/>
                    <a:pt x="479393" y="15464"/>
                  </a:cubicBezTo>
                  <a:cubicBezTo>
                    <a:pt x="528515" y="15464"/>
                    <a:pt x="577637" y="15464"/>
                    <a:pt x="626758" y="15464"/>
                  </a:cubicBezTo>
                  <a:lnTo>
                    <a:pt x="654276" y="15464"/>
                  </a:lnTo>
                  <a:cubicBezTo>
                    <a:pt x="663827" y="15464"/>
                    <a:pt x="673379" y="15464"/>
                    <a:pt x="682930" y="15464"/>
                  </a:cubicBezTo>
                </a:path>
              </a:pathLst>
            </a:custGeom>
            <a:solidFill>
              <a:srgbClr val="3F3F3F"/>
            </a:solidFill>
            <a:ln w="2257" cap="flat">
              <a:noFill/>
              <a:prstDash val="solid"/>
              <a:miter/>
            </a:ln>
          </p:spPr>
          <p:txBody>
            <a:bodyPr rtlCol="0" anchor="ctr"/>
            <a:lstStyle/>
            <a:p>
              <a:pPr defTabSz="1219170"/>
              <a:endParaRPr lang="en-US" sz="2400">
                <a:solidFill>
                  <a:srgbClr val="102B62"/>
                </a:solidFill>
                <a:latin typeface="Arial"/>
              </a:endParaRPr>
            </a:p>
          </p:txBody>
        </p:sp>
        <p:sp>
          <p:nvSpPr>
            <p:cNvPr id="29" name="Freeform: Shape 28">
              <a:extLst>
                <a:ext uri="{FF2B5EF4-FFF2-40B4-BE49-F238E27FC236}">
                  <a16:creationId xmlns:a16="http://schemas.microsoft.com/office/drawing/2014/main" id="{B427D85D-8F7B-42E1-BE1F-0E6796CE1CEB}"/>
                </a:ext>
              </a:extLst>
            </p:cNvPr>
            <p:cNvSpPr/>
            <p:nvPr/>
          </p:nvSpPr>
          <p:spPr>
            <a:xfrm>
              <a:off x="3406040" y="1954196"/>
              <a:ext cx="523966" cy="316335"/>
            </a:xfrm>
            <a:custGeom>
              <a:avLst/>
              <a:gdLst>
                <a:gd name="connsiteX0" fmla="*/ 523966 w 523966"/>
                <a:gd name="connsiteY0" fmla="*/ 309058 h 316335"/>
                <a:gd name="connsiteX1" fmla="*/ 523966 w 523966"/>
                <a:gd name="connsiteY1" fmla="*/ 7505 h 316335"/>
                <a:gd name="connsiteX2" fmla="*/ 522602 w 523966"/>
                <a:gd name="connsiteY2" fmla="*/ 1364 h 316335"/>
                <a:gd name="connsiteX3" fmla="*/ 516234 w 523966"/>
                <a:gd name="connsiteY3" fmla="*/ 0 h 316335"/>
                <a:gd name="connsiteX4" fmla="*/ 492583 w 523966"/>
                <a:gd name="connsiteY4" fmla="*/ 227 h 316335"/>
                <a:gd name="connsiteX5" fmla="*/ 446872 w 523966"/>
                <a:gd name="connsiteY5" fmla="*/ 455 h 316335"/>
                <a:gd name="connsiteX6" fmla="*/ 431636 w 523966"/>
                <a:gd name="connsiteY6" fmla="*/ 227 h 316335"/>
                <a:gd name="connsiteX7" fmla="*/ 417308 w 523966"/>
                <a:gd name="connsiteY7" fmla="*/ 0 h 316335"/>
                <a:gd name="connsiteX8" fmla="*/ 263348 w 523966"/>
                <a:gd name="connsiteY8" fmla="*/ 0 h 316335"/>
                <a:gd name="connsiteX9" fmla="*/ 7277 w 523966"/>
                <a:gd name="connsiteY9" fmla="*/ 0 h 316335"/>
                <a:gd name="connsiteX10" fmla="*/ 0 w 523966"/>
                <a:gd name="connsiteY10" fmla="*/ 6822 h 316335"/>
                <a:gd name="connsiteX11" fmla="*/ 0 w 523966"/>
                <a:gd name="connsiteY11" fmla="*/ 59810 h 316335"/>
                <a:gd name="connsiteX12" fmla="*/ 0 w 523966"/>
                <a:gd name="connsiteY12" fmla="*/ 309740 h 316335"/>
                <a:gd name="connsiteX13" fmla="*/ 1592 w 523966"/>
                <a:gd name="connsiteY13" fmla="*/ 314744 h 316335"/>
                <a:gd name="connsiteX14" fmla="*/ 6595 w 523966"/>
                <a:gd name="connsiteY14" fmla="*/ 316336 h 316335"/>
                <a:gd name="connsiteX15" fmla="*/ 6595 w 523966"/>
                <a:gd name="connsiteY15" fmla="*/ 316336 h 316335"/>
                <a:gd name="connsiteX16" fmla="*/ 80050 w 523966"/>
                <a:gd name="connsiteY16" fmla="*/ 316336 h 316335"/>
                <a:gd name="connsiteX17" fmla="*/ 100973 w 523966"/>
                <a:gd name="connsiteY17" fmla="*/ 316336 h 316335"/>
                <a:gd name="connsiteX18" fmla="*/ 516462 w 523966"/>
                <a:gd name="connsiteY18" fmla="*/ 316336 h 316335"/>
                <a:gd name="connsiteX19" fmla="*/ 523966 w 523966"/>
                <a:gd name="connsiteY19" fmla="*/ 309058 h 316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23966" h="316335">
                  <a:moveTo>
                    <a:pt x="523966" y="309058"/>
                  </a:moveTo>
                  <a:lnTo>
                    <a:pt x="523966" y="7505"/>
                  </a:lnTo>
                  <a:cubicBezTo>
                    <a:pt x="523966" y="4548"/>
                    <a:pt x="523966" y="2729"/>
                    <a:pt x="522602" y="1364"/>
                  </a:cubicBezTo>
                  <a:cubicBezTo>
                    <a:pt x="521237" y="0"/>
                    <a:pt x="519418" y="0"/>
                    <a:pt x="516234" y="0"/>
                  </a:cubicBezTo>
                  <a:cubicBezTo>
                    <a:pt x="508275" y="0"/>
                    <a:pt x="500543" y="227"/>
                    <a:pt x="492583" y="227"/>
                  </a:cubicBezTo>
                  <a:cubicBezTo>
                    <a:pt x="477346" y="455"/>
                    <a:pt x="462109" y="455"/>
                    <a:pt x="446872" y="455"/>
                  </a:cubicBezTo>
                  <a:cubicBezTo>
                    <a:pt x="441869" y="455"/>
                    <a:pt x="436639" y="227"/>
                    <a:pt x="431636" y="227"/>
                  </a:cubicBezTo>
                  <a:cubicBezTo>
                    <a:pt x="426860" y="0"/>
                    <a:pt x="422084" y="0"/>
                    <a:pt x="417308" y="0"/>
                  </a:cubicBezTo>
                  <a:cubicBezTo>
                    <a:pt x="365912" y="0"/>
                    <a:pt x="314744" y="0"/>
                    <a:pt x="263348" y="0"/>
                  </a:cubicBezTo>
                  <a:lnTo>
                    <a:pt x="7277" y="0"/>
                  </a:lnTo>
                  <a:cubicBezTo>
                    <a:pt x="1364" y="0"/>
                    <a:pt x="0" y="682"/>
                    <a:pt x="0" y="6822"/>
                  </a:cubicBezTo>
                  <a:lnTo>
                    <a:pt x="0" y="59810"/>
                  </a:lnTo>
                  <a:cubicBezTo>
                    <a:pt x="0" y="143045"/>
                    <a:pt x="0" y="226506"/>
                    <a:pt x="0" y="309740"/>
                  </a:cubicBezTo>
                  <a:cubicBezTo>
                    <a:pt x="0" y="311560"/>
                    <a:pt x="227" y="313379"/>
                    <a:pt x="1592" y="314744"/>
                  </a:cubicBezTo>
                  <a:cubicBezTo>
                    <a:pt x="2956" y="316108"/>
                    <a:pt x="5003" y="316336"/>
                    <a:pt x="6595" y="316336"/>
                  </a:cubicBezTo>
                  <a:cubicBezTo>
                    <a:pt x="6595" y="316336"/>
                    <a:pt x="6595" y="316336"/>
                    <a:pt x="6595" y="316336"/>
                  </a:cubicBezTo>
                  <a:cubicBezTo>
                    <a:pt x="31156" y="316336"/>
                    <a:pt x="55944" y="316336"/>
                    <a:pt x="80050" y="316336"/>
                  </a:cubicBezTo>
                  <a:lnTo>
                    <a:pt x="100973" y="316336"/>
                  </a:lnTo>
                  <a:lnTo>
                    <a:pt x="516462" y="316336"/>
                  </a:lnTo>
                  <a:cubicBezTo>
                    <a:pt x="523057" y="316108"/>
                    <a:pt x="523966" y="315198"/>
                    <a:pt x="523966" y="309058"/>
                  </a:cubicBezTo>
                  <a:close/>
                </a:path>
              </a:pathLst>
            </a:custGeom>
            <a:solidFill>
              <a:srgbClr val="3F3F3F"/>
            </a:solidFill>
            <a:ln w="2257" cap="flat">
              <a:noFill/>
              <a:prstDash val="solid"/>
              <a:miter/>
            </a:ln>
          </p:spPr>
          <p:txBody>
            <a:bodyPr rtlCol="0" anchor="ctr"/>
            <a:lstStyle/>
            <a:p>
              <a:pPr defTabSz="1219170"/>
              <a:endParaRPr lang="en-US" sz="2400">
                <a:solidFill>
                  <a:srgbClr val="102B62"/>
                </a:solidFill>
                <a:latin typeface="Arial"/>
              </a:endParaRPr>
            </a:p>
          </p:txBody>
        </p:sp>
        <p:sp>
          <p:nvSpPr>
            <p:cNvPr id="30" name="Freeform: Shape 29">
              <a:extLst>
                <a:ext uri="{FF2B5EF4-FFF2-40B4-BE49-F238E27FC236}">
                  <a16:creationId xmlns:a16="http://schemas.microsoft.com/office/drawing/2014/main" id="{E2CB034D-8696-4C65-BAA6-DD3F8C52A9F3}"/>
                </a:ext>
              </a:extLst>
            </p:cNvPr>
            <p:cNvSpPr/>
            <p:nvPr/>
          </p:nvSpPr>
          <p:spPr>
            <a:xfrm>
              <a:off x="3374429" y="1923494"/>
              <a:ext cx="586278" cy="373189"/>
            </a:xfrm>
            <a:custGeom>
              <a:avLst/>
              <a:gdLst>
                <a:gd name="connsiteX0" fmla="*/ 7505 w 586278"/>
                <a:gd name="connsiteY0" fmla="*/ 372962 h 373189"/>
                <a:gd name="connsiteX1" fmla="*/ 8642 w 586278"/>
                <a:gd name="connsiteY1" fmla="*/ 372962 h 373189"/>
                <a:gd name="connsiteX2" fmla="*/ 71181 w 586278"/>
                <a:gd name="connsiteY2" fmla="*/ 372962 h 373189"/>
                <a:gd name="connsiteX3" fmla="*/ 76639 w 586278"/>
                <a:gd name="connsiteY3" fmla="*/ 372280 h 373189"/>
                <a:gd name="connsiteX4" fmla="*/ 82097 w 586278"/>
                <a:gd name="connsiteY4" fmla="*/ 365230 h 373189"/>
                <a:gd name="connsiteX5" fmla="*/ 80050 w 586278"/>
                <a:gd name="connsiteY5" fmla="*/ 359317 h 373189"/>
                <a:gd name="connsiteX6" fmla="*/ 73455 w 586278"/>
                <a:gd name="connsiteY6" fmla="*/ 357043 h 373189"/>
                <a:gd name="connsiteX7" fmla="*/ 39570 w 586278"/>
                <a:gd name="connsiteY7" fmla="*/ 357043 h 373189"/>
                <a:gd name="connsiteX8" fmla="*/ 18648 w 586278"/>
                <a:gd name="connsiteY8" fmla="*/ 357043 h 373189"/>
                <a:gd name="connsiteX9" fmla="*/ 15919 w 586278"/>
                <a:gd name="connsiteY9" fmla="*/ 357043 h 373189"/>
                <a:gd name="connsiteX10" fmla="*/ 15919 w 586278"/>
                <a:gd name="connsiteY10" fmla="*/ 354314 h 373189"/>
                <a:gd name="connsiteX11" fmla="*/ 15919 w 586278"/>
                <a:gd name="connsiteY11" fmla="*/ 18648 h 373189"/>
                <a:gd name="connsiteX12" fmla="*/ 15919 w 586278"/>
                <a:gd name="connsiteY12" fmla="*/ 15919 h 373189"/>
                <a:gd name="connsiteX13" fmla="*/ 18876 w 586278"/>
                <a:gd name="connsiteY13" fmla="*/ 15919 h 373189"/>
                <a:gd name="connsiteX14" fmla="*/ 287226 w 586278"/>
                <a:gd name="connsiteY14" fmla="*/ 15919 h 373189"/>
                <a:gd name="connsiteX15" fmla="*/ 479393 w 586278"/>
                <a:gd name="connsiteY15" fmla="*/ 15919 h 373189"/>
                <a:gd name="connsiteX16" fmla="*/ 484396 w 586278"/>
                <a:gd name="connsiteY16" fmla="*/ 15692 h 373189"/>
                <a:gd name="connsiteX17" fmla="*/ 489399 w 586278"/>
                <a:gd name="connsiteY17" fmla="*/ 15464 h 373189"/>
                <a:gd name="connsiteX18" fmla="*/ 502589 w 586278"/>
                <a:gd name="connsiteY18" fmla="*/ 15692 h 373189"/>
                <a:gd name="connsiteX19" fmla="*/ 517599 w 586278"/>
                <a:gd name="connsiteY19" fmla="*/ 15919 h 373189"/>
                <a:gd name="connsiteX20" fmla="*/ 552848 w 586278"/>
                <a:gd name="connsiteY20" fmla="*/ 15919 h 373189"/>
                <a:gd name="connsiteX21" fmla="*/ 568540 w 586278"/>
                <a:gd name="connsiteY21" fmla="*/ 15919 h 373189"/>
                <a:gd name="connsiteX22" fmla="*/ 571269 w 586278"/>
                <a:gd name="connsiteY22" fmla="*/ 15919 h 373189"/>
                <a:gd name="connsiteX23" fmla="*/ 571269 w 586278"/>
                <a:gd name="connsiteY23" fmla="*/ 18648 h 373189"/>
                <a:gd name="connsiteX24" fmla="*/ 571269 w 586278"/>
                <a:gd name="connsiteY24" fmla="*/ 88010 h 373189"/>
                <a:gd name="connsiteX25" fmla="*/ 571269 w 586278"/>
                <a:gd name="connsiteY25" fmla="*/ 352040 h 373189"/>
                <a:gd name="connsiteX26" fmla="*/ 571269 w 586278"/>
                <a:gd name="connsiteY26" fmla="*/ 355679 h 373189"/>
                <a:gd name="connsiteX27" fmla="*/ 571269 w 586278"/>
                <a:gd name="connsiteY27" fmla="*/ 357270 h 373189"/>
                <a:gd name="connsiteX28" fmla="*/ 568313 w 586278"/>
                <a:gd name="connsiteY28" fmla="*/ 357270 h 373189"/>
                <a:gd name="connsiteX29" fmla="*/ 565811 w 586278"/>
                <a:gd name="connsiteY29" fmla="*/ 357270 h 373189"/>
                <a:gd name="connsiteX30" fmla="*/ 531699 w 586278"/>
                <a:gd name="connsiteY30" fmla="*/ 357270 h 373189"/>
                <a:gd name="connsiteX31" fmla="*/ 513505 w 586278"/>
                <a:gd name="connsiteY31" fmla="*/ 357270 h 373189"/>
                <a:gd name="connsiteX32" fmla="*/ 513505 w 586278"/>
                <a:gd name="connsiteY32" fmla="*/ 357270 h 373189"/>
                <a:gd name="connsiteX33" fmla="*/ 506910 w 586278"/>
                <a:gd name="connsiteY33" fmla="*/ 359545 h 373189"/>
                <a:gd name="connsiteX34" fmla="*/ 504863 w 586278"/>
                <a:gd name="connsiteY34" fmla="*/ 365230 h 373189"/>
                <a:gd name="connsiteX35" fmla="*/ 513278 w 586278"/>
                <a:gd name="connsiteY35" fmla="*/ 373190 h 373189"/>
                <a:gd name="connsiteX36" fmla="*/ 580366 w 586278"/>
                <a:gd name="connsiteY36" fmla="*/ 373190 h 373189"/>
                <a:gd name="connsiteX37" fmla="*/ 580366 w 586278"/>
                <a:gd name="connsiteY37" fmla="*/ 373190 h 373189"/>
                <a:gd name="connsiteX38" fmla="*/ 584914 w 586278"/>
                <a:gd name="connsiteY38" fmla="*/ 371825 h 373189"/>
                <a:gd name="connsiteX39" fmla="*/ 586278 w 586278"/>
                <a:gd name="connsiteY39" fmla="*/ 367504 h 373189"/>
                <a:gd name="connsiteX40" fmla="*/ 586278 w 586278"/>
                <a:gd name="connsiteY40" fmla="*/ 352495 h 373189"/>
                <a:gd name="connsiteX41" fmla="*/ 586278 w 586278"/>
                <a:gd name="connsiteY41" fmla="*/ 345445 h 373189"/>
                <a:gd name="connsiteX42" fmla="*/ 586278 w 586278"/>
                <a:gd name="connsiteY42" fmla="*/ 7732 h 373189"/>
                <a:gd name="connsiteX43" fmla="*/ 584914 w 586278"/>
                <a:gd name="connsiteY43" fmla="*/ 1364 h 373189"/>
                <a:gd name="connsiteX44" fmla="*/ 578546 w 586278"/>
                <a:gd name="connsiteY44" fmla="*/ 0 h 373189"/>
                <a:gd name="connsiteX45" fmla="*/ 555805 w 586278"/>
                <a:gd name="connsiteY45" fmla="*/ 227 h 373189"/>
                <a:gd name="connsiteX46" fmla="*/ 513050 w 586278"/>
                <a:gd name="connsiteY46" fmla="*/ 455 h 373189"/>
                <a:gd name="connsiteX47" fmla="*/ 497814 w 586278"/>
                <a:gd name="connsiteY47" fmla="*/ 227 h 373189"/>
                <a:gd name="connsiteX48" fmla="*/ 483486 w 586278"/>
                <a:gd name="connsiteY48" fmla="*/ 0 h 373189"/>
                <a:gd name="connsiteX49" fmla="*/ 367732 w 586278"/>
                <a:gd name="connsiteY49" fmla="*/ 0 h 373189"/>
                <a:gd name="connsiteX50" fmla="*/ 272672 w 586278"/>
                <a:gd name="connsiteY50" fmla="*/ 0 h 373189"/>
                <a:gd name="connsiteX51" fmla="*/ 159646 w 586278"/>
                <a:gd name="connsiteY51" fmla="*/ 0 h 373189"/>
                <a:gd name="connsiteX52" fmla="*/ 57081 w 586278"/>
                <a:gd name="connsiteY52" fmla="*/ 0 h 373189"/>
                <a:gd name="connsiteX53" fmla="*/ 21605 w 586278"/>
                <a:gd name="connsiteY53" fmla="*/ 0 h 373189"/>
                <a:gd name="connsiteX54" fmla="*/ 7050 w 586278"/>
                <a:gd name="connsiteY54" fmla="*/ 0 h 373189"/>
                <a:gd name="connsiteX55" fmla="*/ 0 w 586278"/>
                <a:gd name="connsiteY55" fmla="*/ 7050 h 373189"/>
                <a:gd name="connsiteX56" fmla="*/ 0 w 586278"/>
                <a:gd name="connsiteY56" fmla="*/ 366367 h 373189"/>
                <a:gd name="connsiteX57" fmla="*/ 7505 w 586278"/>
                <a:gd name="connsiteY57" fmla="*/ 372962 h 373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86278" h="373189">
                  <a:moveTo>
                    <a:pt x="7505" y="372962"/>
                  </a:moveTo>
                  <a:lnTo>
                    <a:pt x="8642" y="372962"/>
                  </a:lnTo>
                  <a:cubicBezTo>
                    <a:pt x="29564" y="372962"/>
                    <a:pt x="50259" y="372962"/>
                    <a:pt x="71181" y="372962"/>
                  </a:cubicBezTo>
                  <a:cubicBezTo>
                    <a:pt x="73228" y="372962"/>
                    <a:pt x="75047" y="372507"/>
                    <a:pt x="76639" y="372280"/>
                  </a:cubicBezTo>
                  <a:cubicBezTo>
                    <a:pt x="80050" y="371598"/>
                    <a:pt x="82097" y="369096"/>
                    <a:pt x="82097" y="365230"/>
                  </a:cubicBezTo>
                  <a:cubicBezTo>
                    <a:pt x="82097" y="362728"/>
                    <a:pt x="81415" y="360682"/>
                    <a:pt x="80050" y="359317"/>
                  </a:cubicBezTo>
                  <a:cubicBezTo>
                    <a:pt x="78686" y="357725"/>
                    <a:pt x="76412" y="357043"/>
                    <a:pt x="73455" y="357043"/>
                  </a:cubicBezTo>
                  <a:cubicBezTo>
                    <a:pt x="62085" y="357043"/>
                    <a:pt x="50941" y="357043"/>
                    <a:pt x="39570" y="357043"/>
                  </a:cubicBezTo>
                  <a:lnTo>
                    <a:pt x="18648" y="357043"/>
                  </a:lnTo>
                  <a:cubicBezTo>
                    <a:pt x="17738" y="357043"/>
                    <a:pt x="16601" y="357043"/>
                    <a:pt x="15919" y="357043"/>
                  </a:cubicBezTo>
                  <a:cubicBezTo>
                    <a:pt x="15919" y="356361"/>
                    <a:pt x="15919" y="355451"/>
                    <a:pt x="15919" y="354314"/>
                  </a:cubicBezTo>
                  <a:lnTo>
                    <a:pt x="15919" y="18648"/>
                  </a:lnTo>
                  <a:cubicBezTo>
                    <a:pt x="15919" y="17511"/>
                    <a:pt x="15919" y="16374"/>
                    <a:pt x="15919" y="15919"/>
                  </a:cubicBezTo>
                  <a:cubicBezTo>
                    <a:pt x="16601" y="15919"/>
                    <a:pt x="17738" y="15919"/>
                    <a:pt x="18876" y="15919"/>
                  </a:cubicBezTo>
                  <a:lnTo>
                    <a:pt x="287226" y="15919"/>
                  </a:lnTo>
                  <a:cubicBezTo>
                    <a:pt x="351358" y="15919"/>
                    <a:pt x="415262" y="15919"/>
                    <a:pt x="479393" y="15919"/>
                  </a:cubicBezTo>
                  <a:cubicBezTo>
                    <a:pt x="480985" y="15919"/>
                    <a:pt x="482804" y="15692"/>
                    <a:pt x="484396" y="15692"/>
                  </a:cubicBezTo>
                  <a:cubicBezTo>
                    <a:pt x="486215" y="15464"/>
                    <a:pt x="487807" y="15464"/>
                    <a:pt x="489399" y="15464"/>
                  </a:cubicBezTo>
                  <a:cubicBezTo>
                    <a:pt x="493720" y="15464"/>
                    <a:pt x="498041" y="15692"/>
                    <a:pt x="502589" y="15692"/>
                  </a:cubicBezTo>
                  <a:cubicBezTo>
                    <a:pt x="507593" y="15919"/>
                    <a:pt x="512596" y="15919"/>
                    <a:pt x="517599" y="15919"/>
                  </a:cubicBezTo>
                  <a:cubicBezTo>
                    <a:pt x="529424" y="15919"/>
                    <a:pt x="541250" y="15919"/>
                    <a:pt x="552848" y="15919"/>
                  </a:cubicBezTo>
                  <a:lnTo>
                    <a:pt x="568540" y="15919"/>
                  </a:lnTo>
                  <a:cubicBezTo>
                    <a:pt x="569677" y="15919"/>
                    <a:pt x="570814" y="15919"/>
                    <a:pt x="571269" y="15919"/>
                  </a:cubicBezTo>
                  <a:cubicBezTo>
                    <a:pt x="571269" y="16374"/>
                    <a:pt x="571269" y="17511"/>
                    <a:pt x="571269" y="18648"/>
                  </a:cubicBezTo>
                  <a:lnTo>
                    <a:pt x="571269" y="88010"/>
                  </a:lnTo>
                  <a:cubicBezTo>
                    <a:pt x="571269" y="176020"/>
                    <a:pt x="571269" y="264030"/>
                    <a:pt x="571269" y="352040"/>
                  </a:cubicBezTo>
                  <a:cubicBezTo>
                    <a:pt x="571269" y="353404"/>
                    <a:pt x="571269" y="354769"/>
                    <a:pt x="571269" y="355679"/>
                  </a:cubicBezTo>
                  <a:cubicBezTo>
                    <a:pt x="571269" y="356133"/>
                    <a:pt x="571269" y="356816"/>
                    <a:pt x="571269" y="357270"/>
                  </a:cubicBezTo>
                  <a:cubicBezTo>
                    <a:pt x="570587" y="357270"/>
                    <a:pt x="569450" y="357270"/>
                    <a:pt x="568313" y="357270"/>
                  </a:cubicBezTo>
                  <a:cubicBezTo>
                    <a:pt x="567630" y="357270"/>
                    <a:pt x="566721" y="357270"/>
                    <a:pt x="565811" y="357270"/>
                  </a:cubicBezTo>
                  <a:cubicBezTo>
                    <a:pt x="554440" y="357270"/>
                    <a:pt x="542842" y="357270"/>
                    <a:pt x="531699" y="357270"/>
                  </a:cubicBezTo>
                  <a:cubicBezTo>
                    <a:pt x="525558" y="357270"/>
                    <a:pt x="519646" y="357270"/>
                    <a:pt x="513505" y="357270"/>
                  </a:cubicBezTo>
                  <a:cubicBezTo>
                    <a:pt x="513505" y="357270"/>
                    <a:pt x="513505" y="357270"/>
                    <a:pt x="513505" y="357270"/>
                  </a:cubicBezTo>
                  <a:cubicBezTo>
                    <a:pt x="510549" y="357270"/>
                    <a:pt x="508502" y="357953"/>
                    <a:pt x="506910" y="359545"/>
                  </a:cubicBezTo>
                  <a:cubicBezTo>
                    <a:pt x="505546" y="360909"/>
                    <a:pt x="504863" y="362728"/>
                    <a:pt x="504863" y="365230"/>
                  </a:cubicBezTo>
                  <a:cubicBezTo>
                    <a:pt x="504863" y="370233"/>
                    <a:pt x="508047" y="373190"/>
                    <a:pt x="513278" y="373190"/>
                  </a:cubicBezTo>
                  <a:cubicBezTo>
                    <a:pt x="535565" y="373190"/>
                    <a:pt x="558079" y="373190"/>
                    <a:pt x="580366" y="373190"/>
                  </a:cubicBezTo>
                  <a:cubicBezTo>
                    <a:pt x="580366" y="373190"/>
                    <a:pt x="580366" y="373190"/>
                    <a:pt x="580366" y="373190"/>
                  </a:cubicBezTo>
                  <a:cubicBezTo>
                    <a:pt x="581730" y="373190"/>
                    <a:pt x="583549" y="372962"/>
                    <a:pt x="584914" y="371825"/>
                  </a:cubicBezTo>
                  <a:cubicBezTo>
                    <a:pt x="586278" y="370461"/>
                    <a:pt x="586278" y="368641"/>
                    <a:pt x="586278" y="367504"/>
                  </a:cubicBezTo>
                  <a:cubicBezTo>
                    <a:pt x="586278" y="362501"/>
                    <a:pt x="586278" y="357498"/>
                    <a:pt x="586278" y="352495"/>
                  </a:cubicBezTo>
                  <a:cubicBezTo>
                    <a:pt x="586278" y="350221"/>
                    <a:pt x="586278" y="347946"/>
                    <a:pt x="586278" y="345445"/>
                  </a:cubicBezTo>
                  <a:lnTo>
                    <a:pt x="586278" y="7732"/>
                  </a:lnTo>
                  <a:cubicBezTo>
                    <a:pt x="586278" y="4548"/>
                    <a:pt x="586278" y="2729"/>
                    <a:pt x="584914" y="1364"/>
                  </a:cubicBezTo>
                  <a:cubicBezTo>
                    <a:pt x="583549" y="0"/>
                    <a:pt x="581730" y="0"/>
                    <a:pt x="578546" y="0"/>
                  </a:cubicBezTo>
                  <a:cubicBezTo>
                    <a:pt x="571042" y="0"/>
                    <a:pt x="563537" y="227"/>
                    <a:pt x="555805" y="227"/>
                  </a:cubicBezTo>
                  <a:cubicBezTo>
                    <a:pt x="541477" y="455"/>
                    <a:pt x="527378" y="455"/>
                    <a:pt x="513050" y="455"/>
                  </a:cubicBezTo>
                  <a:cubicBezTo>
                    <a:pt x="508047" y="455"/>
                    <a:pt x="502817" y="455"/>
                    <a:pt x="497814" y="227"/>
                  </a:cubicBezTo>
                  <a:cubicBezTo>
                    <a:pt x="493038" y="227"/>
                    <a:pt x="488262" y="0"/>
                    <a:pt x="483486" y="0"/>
                  </a:cubicBezTo>
                  <a:cubicBezTo>
                    <a:pt x="444826" y="0"/>
                    <a:pt x="406392" y="0"/>
                    <a:pt x="367732" y="0"/>
                  </a:cubicBezTo>
                  <a:cubicBezTo>
                    <a:pt x="336121" y="0"/>
                    <a:pt x="304283" y="0"/>
                    <a:pt x="272672" y="0"/>
                  </a:cubicBezTo>
                  <a:cubicBezTo>
                    <a:pt x="234921" y="0"/>
                    <a:pt x="197397" y="0"/>
                    <a:pt x="159646" y="0"/>
                  </a:cubicBezTo>
                  <a:cubicBezTo>
                    <a:pt x="125534" y="0"/>
                    <a:pt x="91194" y="0"/>
                    <a:pt x="57081" y="0"/>
                  </a:cubicBezTo>
                  <a:cubicBezTo>
                    <a:pt x="45256" y="0"/>
                    <a:pt x="33430" y="0"/>
                    <a:pt x="21605" y="0"/>
                  </a:cubicBezTo>
                  <a:lnTo>
                    <a:pt x="7050" y="0"/>
                  </a:lnTo>
                  <a:cubicBezTo>
                    <a:pt x="910" y="0"/>
                    <a:pt x="0" y="1137"/>
                    <a:pt x="0" y="7050"/>
                  </a:cubicBezTo>
                  <a:lnTo>
                    <a:pt x="0" y="366367"/>
                  </a:lnTo>
                  <a:cubicBezTo>
                    <a:pt x="682" y="371825"/>
                    <a:pt x="1592" y="372962"/>
                    <a:pt x="7505" y="372962"/>
                  </a:cubicBezTo>
                  <a:close/>
                </a:path>
              </a:pathLst>
            </a:custGeom>
            <a:solidFill>
              <a:srgbClr val="3F3F3F"/>
            </a:solidFill>
            <a:ln w="2257" cap="flat">
              <a:noFill/>
              <a:prstDash val="solid"/>
              <a:miter/>
            </a:ln>
          </p:spPr>
          <p:txBody>
            <a:bodyPr rtlCol="0" anchor="ctr"/>
            <a:lstStyle/>
            <a:p>
              <a:pPr defTabSz="1219170"/>
              <a:endParaRPr lang="en-US" sz="2400">
                <a:solidFill>
                  <a:srgbClr val="102B62"/>
                </a:solidFill>
                <a:latin typeface="Arial"/>
              </a:endParaRPr>
            </a:p>
          </p:txBody>
        </p:sp>
        <p:sp>
          <p:nvSpPr>
            <p:cNvPr id="31" name="Freeform: Shape 30">
              <a:extLst>
                <a:ext uri="{FF2B5EF4-FFF2-40B4-BE49-F238E27FC236}">
                  <a16:creationId xmlns:a16="http://schemas.microsoft.com/office/drawing/2014/main" id="{05113062-28B4-4666-9037-EF6DBE90AC53}"/>
                </a:ext>
              </a:extLst>
            </p:cNvPr>
            <p:cNvSpPr/>
            <p:nvPr/>
          </p:nvSpPr>
          <p:spPr>
            <a:xfrm>
              <a:off x="3332027" y="1869046"/>
              <a:ext cx="41719" cy="49900"/>
            </a:xfrm>
            <a:custGeom>
              <a:avLst/>
              <a:gdLst>
                <a:gd name="connsiteX0" fmla="*/ 15567 w 41719"/>
                <a:gd name="connsiteY0" fmla="*/ 31707 h 49900"/>
                <a:gd name="connsiteX1" fmla="*/ 26937 w 41719"/>
                <a:gd name="connsiteY1" fmla="*/ 46716 h 49900"/>
                <a:gd name="connsiteX2" fmla="*/ 32850 w 41719"/>
                <a:gd name="connsiteY2" fmla="*/ 49900 h 49900"/>
                <a:gd name="connsiteX3" fmla="*/ 36261 w 41719"/>
                <a:gd name="connsiteY3" fmla="*/ 48991 h 49900"/>
                <a:gd name="connsiteX4" fmla="*/ 39673 w 41719"/>
                <a:gd name="connsiteY4" fmla="*/ 45352 h 49900"/>
                <a:gd name="connsiteX5" fmla="*/ 40810 w 41719"/>
                <a:gd name="connsiteY5" fmla="*/ 43987 h 49900"/>
                <a:gd name="connsiteX6" fmla="*/ 41719 w 41719"/>
                <a:gd name="connsiteY6" fmla="*/ 42850 h 49900"/>
                <a:gd name="connsiteX7" fmla="*/ 41037 w 41719"/>
                <a:gd name="connsiteY7" fmla="*/ 41486 h 49900"/>
                <a:gd name="connsiteX8" fmla="*/ 40355 w 41719"/>
                <a:gd name="connsiteY8" fmla="*/ 39894 h 49900"/>
                <a:gd name="connsiteX9" fmla="*/ 38990 w 41719"/>
                <a:gd name="connsiteY9" fmla="*/ 37165 h 49900"/>
                <a:gd name="connsiteX10" fmla="*/ 14430 w 41719"/>
                <a:gd name="connsiteY10" fmla="*/ 3735 h 49900"/>
                <a:gd name="connsiteX11" fmla="*/ 3286 w 41719"/>
                <a:gd name="connsiteY11" fmla="*/ 1461 h 49900"/>
                <a:gd name="connsiteX12" fmla="*/ 1922 w 41719"/>
                <a:gd name="connsiteY12" fmla="*/ 12604 h 49900"/>
                <a:gd name="connsiteX13" fmla="*/ 15567 w 41719"/>
                <a:gd name="connsiteY13" fmla="*/ 31707 h 4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719" h="49900">
                  <a:moveTo>
                    <a:pt x="15567" y="31707"/>
                  </a:moveTo>
                  <a:cubicBezTo>
                    <a:pt x="18750" y="35800"/>
                    <a:pt x="22844" y="41486"/>
                    <a:pt x="26937" y="46716"/>
                  </a:cubicBezTo>
                  <a:cubicBezTo>
                    <a:pt x="28529" y="48763"/>
                    <a:pt x="30576" y="49900"/>
                    <a:pt x="32850" y="49900"/>
                  </a:cubicBezTo>
                  <a:cubicBezTo>
                    <a:pt x="33987" y="49900"/>
                    <a:pt x="35124" y="49673"/>
                    <a:pt x="36261" y="48991"/>
                  </a:cubicBezTo>
                  <a:cubicBezTo>
                    <a:pt x="37853" y="48081"/>
                    <a:pt x="38763" y="46716"/>
                    <a:pt x="39673" y="45352"/>
                  </a:cubicBezTo>
                  <a:cubicBezTo>
                    <a:pt x="40128" y="44897"/>
                    <a:pt x="40355" y="44442"/>
                    <a:pt x="40810" y="43987"/>
                  </a:cubicBezTo>
                  <a:lnTo>
                    <a:pt x="41719" y="42850"/>
                  </a:lnTo>
                  <a:lnTo>
                    <a:pt x="41037" y="41486"/>
                  </a:lnTo>
                  <a:cubicBezTo>
                    <a:pt x="40810" y="40804"/>
                    <a:pt x="40582" y="40349"/>
                    <a:pt x="40355" y="39894"/>
                  </a:cubicBezTo>
                  <a:cubicBezTo>
                    <a:pt x="39900" y="38757"/>
                    <a:pt x="39445" y="37847"/>
                    <a:pt x="38990" y="37165"/>
                  </a:cubicBezTo>
                  <a:cubicBezTo>
                    <a:pt x="29666" y="24202"/>
                    <a:pt x="21934" y="13514"/>
                    <a:pt x="14430" y="3735"/>
                  </a:cubicBezTo>
                  <a:cubicBezTo>
                    <a:pt x="11473" y="-359"/>
                    <a:pt x="6925" y="-1041"/>
                    <a:pt x="3286" y="1461"/>
                  </a:cubicBezTo>
                  <a:cubicBezTo>
                    <a:pt x="-580" y="4417"/>
                    <a:pt x="-1035" y="8511"/>
                    <a:pt x="1922" y="12604"/>
                  </a:cubicBezTo>
                  <a:cubicBezTo>
                    <a:pt x="6243" y="18972"/>
                    <a:pt x="10791" y="25112"/>
                    <a:pt x="15567" y="31707"/>
                  </a:cubicBezTo>
                  <a:close/>
                </a:path>
              </a:pathLst>
            </a:custGeom>
            <a:solidFill>
              <a:srgbClr val="3F3F3F"/>
            </a:solidFill>
            <a:ln w="2257" cap="flat">
              <a:noFill/>
              <a:prstDash val="solid"/>
              <a:miter/>
            </a:ln>
          </p:spPr>
          <p:txBody>
            <a:bodyPr rtlCol="0" anchor="ctr"/>
            <a:lstStyle/>
            <a:p>
              <a:pPr defTabSz="1219170"/>
              <a:endParaRPr lang="en-US" sz="2400">
                <a:solidFill>
                  <a:srgbClr val="102B62"/>
                </a:solidFill>
                <a:latin typeface="Arial"/>
              </a:endParaRPr>
            </a:p>
          </p:txBody>
        </p:sp>
        <p:sp>
          <p:nvSpPr>
            <p:cNvPr id="32" name="Freeform: Shape 31">
              <a:extLst>
                <a:ext uri="{FF2B5EF4-FFF2-40B4-BE49-F238E27FC236}">
                  <a16:creationId xmlns:a16="http://schemas.microsoft.com/office/drawing/2014/main" id="{ADAC5C18-F33C-4768-B675-1779D9CBD1E3}"/>
                </a:ext>
              </a:extLst>
            </p:cNvPr>
            <p:cNvSpPr/>
            <p:nvPr/>
          </p:nvSpPr>
          <p:spPr>
            <a:xfrm>
              <a:off x="3310980" y="1922585"/>
              <a:ext cx="55305" cy="15464"/>
            </a:xfrm>
            <a:custGeom>
              <a:avLst/>
              <a:gdLst>
                <a:gd name="connsiteX0" fmla="*/ 8869 w 55305"/>
                <a:gd name="connsiteY0" fmla="*/ 15237 h 15464"/>
                <a:gd name="connsiteX1" fmla="*/ 28200 w 55305"/>
                <a:gd name="connsiteY1" fmla="*/ 15464 h 15464"/>
                <a:gd name="connsiteX2" fmla="*/ 46620 w 55305"/>
                <a:gd name="connsiteY2" fmla="*/ 15464 h 15464"/>
                <a:gd name="connsiteX3" fmla="*/ 53443 w 55305"/>
                <a:gd name="connsiteY3" fmla="*/ 12735 h 15464"/>
                <a:gd name="connsiteX4" fmla="*/ 55262 w 55305"/>
                <a:gd name="connsiteY4" fmla="*/ 7505 h 15464"/>
                <a:gd name="connsiteX5" fmla="*/ 46165 w 55305"/>
                <a:gd name="connsiteY5" fmla="*/ 0 h 15464"/>
                <a:gd name="connsiteX6" fmla="*/ 33203 w 55305"/>
                <a:gd name="connsiteY6" fmla="*/ 0 h 15464"/>
                <a:gd name="connsiteX7" fmla="*/ 27517 w 55305"/>
                <a:gd name="connsiteY7" fmla="*/ 0 h 15464"/>
                <a:gd name="connsiteX8" fmla="*/ 22059 w 55305"/>
                <a:gd name="connsiteY8" fmla="*/ 0 h 15464"/>
                <a:gd name="connsiteX9" fmla="*/ 9324 w 55305"/>
                <a:gd name="connsiteY9" fmla="*/ 0 h 15464"/>
                <a:gd name="connsiteX10" fmla="*/ 0 w 55305"/>
                <a:gd name="connsiteY10" fmla="*/ 7505 h 15464"/>
                <a:gd name="connsiteX11" fmla="*/ 2047 w 55305"/>
                <a:gd name="connsiteY11" fmla="*/ 12735 h 15464"/>
                <a:gd name="connsiteX12" fmla="*/ 8869 w 55305"/>
                <a:gd name="connsiteY12" fmla="*/ 15237 h 15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305" h="15464">
                  <a:moveTo>
                    <a:pt x="8869" y="15237"/>
                  </a:moveTo>
                  <a:cubicBezTo>
                    <a:pt x="15237" y="15237"/>
                    <a:pt x="21832" y="15464"/>
                    <a:pt x="28200" y="15464"/>
                  </a:cubicBezTo>
                  <a:cubicBezTo>
                    <a:pt x="34340" y="15464"/>
                    <a:pt x="40480" y="15464"/>
                    <a:pt x="46620" y="15464"/>
                  </a:cubicBezTo>
                  <a:cubicBezTo>
                    <a:pt x="49349" y="15464"/>
                    <a:pt x="51851" y="14327"/>
                    <a:pt x="53443" y="12735"/>
                  </a:cubicBezTo>
                  <a:cubicBezTo>
                    <a:pt x="54807" y="11143"/>
                    <a:pt x="55490" y="9324"/>
                    <a:pt x="55262" y="7505"/>
                  </a:cubicBezTo>
                  <a:cubicBezTo>
                    <a:pt x="54807" y="3184"/>
                    <a:pt x="51169" y="0"/>
                    <a:pt x="46165" y="0"/>
                  </a:cubicBezTo>
                  <a:cubicBezTo>
                    <a:pt x="41845" y="0"/>
                    <a:pt x="37524" y="0"/>
                    <a:pt x="33203" y="0"/>
                  </a:cubicBezTo>
                  <a:lnTo>
                    <a:pt x="27517" y="0"/>
                  </a:lnTo>
                  <a:lnTo>
                    <a:pt x="22059" y="0"/>
                  </a:lnTo>
                  <a:cubicBezTo>
                    <a:pt x="17738" y="0"/>
                    <a:pt x="13418" y="0"/>
                    <a:pt x="9324" y="0"/>
                  </a:cubicBezTo>
                  <a:cubicBezTo>
                    <a:pt x="4093" y="0"/>
                    <a:pt x="227" y="3184"/>
                    <a:pt x="0" y="7505"/>
                  </a:cubicBezTo>
                  <a:cubicBezTo>
                    <a:pt x="0" y="9551"/>
                    <a:pt x="682" y="11371"/>
                    <a:pt x="2047" y="12735"/>
                  </a:cubicBezTo>
                  <a:cubicBezTo>
                    <a:pt x="3866" y="14327"/>
                    <a:pt x="6368" y="15237"/>
                    <a:pt x="8869" y="15237"/>
                  </a:cubicBezTo>
                  <a:close/>
                </a:path>
              </a:pathLst>
            </a:custGeom>
            <a:solidFill>
              <a:srgbClr val="3F3F3F"/>
            </a:solidFill>
            <a:ln w="2257" cap="flat">
              <a:noFill/>
              <a:prstDash val="solid"/>
              <a:miter/>
            </a:ln>
          </p:spPr>
          <p:txBody>
            <a:bodyPr rtlCol="0" anchor="ctr"/>
            <a:lstStyle/>
            <a:p>
              <a:pPr defTabSz="1219170"/>
              <a:endParaRPr lang="en-US" sz="2400">
                <a:solidFill>
                  <a:srgbClr val="102B62"/>
                </a:solidFill>
                <a:latin typeface="Arial"/>
              </a:endParaRPr>
            </a:p>
          </p:txBody>
        </p:sp>
        <p:sp>
          <p:nvSpPr>
            <p:cNvPr id="33" name="Freeform: Shape 32">
              <a:extLst>
                <a:ext uri="{FF2B5EF4-FFF2-40B4-BE49-F238E27FC236}">
                  <a16:creationId xmlns:a16="http://schemas.microsoft.com/office/drawing/2014/main" id="{ECE38CA0-FD50-4158-A3A0-2012A1BA5B06}"/>
                </a:ext>
              </a:extLst>
            </p:cNvPr>
            <p:cNvSpPr/>
            <p:nvPr/>
          </p:nvSpPr>
          <p:spPr>
            <a:xfrm>
              <a:off x="3379204" y="1861183"/>
              <a:ext cx="15236" cy="54579"/>
            </a:xfrm>
            <a:custGeom>
              <a:avLst/>
              <a:gdLst>
                <a:gd name="connsiteX0" fmla="*/ 7505 w 15236"/>
                <a:gd name="connsiteY0" fmla="*/ 54580 h 54579"/>
                <a:gd name="connsiteX1" fmla="*/ 7732 w 15236"/>
                <a:gd name="connsiteY1" fmla="*/ 54580 h 54579"/>
                <a:gd name="connsiteX2" fmla="*/ 12735 w 15236"/>
                <a:gd name="connsiteY2" fmla="*/ 52533 h 54579"/>
                <a:gd name="connsiteX3" fmla="*/ 15237 w 15236"/>
                <a:gd name="connsiteY3" fmla="*/ 46165 h 54579"/>
                <a:gd name="connsiteX4" fmla="*/ 15237 w 15236"/>
                <a:gd name="connsiteY4" fmla="*/ 33430 h 54579"/>
                <a:gd name="connsiteX5" fmla="*/ 15237 w 15236"/>
                <a:gd name="connsiteY5" fmla="*/ 27517 h 54579"/>
                <a:gd name="connsiteX6" fmla="*/ 15237 w 15236"/>
                <a:gd name="connsiteY6" fmla="*/ 21832 h 54579"/>
                <a:gd name="connsiteX7" fmla="*/ 15237 w 15236"/>
                <a:gd name="connsiteY7" fmla="*/ 8187 h 54579"/>
                <a:gd name="connsiteX8" fmla="*/ 12508 w 15236"/>
                <a:gd name="connsiteY8" fmla="*/ 1819 h 54579"/>
                <a:gd name="connsiteX9" fmla="*/ 7505 w 15236"/>
                <a:gd name="connsiteY9" fmla="*/ 0 h 54579"/>
                <a:gd name="connsiteX10" fmla="*/ 0 w 15236"/>
                <a:gd name="connsiteY10" fmla="*/ 8414 h 54579"/>
                <a:gd name="connsiteX11" fmla="*/ 0 w 15236"/>
                <a:gd name="connsiteY11" fmla="*/ 46393 h 54579"/>
                <a:gd name="connsiteX12" fmla="*/ 7505 w 15236"/>
                <a:gd name="connsiteY12" fmla="*/ 54580 h 5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36" h="54579">
                  <a:moveTo>
                    <a:pt x="7505" y="54580"/>
                  </a:moveTo>
                  <a:cubicBezTo>
                    <a:pt x="7505" y="54580"/>
                    <a:pt x="7732" y="54580"/>
                    <a:pt x="7732" y="54580"/>
                  </a:cubicBezTo>
                  <a:cubicBezTo>
                    <a:pt x="9551" y="54580"/>
                    <a:pt x="11371" y="53898"/>
                    <a:pt x="12735" y="52533"/>
                  </a:cubicBezTo>
                  <a:cubicBezTo>
                    <a:pt x="14327" y="50941"/>
                    <a:pt x="15237" y="48667"/>
                    <a:pt x="15237" y="46165"/>
                  </a:cubicBezTo>
                  <a:cubicBezTo>
                    <a:pt x="15237" y="41845"/>
                    <a:pt x="15237" y="37524"/>
                    <a:pt x="15237" y="33430"/>
                  </a:cubicBezTo>
                  <a:lnTo>
                    <a:pt x="15237" y="27517"/>
                  </a:lnTo>
                  <a:lnTo>
                    <a:pt x="15237" y="21832"/>
                  </a:lnTo>
                  <a:cubicBezTo>
                    <a:pt x="15237" y="17284"/>
                    <a:pt x="15237" y="12735"/>
                    <a:pt x="15237" y="8187"/>
                  </a:cubicBezTo>
                  <a:cubicBezTo>
                    <a:pt x="15237" y="5685"/>
                    <a:pt x="14327" y="3411"/>
                    <a:pt x="12508" y="1819"/>
                  </a:cubicBezTo>
                  <a:cubicBezTo>
                    <a:pt x="11143" y="682"/>
                    <a:pt x="9324" y="0"/>
                    <a:pt x="7505" y="0"/>
                  </a:cubicBezTo>
                  <a:cubicBezTo>
                    <a:pt x="3184" y="227"/>
                    <a:pt x="0" y="3866"/>
                    <a:pt x="0" y="8414"/>
                  </a:cubicBezTo>
                  <a:cubicBezTo>
                    <a:pt x="0" y="21150"/>
                    <a:pt x="0" y="33658"/>
                    <a:pt x="0" y="46393"/>
                  </a:cubicBezTo>
                  <a:cubicBezTo>
                    <a:pt x="0" y="50941"/>
                    <a:pt x="3184" y="54580"/>
                    <a:pt x="7505" y="54580"/>
                  </a:cubicBezTo>
                  <a:close/>
                </a:path>
              </a:pathLst>
            </a:custGeom>
            <a:solidFill>
              <a:srgbClr val="3F3F3F"/>
            </a:solidFill>
            <a:ln w="2257" cap="flat">
              <a:noFill/>
              <a:prstDash val="solid"/>
              <a:miter/>
            </a:ln>
          </p:spPr>
          <p:txBody>
            <a:bodyPr rtlCol="0" anchor="ctr"/>
            <a:lstStyle/>
            <a:p>
              <a:pPr defTabSz="1219170"/>
              <a:endParaRPr lang="en-US" sz="2400">
                <a:solidFill>
                  <a:srgbClr val="102B62"/>
                </a:solidFill>
                <a:latin typeface="Arial"/>
              </a:endParaRPr>
            </a:p>
          </p:txBody>
        </p:sp>
        <p:sp>
          <p:nvSpPr>
            <p:cNvPr id="34" name="Freeform: Shape 33">
              <a:extLst>
                <a:ext uri="{FF2B5EF4-FFF2-40B4-BE49-F238E27FC236}">
                  <a16:creationId xmlns:a16="http://schemas.microsoft.com/office/drawing/2014/main" id="{8A48CCED-6FB4-40F0-8D4F-CA6551FE3DAB}"/>
                </a:ext>
              </a:extLst>
            </p:cNvPr>
            <p:cNvSpPr/>
            <p:nvPr/>
          </p:nvSpPr>
          <p:spPr>
            <a:xfrm>
              <a:off x="3629362" y="2280537"/>
              <a:ext cx="15464" cy="15691"/>
            </a:xfrm>
            <a:custGeom>
              <a:avLst/>
              <a:gdLst>
                <a:gd name="connsiteX0" fmla="*/ 2274 w 15464"/>
                <a:gd name="connsiteY0" fmla="*/ 2274 h 15691"/>
                <a:gd name="connsiteX1" fmla="*/ 0 w 15464"/>
                <a:gd name="connsiteY1" fmla="*/ 7960 h 15691"/>
                <a:gd name="connsiteX2" fmla="*/ 7505 w 15464"/>
                <a:gd name="connsiteY2" fmla="*/ 15692 h 15691"/>
                <a:gd name="connsiteX3" fmla="*/ 7732 w 15464"/>
                <a:gd name="connsiteY3" fmla="*/ 15692 h 15691"/>
                <a:gd name="connsiteX4" fmla="*/ 13190 w 15464"/>
                <a:gd name="connsiteY4" fmla="*/ 13645 h 15691"/>
                <a:gd name="connsiteX5" fmla="*/ 15464 w 15464"/>
                <a:gd name="connsiteY5" fmla="*/ 7732 h 15691"/>
                <a:gd name="connsiteX6" fmla="*/ 7960 w 15464"/>
                <a:gd name="connsiteY6" fmla="*/ 0 h 15691"/>
                <a:gd name="connsiteX7" fmla="*/ 2274 w 15464"/>
                <a:gd name="connsiteY7" fmla="*/ 2274 h 15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64" h="15691">
                  <a:moveTo>
                    <a:pt x="2274" y="2274"/>
                  </a:moveTo>
                  <a:cubicBezTo>
                    <a:pt x="910" y="3639"/>
                    <a:pt x="0" y="5685"/>
                    <a:pt x="0" y="7960"/>
                  </a:cubicBezTo>
                  <a:cubicBezTo>
                    <a:pt x="0" y="12508"/>
                    <a:pt x="3184" y="15692"/>
                    <a:pt x="7505" y="15692"/>
                  </a:cubicBezTo>
                  <a:cubicBezTo>
                    <a:pt x="7505" y="15692"/>
                    <a:pt x="7732" y="15692"/>
                    <a:pt x="7732" y="15692"/>
                  </a:cubicBezTo>
                  <a:cubicBezTo>
                    <a:pt x="9779" y="15692"/>
                    <a:pt x="11598" y="15009"/>
                    <a:pt x="13190" y="13645"/>
                  </a:cubicBezTo>
                  <a:cubicBezTo>
                    <a:pt x="14782" y="12280"/>
                    <a:pt x="15464" y="10234"/>
                    <a:pt x="15464" y="7732"/>
                  </a:cubicBezTo>
                  <a:cubicBezTo>
                    <a:pt x="15464" y="3184"/>
                    <a:pt x="12508" y="0"/>
                    <a:pt x="7960" y="0"/>
                  </a:cubicBezTo>
                  <a:cubicBezTo>
                    <a:pt x="5685" y="227"/>
                    <a:pt x="3639" y="910"/>
                    <a:pt x="2274" y="2274"/>
                  </a:cubicBezTo>
                  <a:close/>
                </a:path>
              </a:pathLst>
            </a:custGeom>
            <a:solidFill>
              <a:srgbClr val="3F3F3F"/>
            </a:solidFill>
            <a:ln w="2257" cap="flat">
              <a:noFill/>
              <a:prstDash val="solid"/>
              <a:miter/>
            </a:ln>
          </p:spPr>
          <p:txBody>
            <a:bodyPr rtlCol="0" anchor="ctr"/>
            <a:lstStyle/>
            <a:p>
              <a:pPr defTabSz="1219170"/>
              <a:endParaRPr lang="en-US" sz="2400">
                <a:solidFill>
                  <a:srgbClr val="102B62"/>
                </a:solidFill>
                <a:latin typeface="Arial"/>
              </a:endParaRPr>
            </a:p>
          </p:txBody>
        </p:sp>
        <p:sp>
          <p:nvSpPr>
            <p:cNvPr id="35" name="Freeform: Shape 34">
              <a:extLst>
                <a:ext uri="{FF2B5EF4-FFF2-40B4-BE49-F238E27FC236}">
                  <a16:creationId xmlns:a16="http://schemas.microsoft.com/office/drawing/2014/main" id="{1C843D18-6AAF-4C33-8992-24548F218A9E}"/>
                </a:ext>
              </a:extLst>
            </p:cNvPr>
            <p:cNvSpPr/>
            <p:nvPr/>
          </p:nvSpPr>
          <p:spPr>
            <a:xfrm>
              <a:off x="3660518" y="2280730"/>
              <a:ext cx="15236" cy="15726"/>
            </a:xfrm>
            <a:custGeom>
              <a:avLst/>
              <a:gdLst>
                <a:gd name="connsiteX0" fmla="*/ 0 w 15236"/>
                <a:gd name="connsiteY0" fmla="*/ 7767 h 15726"/>
                <a:gd name="connsiteX1" fmla="*/ 2274 w 15236"/>
                <a:gd name="connsiteY1" fmla="*/ 13680 h 15726"/>
                <a:gd name="connsiteX2" fmla="*/ 7732 w 15236"/>
                <a:gd name="connsiteY2" fmla="*/ 15727 h 15726"/>
                <a:gd name="connsiteX3" fmla="*/ 7732 w 15236"/>
                <a:gd name="connsiteY3" fmla="*/ 15727 h 15726"/>
                <a:gd name="connsiteX4" fmla="*/ 15237 w 15236"/>
                <a:gd name="connsiteY4" fmla="*/ 7994 h 15726"/>
                <a:gd name="connsiteX5" fmla="*/ 13190 w 15236"/>
                <a:gd name="connsiteY5" fmla="*/ 2082 h 15726"/>
                <a:gd name="connsiteX6" fmla="*/ 7505 w 15236"/>
                <a:gd name="connsiteY6" fmla="*/ 35 h 15726"/>
                <a:gd name="connsiteX7" fmla="*/ 0 w 15236"/>
                <a:gd name="connsiteY7" fmla="*/ 7767 h 1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36" h="15726">
                  <a:moveTo>
                    <a:pt x="0" y="7767"/>
                  </a:moveTo>
                  <a:cubicBezTo>
                    <a:pt x="0" y="10041"/>
                    <a:pt x="682" y="12088"/>
                    <a:pt x="2274" y="13680"/>
                  </a:cubicBezTo>
                  <a:cubicBezTo>
                    <a:pt x="3639" y="15044"/>
                    <a:pt x="5685" y="15727"/>
                    <a:pt x="7732" y="15727"/>
                  </a:cubicBezTo>
                  <a:cubicBezTo>
                    <a:pt x="7732" y="15727"/>
                    <a:pt x="7732" y="15727"/>
                    <a:pt x="7732" y="15727"/>
                  </a:cubicBezTo>
                  <a:cubicBezTo>
                    <a:pt x="12053" y="15727"/>
                    <a:pt x="15237" y="12543"/>
                    <a:pt x="15237" y="7994"/>
                  </a:cubicBezTo>
                  <a:cubicBezTo>
                    <a:pt x="15237" y="5720"/>
                    <a:pt x="14555" y="3673"/>
                    <a:pt x="13190" y="2082"/>
                  </a:cubicBezTo>
                  <a:cubicBezTo>
                    <a:pt x="11826" y="717"/>
                    <a:pt x="9779" y="-193"/>
                    <a:pt x="7505" y="35"/>
                  </a:cubicBezTo>
                  <a:cubicBezTo>
                    <a:pt x="2956" y="35"/>
                    <a:pt x="0" y="3219"/>
                    <a:pt x="0" y="7767"/>
                  </a:cubicBezTo>
                  <a:close/>
                </a:path>
              </a:pathLst>
            </a:custGeom>
            <a:solidFill>
              <a:srgbClr val="3F3F3F"/>
            </a:solidFill>
            <a:ln w="2257" cap="flat">
              <a:noFill/>
              <a:prstDash val="solid"/>
              <a:miter/>
            </a:ln>
          </p:spPr>
          <p:txBody>
            <a:bodyPr rtlCol="0" anchor="ctr"/>
            <a:lstStyle/>
            <a:p>
              <a:pPr defTabSz="1219170"/>
              <a:endParaRPr lang="en-US" sz="2400">
                <a:solidFill>
                  <a:srgbClr val="102B62"/>
                </a:solidFill>
                <a:latin typeface="Arial"/>
              </a:endParaRPr>
            </a:p>
          </p:txBody>
        </p:sp>
        <p:sp>
          <p:nvSpPr>
            <p:cNvPr id="36" name="Freeform: Shape 35">
              <a:extLst>
                <a:ext uri="{FF2B5EF4-FFF2-40B4-BE49-F238E27FC236}">
                  <a16:creationId xmlns:a16="http://schemas.microsoft.com/office/drawing/2014/main" id="{56D5F636-2CEA-4211-962B-0E48A2296DB8}"/>
                </a:ext>
              </a:extLst>
            </p:cNvPr>
            <p:cNvSpPr/>
            <p:nvPr/>
          </p:nvSpPr>
          <p:spPr>
            <a:xfrm>
              <a:off x="3691447" y="2280765"/>
              <a:ext cx="15236" cy="15691"/>
            </a:xfrm>
            <a:custGeom>
              <a:avLst/>
              <a:gdLst>
                <a:gd name="connsiteX0" fmla="*/ 7505 w 15236"/>
                <a:gd name="connsiteY0" fmla="*/ 0 h 15691"/>
                <a:gd name="connsiteX1" fmla="*/ 0 w 15236"/>
                <a:gd name="connsiteY1" fmla="*/ 7732 h 15691"/>
                <a:gd name="connsiteX2" fmla="*/ 2274 w 15236"/>
                <a:gd name="connsiteY2" fmla="*/ 13645 h 15691"/>
                <a:gd name="connsiteX3" fmla="*/ 7732 w 15236"/>
                <a:gd name="connsiteY3" fmla="*/ 15692 h 15691"/>
                <a:gd name="connsiteX4" fmla="*/ 7732 w 15236"/>
                <a:gd name="connsiteY4" fmla="*/ 15692 h 15691"/>
                <a:gd name="connsiteX5" fmla="*/ 15237 w 15236"/>
                <a:gd name="connsiteY5" fmla="*/ 7960 h 15691"/>
                <a:gd name="connsiteX6" fmla="*/ 13190 w 15236"/>
                <a:gd name="connsiteY6" fmla="*/ 2047 h 15691"/>
                <a:gd name="connsiteX7" fmla="*/ 7505 w 15236"/>
                <a:gd name="connsiteY7" fmla="*/ 0 h 15691"/>
                <a:gd name="connsiteX8" fmla="*/ 7505 w 15236"/>
                <a:gd name="connsiteY8" fmla="*/ 0 h 15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36" h="15691">
                  <a:moveTo>
                    <a:pt x="7505" y="0"/>
                  </a:moveTo>
                  <a:cubicBezTo>
                    <a:pt x="2956" y="0"/>
                    <a:pt x="0" y="3184"/>
                    <a:pt x="0" y="7732"/>
                  </a:cubicBezTo>
                  <a:cubicBezTo>
                    <a:pt x="0" y="10006"/>
                    <a:pt x="682" y="12053"/>
                    <a:pt x="2274" y="13645"/>
                  </a:cubicBezTo>
                  <a:cubicBezTo>
                    <a:pt x="3639" y="15009"/>
                    <a:pt x="5685" y="15692"/>
                    <a:pt x="7732" y="15692"/>
                  </a:cubicBezTo>
                  <a:cubicBezTo>
                    <a:pt x="7732" y="15692"/>
                    <a:pt x="7732" y="15692"/>
                    <a:pt x="7732" y="15692"/>
                  </a:cubicBezTo>
                  <a:cubicBezTo>
                    <a:pt x="12053" y="15692"/>
                    <a:pt x="15237" y="12280"/>
                    <a:pt x="15237" y="7960"/>
                  </a:cubicBezTo>
                  <a:cubicBezTo>
                    <a:pt x="15237" y="5685"/>
                    <a:pt x="14555" y="3639"/>
                    <a:pt x="13190" y="2047"/>
                  </a:cubicBezTo>
                  <a:cubicBezTo>
                    <a:pt x="11826" y="682"/>
                    <a:pt x="9779" y="0"/>
                    <a:pt x="7505" y="0"/>
                  </a:cubicBezTo>
                  <a:cubicBezTo>
                    <a:pt x="7732" y="0"/>
                    <a:pt x="7505" y="0"/>
                    <a:pt x="7505" y="0"/>
                  </a:cubicBezTo>
                  <a:close/>
                </a:path>
              </a:pathLst>
            </a:custGeom>
            <a:solidFill>
              <a:srgbClr val="3F3F3F"/>
            </a:solidFill>
            <a:ln w="2257" cap="flat">
              <a:noFill/>
              <a:prstDash val="solid"/>
              <a:miter/>
            </a:ln>
          </p:spPr>
          <p:txBody>
            <a:bodyPr rtlCol="0" anchor="ctr"/>
            <a:lstStyle/>
            <a:p>
              <a:pPr defTabSz="1219170"/>
              <a:endParaRPr lang="en-US" sz="2400">
                <a:solidFill>
                  <a:srgbClr val="102B62"/>
                </a:solidFill>
                <a:latin typeface="Arial"/>
              </a:endParaRPr>
            </a:p>
          </p:txBody>
        </p:sp>
        <p:sp>
          <p:nvSpPr>
            <p:cNvPr id="37" name="Freeform: Shape 36">
              <a:extLst>
                <a:ext uri="{FF2B5EF4-FFF2-40B4-BE49-F238E27FC236}">
                  <a16:creationId xmlns:a16="http://schemas.microsoft.com/office/drawing/2014/main" id="{701960EE-00A1-4829-9CC7-1C3C84F310E0}"/>
                </a:ext>
              </a:extLst>
            </p:cNvPr>
            <p:cNvSpPr/>
            <p:nvPr/>
          </p:nvSpPr>
          <p:spPr>
            <a:xfrm>
              <a:off x="3549539" y="2090190"/>
              <a:ext cx="31838" cy="44346"/>
            </a:xfrm>
            <a:custGeom>
              <a:avLst/>
              <a:gdLst>
                <a:gd name="connsiteX0" fmla="*/ 28427 w 31838"/>
                <a:gd name="connsiteY0" fmla="*/ 8869 h 44346"/>
                <a:gd name="connsiteX1" fmla="*/ 27517 w 31838"/>
                <a:gd name="connsiteY1" fmla="*/ 10006 h 44346"/>
                <a:gd name="connsiteX2" fmla="*/ 26153 w 31838"/>
                <a:gd name="connsiteY2" fmla="*/ 10461 h 44346"/>
                <a:gd name="connsiteX3" fmla="*/ 24561 w 31838"/>
                <a:gd name="connsiteY3" fmla="*/ 10006 h 44346"/>
                <a:gd name="connsiteX4" fmla="*/ 22742 w 31838"/>
                <a:gd name="connsiteY4" fmla="*/ 9097 h 44346"/>
                <a:gd name="connsiteX5" fmla="*/ 20467 w 31838"/>
                <a:gd name="connsiteY5" fmla="*/ 8187 h 44346"/>
                <a:gd name="connsiteX6" fmla="*/ 17511 w 31838"/>
                <a:gd name="connsiteY6" fmla="*/ 7732 h 44346"/>
                <a:gd name="connsiteX7" fmla="*/ 13190 w 31838"/>
                <a:gd name="connsiteY7" fmla="*/ 8869 h 44346"/>
                <a:gd name="connsiteX8" fmla="*/ 11826 w 31838"/>
                <a:gd name="connsiteY8" fmla="*/ 12053 h 44346"/>
                <a:gd name="connsiteX9" fmla="*/ 12735 w 31838"/>
                <a:gd name="connsiteY9" fmla="*/ 14327 h 44346"/>
                <a:gd name="connsiteX10" fmla="*/ 15009 w 31838"/>
                <a:gd name="connsiteY10" fmla="*/ 15919 h 44346"/>
                <a:gd name="connsiteX11" fmla="*/ 18193 w 31838"/>
                <a:gd name="connsiteY11" fmla="*/ 17056 h 44346"/>
                <a:gd name="connsiteX12" fmla="*/ 21832 w 31838"/>
                <a:gd name="connsiteY12" fmla="*/ 18193 h 44346"/>
                <a:gd name="connsiteX13" fmla="*/ 25471 w 31838"/>
                <a:gd name="connsiteY13" fmla="*/ 19785 h 44346"/>
                <a:gd name="connsiteX14" fmla="*/ 28654 w 31838"/>
                <a:gd name="connsiteY14" fmla="*/ 22059 h 44346"/>
                <a:gd name="connsiteX15" fmla="*/ 30929 w 31838"/>
                <a:gd name="connsiteY15" fmla="*/ 25243 h 44346"/>
                <a:gd name="connsiteX16" fmla="*/ 31838 w 31838"/>
                <a:gd name="connsiteY16" fmla="*/ 29791 h 44346"/>
                <a:gd name="connsiteX17" fmla="*/ 30701 w 31838"/>
                <a:gd name="connsiteY17" fmla="*/ 35477 h 44346"/>
                <a:gd name="connsiteX18" fmla="*/ 27517 w 31838"/>
                <a:gd name="connsiteY18" fmla="*/ 40025 h 44346"/>
                <a:gd name="connsiteX19" fmla="*/ 22514 w 31838"/>
                <a:gd name="connsiteY19" fmla="*/ 43209 h 44346"/>
                <a:gd name="connsiteX20" fmla="*/ 15692 w 31838"/>
                <a:gd name="connsiteY20" fmla="*/ 44346 h 44346"/>
                <a:gd name="connsiteX21" fmla="*/ 11371 w 31838"/>
                <a:gd name="connsiteY21" fmla="*/ 43891 h 44346"/>
                <a:gd name="connsiteX22" fmla="*/ 7050 w 31838"/>
                <a:gd name="connsiteY22" fmla="*/ 42754 h 44346"/>
                <a:gd name="connsiteX23" fmla="*/ 3184 w 31838"/>
                <a:gd name="connsiteY23" fmla="*/ 40935 h 44346"/>
                <a:gd name="connsiteX24" fmla="*/ 0 w 31838"/>
                <a:gd name="connsiteY24" fmla="*/ 38661 h 44346"/>
                <a:gd name="connsiteX25" fmla="*/ 3184 w 31838"/>
                <a:gd name="connsiteY25" fmla="*/ 33885 h 44346"/>
                <a:gd name="connsiteX26" fmla="*/ 4093 w 31838"/>
                <a:gd name="connsiteY26" fmla="*/ 32975 h 44346"/>
                <a:gd name="connsiteX27" fmla="*/ 5458 w 31838"/>
                <a:gd name="connsiteY27" fmla="*/ 32520 h 44346"/>
                <a:gd name="connsiteX28" fmla="*/ 7277 w 31838"/>
                <a:gd name="connsiteY28" fmla="*/ 33203 h 44346"/>
                <a:gd name="connsiteX29" fmla="*/ 9324 w 31838"/>
                <a:gd name="connsiteY29" fmla="*/ 34567 h 44346"/>
                <a:gd name="connsiteX30" fmla="*/ 12053 w 31838"/>
                <a:gd name="connsiteY30" fmla="*/ 35932 h 44346"/>
                <a:gd name="connsiteX31" fmla="*/ 15692 w 31838"/>
                <a:gd name="connsiteY31" fmla="*/ 36614 h 44346"/>
                <a:gd name="connsiteX32" fmla="*/ 20240 w 31838"/>
                <a:gd name="connsiteY32" fmla="*/ 35477 h 44346"/>
                <a:gd name="connsiteX33" fmla="*/ 21832 w 31838"/>
                <a:gd name="connsiteY33" fmla="*/ 31611 h 44346"/>
                <a:gd name="connsiteX34" fmla="*/ 20922 w 31838"/>
                <a:gd name="connsiteY34" fmla="*/ 29109 h 44346"/>
                <a:gd name="connsiteX35" fmla="*/ 18648 w 31838"/>
                <a:gd name="connsiteY35" fmla="*/ 27517 h 44346"/>
                <a:gd name="connsiteX36" fmla="*/ 15464 w 31838"/>
                <a:gd name="connsiteY36" fmla="*/ 26380 h 44346"/>
                <a:gd name="connsiteX37" fmla="*/ 11826 w 31838"/>
                <a:gd name="connsiteY37" fmla="*/ 25243 h 44346"/>
                <a:gd name="connsiteX38" fmla="*/ 8187 w 31838"/>
                <a:gd name="connsiteY38" fmla="*/ 23879 h 44346"/>
                <a:gd name="connsiteX39" fmla="*/ 5003 w 31838"/>
                <a:gd name="connsiteY39" fmla="*/ 21605 h 44346"/>
                <a:gd name="connsiteX40" fmla="*/ 2729 w 31838"/>
                <a:gd name="connsiteY40" fmla="*/ 18193 h 44346"/>
                <a:gd name="connsiteX41" fmla="*/ 1819 w 31838"/>
                <a:gd name="connsiteY41" fmla="*/ 12963 h 44346"/>
                <a:gd name="connsiteX42" fmla="*/ 2956 w 31838"/>
                <a:gd name="connsiteY42" fmla="*/ 8187 h 44346"/>
                <a:gd name="connsiteX43" fmla="*/ 5913 w 31838"/>
                <a:gd name="connsiteY43" fmla="*/ 4093 h 44346"/>
                <a:gd name="connsiteX44" fmla="*/ 10916 w 31838"/>
                <a:gd name="connsiteY44" fmla="*/ 1137 h 44346"/>
                <a:gd name="connsiteX45" fmla="*/ 17511 w 31838"/>
                <a:gd name="connsiteY45" fmla="*/ 0 h 44346"/>
                <a:gd name="connsiteX46" fmla="*/ 21605 w 31838"/>
                <a:gd name="connsiteY46" fmla="*/ 227 h 44346"/>
                <a:gd name="connsiteX47" fmla="*/ 25471 w 31838"/>
                <a:gd name="connsiteY47" fmla="*/ 1137 h 44346"/>
                <a:gd name="connsiteX48" fmla="*/ 28882 w 31838"/>
                <a:gd name="connsiteY48" fmla="*/ 2502 h 44346"/>
                <a:gd name="connsiteX49" fmla="*/ 31611 w 31838"/>
                <a:gd name="connsiteY49" fmla="*/ 4548 h 44346"/>
                <a:gd name="connsiteX50" fmla="*/ 28427 w 31838"/>
                <a:gd name="connsiteY50" fmla="*/ 8869 h 44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1838" h="44346">
                  <a:moveTo>
                    <a:pt x="28427" y="8869"/>
                  </a:moveTo>
                  <a:cubicBezTo>
                    <a:pt x="28200" y="9324"/>
                    <a:pt x="27745" y="9779"/>
                    <a:pt x="27517" y="10006"/>
                  </a:cubicBezTo>
                  <a:cubicBezTo>
                    <a:pt x="27062" y="10234"/>
                    <a:pt x="26835" y="10461"/>
                    <a:pt x="26153" y="10461"/>
                  </a:cubicBezTo>
                  <a:cubicBezTo>
                    <a:pt x="25698" y="10461"/>
                    <a:pt x="25243" y="10234"/>
                    <a:pt x="24561" y="10006"/>
                  </a:cubicBezTo>
                  <a:cubicBezTo>
                    <a:pt x="24106" y="9779"/>
                    <a:pt x="23424" y="9324"/>
                    <a:pt x="22742" y="9097"/>
                  </a:cubicBezTo>
                  <a:cubicBezTo>
                    <a:pt x="22059" y="8642"/>
                    <a:pt x="21150" y="8414"/>
                    <a:pt x="20467" y="8187"/>
                  </a:cubicBezTo>
                  <a:cubicBezTo>
                    <a:pt x="19558" y="7960"/>
                    <a:pt x="18648" y="7732"/>
                    <a:pt x="17511" y="7732"/>
                  </a:cubicBezTo>
                  <a:cubicBezTo>
                    <a:pt x="15464" y="7732"/>
                    <a:pt x="14100" y="8187"/>
                    <a:pt x="13190" y="8869"/>
                  </a:cubicBezTo>
                  <a:cubicBezTo>
                    <a:pt x="12280" y="9551"/>
                    <a:pt x="11826" y="10689"/>
                    <a:pt x="11826" y="12053"/>
                  </a:cubicBezTo>
                  <a:cubicBezTo>
                    <a:pt x="11826" y="12963"/>
                    <a:pt x="12053" y="13645"/>
                    <a:pt x="12735" y="14327"/>
                  </a:cubicBezTo>
                  <a:cubicBezTo>
                    <a:pt x="13418" y="15009"/>
                    <a:pt x="14100" y="15464"/>
                    <a:pt x="15009" y="15919"/>
                  </a:cubicBezTo>
                  <a:cubicBezTo>
                    <a:pt x="15919" y="16374"/>
                    <a:pt x="17056" y="16829"/>
                    <a:pt x="18193" y="17056"/>
                  </a:cubicBezTo>
                  <a:cubicBezTo>
                    <a:pt x="19330" y="17511"/>
                    <a:pt x="20695" y="17738"/>
                    <a:pt x="21832" y="18193"/>
                  </a:cubicBezTo>
                  <a:cubicBezTo>
                    <a:pt x="23196" y="18648"/>
                    <a:pt x="24334" y="19103"/>
                    <a:pt x="25471" y="19785"/>
                  </a:cubicBezTo>
                  <a:cubicBezTo>
                    <a:pt x="26608" y="20467"/>
                    <a:pt x="27745" y="21150"/>
                    <a:pt x="28654" y="22059"/>
                  </a:cubicBezTo>
                  <a:cubicBezTo>
                    <a:pt x="29564" y="22969"/>
                    <a:pt x="30474" y="24106"/>
                    <a:pt x="30929" y="25243"/>
                  </a:cubicBezTo>
                  <a:cubicBezTo>
                    <a:pt x="31611" y="26608"/>
                    <a:pt x="31838" y="27972"/>
                    <a:pt x="31838" y="29791"/>
                  </a:cubicBezTo>
                  <a:cubicBezTo>
                    <a:pt x="31838" y="31838"/>
                    <a:pt x="31383" y="33658"/>
                    <a:pt x="30701" y="35477"/>
                  </a:cubicBezTo>
                  <a:cubicBezTo>
                    <a:pt x="30019" y="37296"/>
                    <a:pt x="28882" y="38661"/>
                    <a:pt x="27517" y="40025"/>
                  </a:cubicBezTo>
                  <a:cubicBezTo>
                    <a:pt x="26153" y="41390"/>
                    <a:pt x="24334" y="42299"/>
                    <a:pt x="22514" y="43209"/>
                  </a:cubicBezTo>
                  <a:cubicBezTo>
                    <a:pt x="20467" y="43891"/>
                    <a:pt x="18193" y="44346"/>
                    <a:pt x="15692" y="44346"/>
                  </a:cubicBezTo>
                  <a:cubicBezTo>
                    <a:pt x="14327" y="44346"/>
                    <a:pt x="12735" y="44119"/>
                    <a:pt x="11371" y="43891"/>
                  </a:cubicBezTo>
                  <a:cubicBezTo>
                    <a:pt x="10006" y="43664"/>
                    <a:pt x="8414" y="43209"/>
                    <a:pt x="7050" y="42754"/>
                  </a:cubicBezTo>
                  <a:cubicBezTo>
                    <a:pt x="5685" y="42299"/>
                    <a:pt x="4321" y="41617"/>
                    <a:pt x="3184" y="40935"/>
                  </a:cubicBezTo>
                  <a:cubicBezTo>
                    <a:pt x="2047" y="40253"/>
                    <a:pt x="910" y="39343"/>
                    <a:pt x="0" y="38661"/>
                  </a:cubicBezTo>
                  <a:lnTo>
                    <a:pt x="3184" y="33885"/>
                  </a:lnTo>
                  <a:cubicBezTo>
                    <a:pt x="3411" y="33658"/>
                    <a:pt x="3866" y="33203"/>
                    <a:pt x="4093" y="32975"/>
                  </a:cubicBezTo>
                  <a:cubicBezTo>
                    <a:pt x="4548" y="32748"/>
                    <a:pt x="5003" y="32520"/>
                    <a:pt x="5458" y="32520"/>
                  </a:cubicBezTo>
                  <a:cubicBezTo>
                    <a:pt x="6140" y="32520"/>
                    <a:pt x="6822" y="32748"/>
                    <a:pt x="7277" y="33203"/>
                  </a:cubicBezTo>
                  <a:cubicBezTo>
                    <a:pt x="7960" y="33658"/>
                    <a:pt x="8642" y="34112"/>
                    <a:pt x="9324" y="34567"/>
                  </a:cubicBezTo>
                  <a:cubicBezTo>
                    <a:pt x="10234" y="35022"/>
                    <a:pt x="11143" y="35477"/>
                    <a:pt x="12053" y="35932"/>
                  </a:cubicBezTo>
                  <a:cubicBezTo>
                    <a:pt x="13190" y="36387"/>
                    <a:pt x="14327" y="36614"/>
                    <a:pt x="15692" y="36614"/>
                  </a:cubicBezTo>
                  <a:cubicBezTo>
                    <a:pt x="17511" y="36614"/>
                    <a:pt x="19103" y="36159"/>
                    <a:pt x="20240" y="35477"/>
                  </a:cubicBezTo>
                  <a:cubicBezTo>
                    <a:pt x="21377" y="34567"/>
                    <a:pt x="21832" y="33430"/>
                    <a:pt x="21832" y="31611"/>
                  </a:cubicBezTo>
                  <a:cubicBezTo>
                    <a:pt x="21832" y="30701"/>
                    <a:pt x="21605" y="29791"/>
                    <a:pt x="20922" y="29109"/>
                  </a:cubicBezTo>
                  <a:cubicBezTo>
                    <a:pt x="20240" y="28427"/>
                    <a:pt x="19558" y="27972"/>
                    <a:pt x="18648" y="27517"/>
                  </a:cubicBezTo>
                  <a:cubicBezTo>
                    <a:pt x="17738" y="27062"/>
                    <a:pt x="16601" y="26835"/>
                    <a:pt x="15464" y="26380"/>
                  </a:cubicBezTo>
                  <a:cubicBezTo>
                    <a:pt x="14327" y="26153"/>
                    <a:pt x="12963" y="25698"/>
                    <a:pt x="11826" y="25243"/>
                  </a:cubicBezTo>
                  <a:cubicBezTo>
                    <a:pt x="10461" y="24788"/>
                    <a:pt x="9324" y="24334"/>
                    <a:pt x="8187" y="23879"/>
                  </a:cubicBezTo>
                  <a:cubicBezTo>
                    <a:pt x="7050" y="23196"/>
                    <a:pt x="5913" y="22514"/>
                    <a:pt x="5003" y="21605"/>
                  </a:cubicBezTo>
                  <a:cubicBezTo>
                    <a:pt x="4093" y="20695"/>
                    <a:pt x="3184" y="19558"/>
                    <a:pt x="2729" y="18193"/>
                  </a:cubicBezTo>
                  <a:cubicBezTo>
                    <a:pt x="2047" y="16829"/>
                    <a:pt x="1819" y="15009"/>
                    <a:pt x="1819" y="12963"/>
                  </a:cubicBezTo>
                  <a:cubicBezTo>
                    <a:pt x="1819" y="11371"/>
                    <a:pt x="2274" y="9779"/>
                    <a:pt x="2956" y="8187"/>
                  </a:cubicBezTo>
                  <a:cubicBezTo>
                    <a:pt x="3639" y="6595"/>
                    <a:pt x="4548" y="5231"/>
                    <a:pt x="5913" y="4093"/>
                  </a:cubicBezTo>
                  <a:cubicBezTo>
                    <a:pt x="7277" y="2956"/>
                    <a:pt x="8869" y="1819"/>
                    <a:pt x="10916" y="1137"/>
                  </a:cubicBezTo>
                  <a:cubicBezTo>
                    <a:pt x="12963" y="455"/>
                    <a:pt x="15009" y="0"/>
                    <a:pt x="17511" y="0"/>
                  </a:cubicBezTo>
                  <a:cubicBezTo>
                    <a:pt x="18876" y="0"/>
                    <a:pt x="20240" y="0"/>
                    <a:pt x="21605" y="227"/>
                  </a:cubicBezTo>
                  <a:cubicBezTo>
                    <a:pt x="22969" y="455"/>
                    <a:pt x="24106" y="682"/>
                    <a:pt x="25471" y="1137"/>
                  </a:cubicBezTo>
                  <a:cubicBezTo>
                    <a:pt x="26608" y="1592"/>
                    <a:pt x="27745" y="2047"/>
                    <a:pt x="28882" y="2502"/>
                  </a:cubicBezTo>
                  <a:cubicBezTo>
                    <a:pt x="30019" y="3184"/>
                    <a:pt x="30929" y="3639"/>
                    <a:pt x="31611" y="4548"/>
                  </a:cubicBezTo>
                  <a:lnTo>
                    <a:pt x="28427" y="8869"/>
                  </a:lnTo>
                  <a:close/>
                </a:path>
              </a:pathLst>
            </a:custGeom>
            <a:solidFill>
              <a:srgbClr val="000000"/>
            </a:solidFill>
            <a:ln w="2257" cap="flat">
              <a:noFill/>
              <a:prstDash val="solid"/>
              <a:miter/>
            </a:ln>
          </p:spPr>
          <p:txBody>
            <a:bodyPr rtlCol="0" anchor="ctr"/>
            <a:lstStyle/>
            <a:p>
              <a:pPr defTabSz="1219170"/>
              <a:endParaRPr lang="en-US" sz="2400">
                <a:solidFill>
                  <a:srgbClr val="102B62"/>
                </a:solidFill>
                <a:latin typeface="Arial"/>
              </a:endParaRPr>
            </a:p>
          </p:txBody>
        </p:sp>
        <p:sp>
          <p:nvSpPr>
            <p:cNvPr id="38" name="Freeform: Shape 37">
              <a:extLst>
                <a:ext uri="{FF2B5EF4-FFF2-40B4-BE49-F238E27FC236}">
                  <a16:creationId xmlns:a16="http://schemas.microsoft.com/office/drawing/2014/main" id="{F8C5D31E-6C6E-453F-A0F0-C2B3C04E7BB6}"/>
                </a:ext>
              </a:extLst>
            </p:cNvPr>
            <p:cNvSpPr/>
            <p:nvPr/>
          </p:nvSpPr>
          <p:spPr>
            <a:xfrm>
              <a:off x="3586835" y="2089735"/>
              <a:ext cx="39115" cy="44346"/>
            </a:xfrm>
            <a:custGeom>
              <a:avLst/>
              <a:gdLst>
                <a:gd name="connsiteX0" fmla="*/ 19558 w 39115"/>
                <a:gd name="connsiteY0" fmla="*/ 35932 h 44346"/>
                <a:gd name="connsiteX1" fmla="*/ 23424 w 39115"/>
                <a:gd name="connsiteY1" fmla="*/ 35249 h 44346"/>
                <a:gd name="connsiteX2" fmla="*/ 26153 w 39115"/>
                <a:gd name="connsiteY2" fmla="*/ 33203 h 44346"/>
                <a:gd name="connsiteX3" fmla="*/ 27972 w 39115"/>
                <a:gd name="connsiteY3" fmla="*/ 30019 h 44346"/>
                <a:gd name="connsiteX4" fmla="*/ 28654 w 39115"/>
                <a:gd name="connsiteY4" fmla="*/ 25925 h 44346"/>
                <a:gd name="connsiteX5" fmla="*/ 28654 w 39115"/>
                <a:gd name="connsiteY5" fmla="*/ 0 h 44346"/>
                <a:gd name="connsiteX6" fmla="*/ 39116 w 39115"/>
                <a:gd name="connsiteY6" fmla="*/ 0 h 44346"/>
                <a:gd name="connsiteX7" fmla="*/ 39116 w 39115"/>
                <a:gd name="connsiteY7" fmla="*/ 26153 h 44346"/>
                <a:gd name="connsiteX8" fmla="*/ 37751 w 39115"/>
                <a:gd name="connsiteY8" fmla="*/ 33430 h 44346"/>
                <a:gd name="connsiteX9" fmla="*/ 33885 w 39115"/>
                <a:gd name="connsiteY9" fmla="*/ 39116 h 44346"/>
                <a:gd name="connsiteX10" fmla="*/ 27745 w 39115"/>
                <a:gd name="connsiteY10" fmla="*/ 42982 h 44346"/>
                <a:gd name="connsiteX11" fmla="*/ 19558 w 39115"/>
                <a:gd name="connsiteY11" fmla="*/ 44346 h 44346"/>
                <a:gd name="connsiteX12" fmla="*/ 11371 w 39115"/>
                <a:gd name="connsiteY12" fmla="*/ 42982 h 44346"/>
                <a:gd name="connsiteX13" fmla="*/ 5231 w 39115"/>
                <a:gd name="connsiteY13" fmla="*/ 39116 h 44346"/>
                <a:gd name="connsiteX14" fmla="*/ 1365 w 39115"/>
                <a:gd name="connsiteY14" fmla="*/ 33430 h 44346"/>
                <a:gd name="connsiteX15" fmla="*/ 0 w 39115"/>
                <a:gd name="connsiteY15" fmla="*/ 26153 h 44346"/>
                <a:gd name="connsiteX16" fmla="*/ 0 w 39115"/>
                <a:gd name="connsiteY16" fmla="*/ 227 h 44346"/>
                <a:gd name="connsiteX17" fmla="*/ 10461 w 39115"/>
                <a:gd name="connsiteY17" fmla="*/ 227 h 44346"/>
                <a:gd name="connsiteX18" fmla="*/ 10461 w 39115"/>
                <a:gd name="connsiteY18" fmla="*/ 26153 h 44346"/>
                <a:gd name="connsiteX19" fmla="*/ 11143 w 39115"/>
                <a:gd name="connsiteY19" fmla="*/ 30246 h 44346"/>
                <a:gd name="connsiteX20" fmla="*/ 12963 w 39115"/>
                <a:gd name="connsiteY20" fmla="*/ 33430 h 44346"/>
                <a:gd name="connsiteX21" fmla="*/ 15692 w 39115"/>
                <a:gd name="connsiteY21" fmla="*/ 35477 h 44346"/>
                <a:gd name="connsiteX22" fmla="*/ 19558 w 39115"/>
                <a:gd name="connsiteY22" fmla="*/ 35932 h 44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115" h="44346">
                  <a:moveTo>
                    <a:pt x="19558" y="35932"/>
                  </a:moveTo>
                  <a:cubicBezTo>
                    <a:pt x="20922" y="35932"/>
                    <a:pt x="22287" y="35704"/>
                    <a:pt x="23424" y="35249"/>
                  </a:cubicBezTo>
                  <a:cubicBezTo>
                    <a:pt x="24561" y="34795"/>
                    <a:pt x="25471" y="34112"/>
                    <a:pt x="26153" y="33203"/>
                  </a:cubicBezTo>
                  <a:cubicBezTo>
                    <a:pt x="26835" y="32293"/>
                    <a:pt x="27517" y="31383"/>
                    <a:pt x="27972" y="30019"/>
                  </a:cubicBezTo>
                  <a:cubicBezTo>
                    <a:pt x="28427" y="28882"/>
                    <a:pt x="28654" y="27517"/>
                    <a:pt x="28654" y="25925"/>
                  </a:cubicBezTo>
                  <a:lnTo>
                    <a:pt x="28654" y="0"/>
                  </a:lnTo>
                  <a:lnTo>
                    <a:pt x="39116" y="0"/>
                  </a:lnTo>
                  <a:lnTo>
                    <a:pt x="39116" y="26153"/>
                  </a:lnTo>
                  <a:cubicBezTo>
                    <a:pt x="39116" y="28882"/>
                    <a:pt x="38661" y="31383"/>
                    <a:pt x="37751" y="33430"/>
                  </a:cubicBezTo>
                  <a:cubicBezTo>
                    <a:pt x="36841" y="35704"/>
                    <a:pt x="35477" y="37524"/>
                    <a:pt x="33885" y="39116"/>
                  </a:cubicBezTo>
                  <a:cubicBezTo>
                    <a:pt x="32293" y="40707"/>
                    <a:pt x="30246" y="42072"/>
                    <a:pt x="27745" y="42982"/>
                  </a:cubicBezTo>
                  <a:cubicBezTo>
                    <a:pt x="25243" y="43891"/>
                    <a:pt x="22514" y="44346"/>
                    <a:pt x="19558" y="44346"/>
                  </a:cubicBezTo>
                  <a:cubicBezTo>
                    <a:pt x="16601" y="44346"/>
                    <a:pt x="13872" y="43891"/>
                    <a:pt x="11371" y="42982"/>
                  </a:cubicBezTo>
                  <a:cubicBezTo>
                    <a:pt x="8869" y="42072"/>
                    <a:pt x="6822" y="40935"/>
                    <a:pt x="5231" y="39116"/>
                  </a:cubicBezTo>
                  <a:cubicBezTo>
                    <a:pt x="3639" y="37524"/>
                    <a:pt x="2274" y="35477"/>
                    <a:pt x="1365" y="33430"/>
                  </a:cubicBezTo>
                  <a:cubicBezTo>
                    <a:pt x="455" y="31156"/>
                    <a:pt x="0" y="28654"/>
                    <a:pt x="0" y="26153"/>
                  </a:cubicBezTo>
                  <a:lnTo>
                    <a:pt x="0" y="227"/>
                  </a:lnTo>
                  <a:lnTo>
                    <a:pt x="10461" y="227"/>
                  </a:lnTo>
                  <a:lnTo>
                    <a:pt x="10461" y="26153"/>
                  </a:lnTo>
                  <a:cubicBezTo>
                    <a:pt x="10461" y="27745"/>
                    <a:pt x="10689" y="29109"/>
                    <a:pt x="11143" y="30246"/>
                  </a:cubicBezTo>
                  <a:cubicBezTo>
                    <a:pt x="11598" y="31383"/>
                    <a:pt x="12053" y="32520"/>
                    <a:pt x="12963" y="33430"/>
                  </a:cubicBezTo>
                  <a:cubicBezTo>
                    <a:pt x="13645" y="34340"/>
                    <a:pt x="14782" y="35022"/>
                    <a:pt x="15692" y="35477"/>
                  </a:cubicBezTo>
                  <a:cubicBezTo>
                    <a:pt x="17056" y="35704"/>
                    <a:pt x="18193" y="35932"/>
                    <a:pt x="19558" y="35932"/>
                  </a:cubicBezTo>
                  <a:close/>
                </a:path>
              </a:pathLst>
            </a:custGeom>
            <a:solidFill>
              <a:srgbClr val="000000"/>
            </a:solidFill>
            <a:ln w="2257" cap="flat">
              <a:noFill/>
              <a:prstDash val="solid"/>
              <a:miter/>
            </a:ln>
          </p:spPr>
          <p:txBody>
            <a:bodyPr rtlCol="0" anchor="ctr"/>
            <a:lstStyle/>
            <a:p>
              <a:pPr defTabSz="1219170"/>
              <a:endParaRPr lang="en-US" sz="2400">
                <a:solidFill>
                  <a:srgbClr val="102B62"/>
                </a:solidFill>
                <a:latin typeface="Arial"/>
              </a:endParaRPr>
            </a:p>
          </p:txBody>
        </p:sp>
        <p:sp>
          <p:nvSpPr>
            <p:cNvPr id="39" name="Freeform: Shape 38">
              <a:extLst>
                <a:ext uri="{FF2B5EF4-FFF2-40B4-BE49-F238E27FC236}">
                  <a16:creationId xmlns:a16="http://schemas.microsoft.com/office/drawing/2014/main" id="{A4A1AA49-6B68-49C6-8624-3D1C9904EA45}"/>
                </a:ext>
              </a:extLst>
            </p:cNvPr>
            <p:cNvSpPr/>
            <p:nvPr/>
          </p:nvSpPr>
          <p:spPr>
            <a:xfrm>
              <a:off x="3675755" y="2089963"/>
              <a:ext cx="51396" cy="43891"/>
            </a:xfrm>
            <a:custGeom>
              <a:avLst/>
              <a:gdLst>
                <a:gd name="connsiteX0" fmla="*/ 51396 w 51396"/>
                <a:gd name="connsiteY0" fmla="*/ 227 h 43891"/>
                <a:gd name="connsiteX1" fmla="*/ 51396 w 51396"/>
                <a:gd name="connsiteY1" fmla="*/ 43891 h 43891"/>
                <a:gd name="connsiteX2" fmla="*/ 42072 w 51396"/>
                <a:gd name="connsiteY2" fmla="*/ 43891 h 43891"/>
                <a:gd name="connsiteX3" fmla="*/ 42072 w 51396"/>
                <a:gd name="connsiteY3" fmla="*/ 18876 h 43891"/>
                <a:gd name="connsiteX4" fmla="*/ 42072 w 51396"/>
                <a:gd name="connsiteY4" fmla="*/ 17056 h 43891"/>
                <a:gd name="connsiteX5" fmla="*/ 42299 w 51396"/>
                <a:gd name="connsiteY5" fmla="*/ 15009 h 43891"/>
                <a:gd name="connsiteX6" fmla="*/ 30246 w 51396"/>
                <a:gd name="connsiteY6" fmla="*/ 37524 h 43891"/>
                <a:gd name="connsiteX7" fmla="*/ 28654 w 51396"/>
                <a:gd name="connsiteY7" fmla="*/ 39116 h 43891"/>
                <a:gd name="connsiteX8" fmla="*/ 26380 w 51396"/>
                <a:gd name="connsiteY8" fmla="*/ 39570 h 43891"/>
                <a:gd name="connsiteX9" fmla="*/ 25016 w 51396"/>
                <a:gd name="connsiteY9" fmla="*/ 39570 h 43891"/>
                <a:gd name="connsiteX10" fmla="*/ 22742 w 51396"/>
                <a:gd name="connsiteY10" fmla="*/ 39116 h 43891"/>
                <a:gd name="connsiteX11" fmla="*/ 21150 w 51396"/>
                <a:gd name="connsiteY11" fmla="*/ 37524 h 43891"/>
                <a:gd name="connsiteX12" fmla="*/ 9097 w 51396"/>
                <a:gd name="connsiteY12" fmla="*/ 15009 h 43891"/>
                <a:gd name="connsiteX13" fmla="*/ 9324 w 51396"/>
                <a:gd name="connsiteY13" fmla="*/ 17056 h 43891"/>
                <a:gd name="connsiteX14" fmla="*/ 9324 w 51396"/>
                <a:gd name="connsiteY14" fmla="*/ 18876 h 43891"/>
                <a:gd name="connsiteX15" fmla="*/ 9324 w 51396"/>
                <a:gd name="connsiteY15" fmla="*/ 43891 h 43891"/>
                <a:gd name="connsiteX16" fmla="*/ 0 w 51396"/>
                <a:gd name="connsiteY16" fmla="*/ 43891 h 43891"/>
                <a:gd name="connsiteX17" fmla="*/ 0 w 51396"/>
                <a:gd name="connsiteY17" fmla="*/ 227 h 43891"/>
                <a:gd name="connsiteX18" fmla="*/ 7960 w 51396"/>
                <a:gd name="connsiteY18" fmla="*/ 227 h 43891"/>
                <a:gd name="connsiteX19" fmla="*/ 9097 w 51396"/>
                <a:gd name="connsiteY19" fmla="*/ 227 h 43891"/>
                <a:gd name="connsiteX20" fmla="*/ 10006 w 51396"/>
                <a:gd name="connsiteY20" fmla="*/ 455 h 43891"/>
                <a:gd name="connsiteX21" fmla="*/ 10689 w 51396"/>
                <a:gd name="connsiteY21" fmla="*/ 910 h 43891"/>
                <a:gd name="connsiteX22" fmla="*/ 11371 w 51396"/>
                <a:gd name="connsiteY22" fmla="*/ 1819 h 43891"/>
                <a:gd name="connsiteX23" fmla="*/ 22969 w 51396"/>
                <a:gd name="connsiteY23" fmla="*/ 23879 h 43891"/>
                <a:gd name="connsiteX24" fmla="*/ 24106 w 51396"/>
                <a:gd name="connsiteY24" fmla="*/ 26153 h 43891"/>
                <a:gd name="connsiteX25" fmla="*/ 25243 w 51396"/>
                <a:gd name="connsiteY25" fmla="*/ 28654 h 43891"/>
                <a:gd name="connsiteX26" fmla="*/ 26380 w 51396"/>
                <a:gd name="connsiteY26" fmla="*/ 26153 h 43891"/>
                <a:gd name="connsiteX27" fmla="*/ 27517 w 51396"/>
                <a:gd name="connsiteY27" fmla="*/ 23651 h 43891"/>
                <a:gd name="connsiteX28" fmla="*/ 39116 w 51396"/>
                <a:gd name="connsiteY28" fmla="*/ 1592 h 43891"/>
                <a:gd name="connsiteX29" fmla="*/ 39798 w 51396"/>
                <a:gd name="connsiteY29" fmla="*/ 682 h 43891"/>
                <a:gd name="connsiteX30" fmla="*/ 40480 w 51396"/>
                <a:gd name="connsiteY30" fmla="*/ 227 h 43891"/>
                <a:gd name="connsiteX31" fmla="*/ 41390 w 51396"/>
                <a:gd name="connsiteY31" fmla="*/ 0 h 43891"/>
                <a:gd name="connsiteX32" fmla="*/ 42527 w 51396"/>
                <a:gd name="connsiteY32" fmla="*/ 0 h 43891"/>
                <a:gd name="connsiteX33" fmla="*/ 51396 w 51396"/>
                <a:gd name="connsiteY33" fmla="*/ 0 h 43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1396" h="43891">
                  <a:moveTo>
                    <a:pt x="51396" y="227"/>
                  </a:moveTo>
                  <a:lnTo>
                    <a:pt x="51396" y="43891"/>
                  </a:lnTo>
                  <a:lnTo>
                    <a:pt x="42072" y="43891"/>
                  </a:lnTo>
                  <a:lnTo>
                    <a:pt x="42072" y="18876"/>
                  </a:lnTo>
                  <a:cubicBezTo>
                    <a:pt x="42072" y="18193"/>
                    <a:pt x="42072" y="17738"/>
                    <a:pt x="42072" y="17056"/>
                  </a:cubicBezTo>
                  <a:cubicBezTo>
                    <a:pt x="42072" y="16374"/>
                    <a:pt x="42072" y="15692"/>
                    <a:pt x="42299" y="15009"/>
                  </a:cubicBezTo>
                  <a:lnTo>
                    <a:pt x="30246" y="37524"/>
                  </a:lnTo>
                  <a:cubicBezTo>
                    <a:pt x="29792" y="38206"/>
                    <a:pt x="29337" y="38661"/>
                    <a:pt x="28654" y="39116"/>
                  </a:cubicBezTo>
                  <a:cubicBezTo>
                    <a:pt x="27972" y="39570"/>
                    <a:pt x="27290" y="39570"/>
                    <a:pt x="26380" y="39570"/>
                  </a:cubicBezTo>
                  <a:lnTo>
                    <a:pt x="25016" y="39570"/>
                  </a:lnTo>
                  <a:cubicBezTo>
                    <a:pt x="24106" y="39570"/>
                    <a:pt x="23424" y="39343"/>
                    <a:pt x="22742" y="39116"/>
                  </a:cubicBezTo>
                  <a:cubicBezTo>
                    <a:pt x="22059" y="38661"/>
                    <a:pt x="21605" y="38206"/>
                    <a:pt x="21150" y="37524"/>
                  </a:cubicBezTo>
                  <a:lnTo>
                    <a:pt x="9097" y="15009"/>
                  </a:lnTo>
                  <a:cubicBezTo>
                    <a:pt x="9097" y="15692"/>
                    <a:pt x="9324" y="16374"/>
                    <a:pt x="9324" y="17056"/>
                  </a:cubicBezTo>
                  <a:cubicBezTo>
                    <a:pt x="9324" y="17738"/>
                    <a:pt x="9324" y="18421"/>
                    <a:pt x="9324" y="18876"/>
                  </a:cubicBezTo>
                  <a:lnTo>
                    <a:pt x="9324" y="43891"/>
                  </a:lnTo>
                  <a:lnTo>
                    <a:pt x="0" y="43891"/>
                  </a:lnTo>
                  <a:lnTo>
                    <a:pt x="0" y="227"/>
                  </a:lnTo>
                  <a:lnTo>
                    <a:pt x="7960" y="227"/>
                  </a:lnTo>
                  <a:cubicBezTo>
                    <a:pt x="8414" y="227"/>
                    <a:pt x="8869" y="227"/>
                    <a:pt x="9097" y="227"/>
                  </a:cubicBezTo>
                  <a:cubicBezTo>
                    <a:pt x="9551" y="227"/>
                    <a:pt x="9779" y="227"/>
                    <a:pt x="10006" y="455"/>
                  </a:cubicBezTo>
                  <a:cubicBezTo>
                    <a:pt x="10234" y="455"/>
                    <a:pt x="10461" y="682"/>
                    <a:pt x="10689" y="910"/>
                  </a:cubicBezTo>
                  <a:cubicBezTo>
                    <a:pt x="10916" y="1137"/>
                    <a:pt x="11143" y="1364"/>
                    <a:pt x="11371" y="1819"/>
                  </a:cubicBezTo>
                  <a:lnTo>
                    <a:pt x="22969" y="23879"/>
                  </a:lnTo>
                  <a:cubicBezTo>
                    <a:pt x="23424" y="24561"/>
                    <a:pt x="23879" y="25471"/>
                    <a:pt x="24106" y="26153"/>
                  </a:cubicBezTo>
                  <a:cubicBezTo>
                    <a:pt x="24561" y="27062"/>
                    <a:pt x="24788" y="27745"/>
                    <a:pt x="25243" y="28654"/>
                  </a:cubicBezTo>
                  <a:cubicBezTo>
                    <a:pt x="25698" y="27745"/>
                    <a:pt x="25925" y="26835"/>
                    <a:pt x="26380" y="26153"/>
                  </a:cubicBezTo>
                  <a:cubicBezTo>
                    <a:pt x="26835" y="25243"/>
                    <a:pt x="27062" y="24561"/>
                    <a:pt x="27517" y="23651"/>
                  </a:cubicBezTo>
                  <a:lnTo>
                    <a:pt x="39116" y="1592"/>
                  </a:lnTo>
                  <a:cubicBezTo>
                    <a:pt x="39343" y="1137"/>
                    <a:pt x="39570" y="910"/>
                    <a:pt x="39798" y="682"/>
                  </a:cubicBezTo>
                  <a:cubicBezTo>
                    <a:pt x="40025" y="455"/>
                    <a:pt x="40253" y="227"/>
                    <a:pt x="40480" y="227"/>
                  </a:cubicBezTo>
                  <a:cubicBezTo>
                    <a:pt x="40707" y="227"/>
                    <a:pt x="41162" y="0"/>
                    <a:pt x="41390" y="0"/>
                  </a:cubicBezTo>
                  <a:cubicBezTo>
                    <a:pt x="41845" y="0"/>
                    <a:pt x="42072" y="0"/>
                    <a:pt x="42527" y="0"/>
                  </a:cubicBezTo>
                  <a:lnTo>
                    <a:pt x="51396" y="0"/>
                  </a:lnTo>
                  <a:close/>
                </a:path>
              </a:pathLst>
            </a:custGeom>
            <a:solidFill>
              <a:srgbClr val="000000"/>
            </a:solidFill>
            <a:ln w="2257" cap="flat">
              <a:noFill/>
              <a:prstDash val="solid"/>
              <a:miter/>
            </a:ln>
          </p:spPr>
          <p:txBody>
            <a:bodyPr rtlCol="0" anchor="ctr"/>
            <a:lstStyle/>
            <a:p>
              <a:pPr defTabSz="1219170"/>
              <a:endParaRPr lang="en-US" sz="2400">
                <a:solidFill>
                  <a:srgbClr val="102B62"/>
                </a:solidFill>
                <a:latin typeface="Arial"/>
              </a:endParaRPr>
            </a:p>
          </p:txBody>
        </p:sp>
        <p:sp>
          <p:nvSpPr>
            <p:cNvPr id="40" name="Freeform: Shape 39">
              <a:extLst>
                <a:ext uri="{FF2B5EF4-FFF2-40B4-BE49-F238E27FC236}">
                  <a16:creationId xmlns:a16="http://schemas.microsoft.com/office/drawing/2014/main" id="{46237267-70F4-434C-8B70-86B9EAB131F6}"/>
                </a:ext>
              </a:extLst>
            </p:cNvPr>
            <p:cNvSpPr/>
            <p:nvPr/>
          </p:nvSpPr>
          <p:spPr>
            <a:xfrm>
              <a:off x="3736020" y="2090190"/>
              <a:ext cx="10688" cy="43663"/>
            </a:xfrm>
            <a:custGeom>
              <a:avLst/>
              <a:gdLst>
                <a:gd name="connsiteX0" fmla="*/ 10461 w 10688"/>
                <a:gd name="connsiteY0" fmla="*/ 43664 h 43663"/>
                <a:gd name="connsiteX1" fmla="*/ 0 w 10688"/>
                <a:gd name="connsiteY1" fmla="*/ 43664 h 43663"/>
                <a:gd name="connsiteX2" fmla="*/ 0 w 10688"/>
                <a:gd name="connsiteY2" fmla="*/ 0 h 43663"/>
                <a:gd name="connsiteX3" fmla="*/ 10689 w 10688"/>
                <a:gd name="connsiteY3" fmla="*/ 0 h 43663"/>
                <a:gd name="connsiteX4" fmla="*/ 10689 w 10688"/>
                <a:gd name="connsiteY4" fmla="*/ 43664 h 436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88" h="43663">
                  <a:moveTo>
                    <a:pt x="10461" y="43664"/>
                  </a:moveTo>
                  <a:lnTo>
                    <a:pt x="0" y="43664"/>
                  </a:lnTo>
                  <a:lnTo>
                    <a:pt x="0" y="0"/>
                  </a:lnTo>
                  <a:lnTo>
                    <a:pt x="10689" y="0"/>
                  </a:lnTo>
                  <a:lnTo>
                    <a:pt x="10689" y="43664"/>
                  </a:lnTo>
                  <a:close/>
                </a:path>
              </a:pathLst>
            </a:custGeom>
            <a:solidFill>
              <a:srgbClr val="000000"/>
            </a:solidFill>
            <a:ln w="2257" cap="flat">
              <a:noFill/>
              <a:prstDash val="solid"/>
              <a:miter/>
            </a:ln>
          </p:spPr>
          <p:txBody>
            <a:bodyPr rtlCol="0" anchor="ctr"/>
            <a:lstStyle/>
            <a:p>
              <a:pPr defTabSz="1219170"/>
              <a:endParaRPr lang="en-US" sz="2400">
                <a:solidFill>
                  <a:srgbClr val="102B62"/>
                </a:solidFill>
                <a:latin typeface="Arial"/>
              </a:endParaRPr>
            </a:p>
          </p:txBody>
        </p:sp>
        <p:sp>
          <p:nvSpPr>
            <p:cNvPr id="41" name="Freeform: Shape 40">
              <a:extLst>
                <a:ext uri="{FF2B5EF4-FFF2-40B4-BE49-F238E27FC236}">
                  <a16:creationId xmlns:a16="http://schemas.microsoft.com/office/drawing/2014/main" id="{90FB1803-3992-4A35-BA66-3E7F80041A7B}"/>
                </a:ext>
              </a:extLst>
            </p:cNvPr>
            <p:cNvSpPr/>
            <p:nvPr/>
          </p:nvSpPr>
          <p:spPr>
            <a:xfrm>
              <a:off x="3751939" y="2090190"/>
              <a:ext cx="36159" cy="43663"/>
            </a:xfrm>
            <a:custGeom>
              <a:avLst/>
              <a:gdLst>
                <a:gd name="connsiteX0" fmla="*/ 36159 w 36159"/>
                <a:gd name="connsiteY0" fmla="*/ 7960 h 43663"/>
                <a:gd name="connsiteX1" fmla="*/ 23424 w 36159"/>
                <a:gd name="connsiteY1" fmla="*/ 7960 h 43663"/>
                <a:gd name="connsiteX2" fmla="*/ 23424 w 36159"/>
                <a:gd name="connsiteY2" fmla="*/ 43664 h 43663"/>
                <a:gd name="connsiteX3" fmla="*/ 12963 w 36159"/>
                <a:gd name="connsiteY3" fmla="*/ 43664 h 43663"/>
                <a:gd name="connsiteX4" fmla="*/ 12963 w 36159"/>
                <a:gd name="connsiteY4" fmla="*/ 7960 h 43663"/>
                <a:gd name="connsiteX5" fmla="*/ 0 w 36159"/>
                <a:gd name="connsiteY5" fmla="*/ 7960 h 43663"/>
                <a:gd name="connsiteX6" fmla="*/ 0 w 36159"/>
                <a:gd name="connsiteY6" fmla="*/ 0 h 43663"/>
                <a:gd name="connsiteX7" fmla="*/ 36159 w 36159"/>
                <a:gd name="connsiteY7" fmla="*/ 0 h 43663"/>
                <a:gd name="connsiteX8" fmla="*/ 36159 w 36159"/>
                <a:gd name="connsiteY8" fmla="*/ 7960 h 43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59" h="43663">
                  <a:moveTo>
                    <a:pt x="36159" y="7960"/>
                  </a:moveTo>
                  <a:lnTo>
                    <a:pt x="23424" y="7960"/>
                  </a:lnTo>
                  <a:lnTo>
                    <a:pt x="23424" y="43664"/>
                  </a:lnTo>
                  <a:lnTo>
                    <a:pt x="12963" y="43664"/>
                  </a:lnTo>
                  <a:lnTo>
                    <a:pt x="12963" y="7960"/>
                  </a:lnTo>
                  <a:lnTo>
                    <a:pt x="0" y="7960"/>
                  </a:lnTo>
                  <a:lnTo>
                    <a:pt x="0" y="0"/>
                  </a:lnTo>
                  <a:lnTo>
                    <a:pt x="36159" y="0"/>
                  </a:lnTo>
                  <a:lnTo>
                    <a:pt x="36159" y="7960"/>
                  </a:lnTo>
                  <a:close/>
                </a:path>
              </a:pathLst>
            </a:custGeom>
            <a:solidFill>
              <a:srgbClr val="000000"/>
            </a:solidFill>
            <a:ln w="2257" cap="flat">
              <a:noFill/>
              <a:prstDash val="solid"/>
              <a:miter/>
            </a:ln>
          </p:spPr>
          <p:txBody>
            <a:bodyPr rtlCol="0" anchor="ctr"/>
            <a:lstStyle/>
            <a:p>
              <a:pPr defTabSz="1219170"/>
              <a:endParaRPr lang="en-US" sz="2400">
                <a:solidFill>
                  <a:srgbClr val="102B62"/>
                </a:solidFill>
                <a:latin typeface="Arial"/>
              </a:endParaRPr>
            </a:p>
          </p:txBody>
        </p:sp>
        <p:sp>
          <p:nvSpPr>
            <p:cNvPr id="42" name="Freeform: Shape 41">
              <a:extLst>
                <a:ext uri="{FF2B5EF4-FFF2-40B4-BE49-F238E27FC236}">
                  <a16:creationId xmlns:a16="http://schemas.microsoft.com/office/drawing/2014/main" id="{9A10BE47-1426-4A95-8182-5A84FE1C52F9}"/>
                </a:ext>
              </a:extLst>
            </p:cNvPr>
            <p:cNvSpPr/>
            <p:nvPr/>
          </p:nvSpPr>
          <p:spPr>
            <a:xfrm>
              <a:off x="3505648" y="2039931"/>
              <a:ext cx="325204" cy="145546"/>
            </a:xfrm>
            <a:custGeom>
              <a:avLst/>
              <a:gdLst>
                <a:gd name="connsiteX0" fmla="*/ 0 w 325204"/>
                <a:gd name="connsiteY0" fmla="*/ 111661 h 145546"/>
                <a:gd name="connsiteX1" fmla="*/ 9324 w 325204"/>
                <a:gd name="connsiteY1" fmla="*/ 135085 h 145546"/>
                <a:gd name="connsiteX2" fmla="*/ 37978 w 325204"/>
                <a:gd name="connsiteY2" fmla="*/ 145546 h 145546"/>
                <a:gd name="connsiteX3" fmla="*/ 37978 w 325204"/>
                <a:gd name="connsiteY3" fmla="*/ 145546 h 145546"/>
                <a:gd name="connsiteX4" fmla="*/ 277220 w 325204"/>
                <a:gd name="connsiteY4" fmla="*/ 145546 h 145546"/>
                <a:gd name="connsiteX5" fmla="*/ 277902 w 325204"/>
                <a:gd name="connsiteY5" fmla="*/ 145546 h 145546"/>
                <a:gd name="connsiteX6" fmla="*/ 278812 w 325204"/>
                <a:gd name="connsiteY6" fmla="*/ 145546 h 145546"/>
                <a:gd name="connsiteX7" fmla="*/ 281541 w 325204"/>
                <a:gd name="connsiteY7" fmla="*/ 145319 h 145546"/>
                <a:gd name="connsiteX8" fmla="*/ 284952 w 325204"/>
                <a:gd name="connsiteY8" fmla="*/ 140998 h 145546"/>
                <a:gd name="connsiteX9" fmla="*/ 284725 w 325204"/>
                <a:gd name="connsiteY9" fmla="*/ 139633 h 145546"/>
                <a:gd name="connsiteX10" fmla="*/ 282223 w 325204"/>
                <a:gd name="connsiteY10" fmla="*/ 131674 h 145546"/>
                <a:gd name="connsiteX11" fmla="*/ 275173 w 325204"/>
                <a:gd name="connsiteY11" fmla="*/ 129627 h 145546"/>
                <a:gd name="connsiteX12" fmla="*/ 32748 w 325204"/>
                <a:gd name="connsiteY12" fmla="*/ 129627 h 145546"/>
                <a:gd name="connsiteX13" fmla="*/ 16601 w 325204"/>
                <a:gd name="connsiteY13" fmla="*/ 113935 h 145546"/>
                <a:gd name="connsiteX14" fmla="*/ 16601 w 325204"/>
                <a:gd name="connsiteY14" fmla="*/ 31838 h 145546"/>
                <a:gd name="connsiteX15" fmla="*/ 17966 w 325204"/>
                <a:gd name="connsiteY15" fmla="*/ 25925 h 145546"/>
                <a:gd name="connsiteX16" fmla="*/ 36387 w 325204"/>
                <a:gd name="connsiteY16" fmla="*/ 15692 h 145546"/>
                <a:gd name="connsiteX17" fmla="*/ 192621 w 325204"/>
                <a:gd name="connsiteY17" fmla="*/ 15692 h 145546"/>
                <a:gd name="connsiteX18" fmla="*/ 240379 w 325204"/>
                <a:gd name="connsiteY18" fmla="*/ 15692 h 145546"/>
                <a:gd name="connsiteX19" fmla="*/ 255388 w 325204"/>
                <a:gd name="connsiteY19" fmla="*/ 15692 h 145546"/>
                <a:gd name="connsiteX20" fmla="*/ 290410 w 325204"/>
                <a:gd name="connsiteY20" fmla="*/ 15919 h 145546"/>
                <a:gd name="connsiteX21" fmla="*/ 304737 w 325204"/>
                <a:gd name="connsiteY21" fmla="*/ 21605 h 145546"/>
                <a:gd name="connsiteX22" fmla="*/ 309286 w 325204"/>
                <a:gd name="connsiteY22" fmla="*/ 34567 h 145546"/>
                <a:gd name="connsiteX23" fmla="*/ 309058 w 325204"/>
                <a:gd name="connsiteY23" fmla="*/ 75957 h 145546"/>
                <a:gd name="connsiteX24" fmla="*/ 309058 w 325204"/>
                <a:gd name="connsiteY24" fmla="*/ 93468 h 145546"/>
                <a:gd name="connsiteX25" fmla="*/ 317473 w 325204"/>
                <a:gd name="connsiteY25" fmla="*/ 104611 h 145546"/>
                <a:gd name="connsiteX26" fmla="*/ 323613 w 325204"/>
                <a:gd name="connsiteY26" fmla="*/ 104611 h 145546"/>
                <a:gd name="connsiteX27" fmla="*/ 325205 w 325204"/>
                <a:gd name="connsiteY27" fmla="*/ 98699 h 145546"/>
                <a:gd name="connsiteX28" fmla="*/ 325205 w 325204"/>
                <a:gd name="connsiteY28" fmla="*/ 82779 h 145546"/>
                <a:gd name="connsiteX29" fmla="*/ 324977 w 325204"/>
                <a:gd name="connsiteY29" fmla="*/ 34567 h 145546"/>
                <a:gd name="connsiteX30" fmla="*/ 321339 w 325204"/>
                <a:gd name="connsiteY30" fmla="*/ 18421 h 145546"/>
                <a:gd name="connsiteX31" fmla="*/ 291320 w 325204"/>
                <a:gd name="connsiteY31" fmla="*/ 227 h 145546"/>
                <a:gd name="connsiteX32" fmla="*/ 198762 w 325204"/>
                <a:gd name="connsiteY32" fmla="*/ 227 h 145546"/>
                <a:gd name="connsiteX33" fmla="*/ 162830 w 325204"/>
                <a:gd name="connsiteY33" fmla="*/ 227 h 145546"/>
                <a:gd name="connsiteX34" fmla="*/ 162375 w 325204"/>
                <a:gd name="connsiteY34" fmla="*/ 227 h 145546"/>
                <a:gd name="connsiteX35" fmla="*/ 126216 w 325204"/>
                <a:gd name="connsiteY35" fmla="*/ 227 h 145546"/>
                <a:gd name="connsiteX36" fmla="*/ 34567 w 325204"/>
                <a:gd name="connsiteY36" fmla="*/ 0 h 145546"/>
                <a:gd name="connsiteX37" fmla="*/ 34340 w 325204"/>
                <a:gd name="connsiteY37" fmla="*/ 0 h 145546"/>
                <a:gd name="connsiteX38" fmla="*/ 9779 w 325204"/>
                <a:gd name="connsiteY38" fmla="*/ 10006 h 145546"/>
                <a:gd name="connsiteX39" fmla="*/ 227 w 325204"/>
                <a:gd name="connsiteY39" fmla="*/ 33658 h 145546"/>
                <a:gd name="connsiteX40" fmla="*/ 227 w 325204"/>
                <a:gd name="connsiteY40" fmla="*/ 67315 h 145546"/>
                <a:gd name="connsiteX41" fmla="*/ 0 w 325204"/>
                <a:gd name="connsiteY41" fmla="*/ 111661 h 145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25204" h="145546">
                  <a:moveTo>
                    <a:pt x="0" y="111661"/>
                  </a:moveTo>
                  <a:cubicBezTo>
                    <a:pt x="0" y="120985"/>
                    <a:pt x="3184" y="128945"/>
                    <a:pt x="9324" y="135085"/>
                  </a:cubicBezTo>
                  <a:cubicBezTo>
                    <a:pt x="16374" y="142135"/>
                    <a:pt x="25471" y="145546"/>
                    <a:pt x="37978" y="145546"/>
                  </a:cubicBezTo>
                  <a:cubicBezTo>
                    <a:pt x="37978" y="145546"/>
                    <a:pt x="37978" y="145546"/>
                    <a:pt x="37978" y="145546"/>
                  </a:cubicBezTo>
                  <a:lnTo>
                    <a:pt x="277220" y="145546"/>
                  </a:lnTo>
                  <a:lnTo>
                    <a:pt x="277902" y="145546"/>
                  </a:lnTo>
                  <a:cubicBezTo>
                    <a:pt x="278130" y="145546"/>
                    <a:pt x="278357" y="145546"/>
                    <a:pt x="278812" y="145546"/>
                  </a:cubicBezTo>
                  <a:cubicBezTo>
                    <a:pt x="279722" y="145546"/>
                    <a:pt x="280631" y="145546"/>
                    <a:pt x="281541" y="145319"/>
                  </a:cubicBezTo>
                  <a:cubicBezTo>
                    <a:pt x="282906" y="144864"/>
                    <a:pt x="285407" y="143045"/>
                    <a:pt x="284952" y="140998"/>
                  </a:cubicBezTo>
                  <a:lnTo>
                    <a:pt x="284725" y="139633"/>
                  </a:lnTo>
                  <a:cubicBezTo>
                    <a:pt x="284043" y="136904"/>
                    <a:pt x="283588" y="134175"/>
                    <a:pt x="282223" y="131674"/>
                  </a:cubicBezTo>
                  <a:cubicBezTo>
                    <a:pt x="281086" y="129627"/>
                    <a:pt x="277902" y="129627"/>
                    <a:pt x="275173" y="129627"/>
                  </a:cubicBezTo>
                  <a:lnTo>
                    <a:pt x="32748" y="129627"/>
                  </a:lnTo>
                  <a:cubicBezTo>
                    <a:pt x="23651" y="129172"/>
                    <a:pt x="16601" y="122350"/>
                    <a:pt x="16601" y="113935"/>
                  </a:cubicBezTo>
                  <a:cubicBezTo>
                    <a:pt x="16601" y="88237"/>
                    <a:pt x="16601" y="61402"/>
                    <a:pt x="16601" y="31838"/>
                  </a:cubicBezTo>
                  <a:cubicBezTo>
                    <a:pt x="16601" y="29791"/>
                    <a:pt x="17056" y="27745"/>
                    <a:pt x="17966" y="25925"/>
                  </a:cubicBezTo>
                  <a:cubicBezTo>
                    <a:pt x="21150" y="19103"/>
                    <a:pt x="27290" y="15919"/>
                    <a:pt x="36387" y="15692"/>
                  </a:cubicBezTo>
                  <a:cubicBezTo>
                    <a:pt x="88465" y="15692"/>
                    <a:pt x="140543" y="15692"/>
                    <a:pt x="192621" y="15692"/>
                  </a:cubicBezTo>
                  <a:lnTo>
                    <a:pt x="240379" y="15692"/>
                  </a:lnTo>
                  <a:cubicBezTo>
                    <a:pt x="245382" y="15692"/>
                    <a:pt x="250385" y="15692"/>
                    <a:pt x="255388" y="15692"/>
                  </a:cubicBezTo>
                  <a:cubicBezTo>
                    <a:pt x="266759" y="15692"/>
                    <a:pt x="278812" y="15692"/>
                    <a:pt x="290410" y="15919"/>
                  </a:cubicBezTo>
                  <a:cubicBezTo>
                    <a:pt x="296323" y="16147"/>
                    <a:pt x="301326" y="17966"/>
                    <a:pt x="304737" y="21605"/>
                  </a:cubicBezTo>
                  <a:cubicBezTo>
                    <a:pt x="307921" y="24788"/>
                    <a:pt x="309513" y="29337"/>
                    <a:pt x="309286" y="34567"/>
                  </a:cubicBezTo>
                  <a:cubicBezTo>
                    <a:pt x="309058" y="48440"/>
                    <a:pt x="309058" y="62312"/>
                    <a:pt x="309058" y="75957"/>
                  </a:cubicBezTo>
                  <a:cubicBezTo>
                    <a:pt x="309058" y="81870"/>
                    <a:pt x="309058" y="87783"/>
                    <a:pt x="309058" y="93468"/>
                  </a:cubicBezTo>
                  <a:cubicBezTo>
                    <a:pt x="309058" y="101655"/>
                    <a:pt x="309741" y="102337"/>
                    <a:pt x="317473" y="104611"/>
                  </a:cubicBezTo>
                  <a:cubicBezTo>
                    <a:pt x="319974" y="105294"/>
                    <a:pt x="322021" y="105976"/>
                    <a:pt x="323613" y="104611"/>
                  </a:cubicBezTo>
                  <a:cubicBezTo>
                    <a:pt x="325205" y="103474"/>
                    <a:pt x="325205" y="101200"/>
                    <a:pt x="325205" y="98699"/>
                  </a:cubicBezTo>
                  <a:cubicBezTo>
                    <a:pt x="325205" y="93468"/>
                    <a:pt x="325205" y="88010"/>
                    <a:pt x="325205" y="82779"/>
                  </a:cubicBezTo>
                  <a:cubicBezTo>
                    <a:pt x="325205" y="67088"/>
                    <a:pt x="325205" y="50714"/>
                    <a:pt x="324977" y="34567"/>
                  </a:cubicBezTo>
                  <a:cubicBezTo>
                    <a:pt x="324977" y="28654"/>
                    <a:pt x="323613" y="22969"/>
                    <a:pt x="321339" y="18421"/>
                  </a:cubicBezTo>
                  <a:cubicBezTo>
                    <a:pt x="315653" y="6595"/>
                    <a:pt x="305192" y="227"/>
                    <a:pt x="291320" y="227"/>
                  </a:cubicBezTo>
                  <a:cubicBezTo>
                    <a:pt x="260391" y="227"/>
                    <a:pt x="229463" y="227"/>
                    <a:pt x="198762" y="227"/>
                  </a:cubicBezTo>
                  <a:lnTo>
                    <a:pt x="162830" y="227"/>
                  </a:lnTo>
                  <a:cubicBezTo>
                    <a:pt x="162830" y="227"/>
                    <a:pt x="162602" y="227"/>
                    <a:pt x="162375" y="227"/>
                  </a:cubicBezTo>
                  <a:cubicBezTo>
                    <a:pt x="150322" y="227"/>
                    <a:pt x="138269" y="227"/>
                    <a:pt x="126216" y="227"/>
                  </a:cubicBezTo>
                  <a:cubicBezTo>
                    <a:pt x="96197" y="227"/>
                    <a:pt x="65041" y="227"/>
                    <a:pt x="34567" y="0"/>
                  </a:cubicBezTo>
                  <a:cubicBezTo>
                    <a:pt x="34567" y="0"/>
                    <a:pt x="34340" y="0"/>
                    <a:pt x="34340" y="0"/>
                  </a:cubicBezTo>
                  <a:cubicBezTo>
                    <a:pt x="25243" y="0"/>
                    <a:pt x="16147" y="3639"/>
                    <a:pt x="9779" y="10006"/>
                  </a:cubicBezTo>
                  <a:cubicBezTo>
                    <a:pt x="3639" y="16147"/>
                    <a:pt x="227" y="24334"/>
                    <a:pt x="227" y="33658"/>
                  </a:cubicBezTo>
                  <a:cubicBezTo>
                    <a:pt x="227" y="44801"/>
                    <a:pt x="227" y="55944"/>
                    <a:pt x="227" y="67315"/>
                  </a:cubicBezTo>
                  <a:cubicBezTo>
                    <a:pt x="0" y="82097"/>
                    <a:pt x="0" y="96879"/>
                    <a:pt x="0" y="111661"/>
                  </a:cubicBezTo>
                  <a:close/>
                </a:path>
              </a:pathLst>
            </a:custGeom>
            <a:solidFill>
              <a:srgbClr val="FFFFFF"/>
            </a:solidFill>
            <a:ln w="2257" cap="flat">
              <a:noFill/>
              <a:prstDash val="solid"/>
              <a:miter/>
            </a:ln>
          </p:spPr>
          <p:txBody>
            <a:bodyPr rtlCol="0" anchor="ctr"/>
            <a:lstStyle/>
            <a:p>
              <a:pPr defTabSz="1219170"/>
              <a:endParaRPr lang="en-US" sz="2400">
                <a:solidFill>
                  <a:srgbClr val="102B62"/>
                </a:solidFill>
                <a:latin typeface="Arial"/>
              </a:endParaRPr>
            </a:p>
          </p:txBody>
        </p:sp>
        <p:sp>
          <p:nvSpPr>
            <p:cNvPr id="43" name="Freeform: Shape 42">
              <a:extLst>
                <a:ext uri="{FF2B5EF4-FFF2-40B4-BE49-F238E27FC236}">
                  <a16:creationId xmlns:a16="http://schemas.microsoft.com/office/drawing/2014/main" id="{3D826F26-D758-46CD-8798-F5291C75AC90}"/>
                </a:ext>
              </a:extLst>
            </p:cNvPr>
            <p:cNvSpPr/>
            <p:nvPr/>
          </p:nvSpPr>
          <p:spPr>
            <a:xfrm>
              <a:off x="3786105" y="2140819"/>
              <a:ext cx="65215" cy="64898"/>
            </a:xfrm>
            <a:custGeom>
              <a:avLst/>
              <a:gdLst>
                <a:gd name="connsiteX0" fmla="*/ 174 w 65215"/>
                <a:gd name="connsiteY0" fmla="*/ 4634 h 64898"/>
                <a:gd name="connsiteX1" fmla="*/ 15411 w 65215"/>
                <a:gd name="connsiteY1" fmla="*/ 61260 h 64898"/>
                <a:gd name="connsiteX2" fmla="*/ 19505 w 65215"/>
                <a:gd name="connsiteY2" fmla="*/ 61488 h 64898"/>
                <a:gd name="connsiteX3" fmla="*/ 29056 w 65215"/>
                <a:gd name="connsiteY3" fmla="*/ 46706 h 64898"/>
                <a:gd name="connsiteX4" fmla="*/ 29056 w 65215"/>
                <a:gd name="connsiteY4" fmla="*/ 46706 h 64898"/>
                <a:gd name="connsiteX5" fmla="*/ 33604 w 65215"/>
                <a:gd name="connsiteY5" fmla="*/ 51026 h 64898"/>
                <a:gd name="connsiteX6" fmla="*/ 45203 w 65215"/>
                <a:gd name="connsiteY6" fmla="*/ 62625 h 64898"/>
                <a:gd name="connsiteX7" fmla="*/ 49524 w 65215"/>
                <a:gd name="connsiteY7" fmla="*/ 64899 h 64898"/>
                <a:gd name="connsiteX8" fmla="*/ 49524 w 65215"/>
                <a:gd name="connsiteY8" fmla="*/ 64899 h 64898"/>
                <a:gd name="connsiteX9" fmla="*/ 53617 w 65215"/>
                <a:gd name="connsiteY9" fmla="*/ 62625 h 64898"/>
                <a:gd name="connsiteX10" fmla="*/ 62714 w 65215"/>
                <a:gd name="connsiteY10" fmla="*/ 53528 h 64898"/>
                <a:gd name="connsiteX11" fmla="*/ 65215 w 65215"/>
                <a:gd name="connsiteY11" fmla="*/ 48980 h 64898"/>
                <a:gd name="connsiteX12" fmla="*/ 62941 w 65215"/>
                <a:gd name="connsiteY12" fmla="*/ 44431 h 64898"/>
                <a:gd name="connsiteX13" fmla="*/ 51570 w 65215"/>
                <a:gd name="connsiteY13" fmla="*/ 33288 h 64898"/>
                <a:gd name="connsiteX14" fmla="*/ 48614 w 65215"/>
                <a:gd name="connsiteY14" fmla="*/ 30104 h 64898"/>
                <a:gd name="connsiteX15" fmla="*/ 47022 w 65215"/>
                <a:gd name="connsiteY15" fmla="*/ 28285 h 64898"/>
                <a:gd name="connsiteX16" fmla="*/ 61804 w 65215"/>
                <a:gd name="connsiteY16" fmla="*/ 18733 h 64898"/>
                <a:gd name="connsiteX17" fmla="*/ 61349 w 65215"/>
                <a:gd name="connsiteY17" fmla="*/ 14640 h 64898"/>
                <a:gd name="connsiteX18" fmla="*/ 4495 w 65215"/>
                <a:gd name="connsiteY18" fmla="*/ 85 h 64898"/>
                <a:gd name="connsiteX19" fmla="*/ 1311 w 65215"/>
                <a:gd name="connsiteY19" fmla="*/ 768 h 64898"/>
                <a:gd name="connsiteX20" fmla="*/ 1311 w 65215"/>
                <a:gd name="connsiteY20" fmla="*/ 768 h 64898"/>
                <a:gd name="connsiteX21" fmla="*/ 174 w 65215"/>
                <a:gd name="connsiteY21" fmla="*/ 4634 h 64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5215" h="64898">
                  <a:moveTo>
                    <a:pt x="174" y="4634"/>
                  </a:moveTo>
                  <a:lnTo>
                    <a:pt x="15411" y="61260"/>
                  </a:lnTo>
                  <a:lnTo>
                    <a:pt x="19505" y="61488"/>
                  </a:lnTo>
                  <a:lnTo>
                    <a:pt x="29056" y="46706"/>
                  </a:lnTo>
                  <a:cubicBezTo>
                    <a:pt x="29056" y="46706"/>
                    <a:pt x="29056" y="46706"/>
                    <a:pt x="29056" y="46706"/>
                  </a:cubicBezTo>
                  <a:lnTo>
                    <a:pt x="33604" y="51026"/>
                  </a:lnTo>
                  <a:cubicBezTo>
                    <a:pt x="37471" y="54893"/>
                    <a:pt x="41337" y="58759"/>
                    <a:pt x="45203" y="62625"/>
                  </a:cubicBezTo>
                  <a:cubicBezTo>
                    <a:pt x="46340" y="63762"/>
                    <a:pt x="47704" y="64899"/>
                    <a:pt x="49524" y="64899"/>
                  </a:cubicBezTo>
                  <a:cubicBezTo>
                    <a:pt x="49524" y="64899"/>
                    <a:pt x="49524" y="64899"/>
                    <a:pt x="49524" y="64899"/>
                  </a:cubicBezTo>
                  <a:cubicBezTo>
                    <a:pt x="51343" y="64899"/>
                    <a:pt x="52707" y="63534"/>
                    <a:pt x="53617" y="62625"/>
                  </a:cubicBezTo>
                  <a:cubicBezTo>
                    <a:pt x="56119" y="59896"/>
                    <a:pt x="59075" y="56939"/>
                    <a:pt x="62714" y="53528"/>
                  </a:cubicBezTo>
                  <a:cubicBezTo>
                    <a:pt x="63851" y="52618"/>
                    <a:pt x="65215" y="51026"/>
                    <a:pt x="65215" y="48980"/>
                  </a:cubicBezTo>
                  <a:cubicBezTo>
                    <a:pt x="65215" y="46933"/>
                    <a:pt x="63851" y="45568"/>
                    <a:pt x="62941" y="44431"/>
                  </a:cubicBezTo>
                  <a:cubicBezTo>
                    <a:pt x="59075" y="40793"/>
                    <a:pt x="55209" y="36927"/>
                    <a:pt x="51570" y="33288"/>
                  </a:cubicBezTo>
                  <a:lnTo>
                    <a:pt x="48614" y="30104"/>
                  </a:lnTo>
                  <a:cubicBezTo>
                    <a:pt x="48159" y="29649"/>
                    <a:pt x="47704" y="28967"/>
                    <a:pt x="47022" y="28285"/>
                  </a:cubicBezTo>
                  <a:lnTo>
                    <a:pt x="61804" y="18733"/>
                  </a:lnTo>
                  <a:lnTo>
                    <a:pt x="61349" y="14640"/>
                  </a:lnTo>
                  <a:lnTo>
                    <a:pt x="4495" y="85"/>
                  </a:lnTo>
                  <a:cubicBezTo>
                    <a:pt x="3358" y="-142"/>
                    <a:pt x="2221" y="85"/>
                    <a:pt x="1311" y="768"/>
                  </a:cubicBezTo>
                  <a:lnTo>
                    <a:pt x="1311" y="768"/>
                  </a:lnTo>
                  <a:cubicBezTo>
                    <a:pt x="174" y="1905"/>
                    <a:pt x="-281" y="3269"/>
                    <a:pt x="174" y="4634"/>
                  </a:cubicBezTo>
                  <a:close/>
                </a:path>
              </a:pathLst>
            </a:custGeom>
            <a:solidFill>
              <a:srgbClr val="FFFFFF"/>
            </a:solidFill>
            <a:ln w="2257" cap="flat">
              <a:noFill/>
              <a:prstDash val="solid"/>
              <a:miter/>
            </a:ln>
          </p:spPr>
          <p:txBody>
            <a:bodyPr rtlCol="0" anchor="ctr"/>
            <a:lstStyle/>
            <a:p>
              <a:pPr defTabSz="1219170"/>
              <a:endParaRPr lang="en-US" sz="2400">
                <a:solidFill>
                  <a:srgbClr val="102B62"/>
                </a:solidFill>
                <a:latin typeface="Arial"/>
              </a:endParaRPr>
            </a:p>
          </p:txBody>
        </p:sp>
        <p:sp>
          <p:nvSpPr>
            <p:cNvPr id="44" name="Freeform: Shape 43">
              <a:extLst>
                <a:ext uri="{FF2B5EF4-FFF2-40B4-BE49-F238E27FC236}">
                  <a16:creationId xmlns:a16="http://schemas.microsoft.com/office/drawing/2014/main" id="{5DB172A7-2395-442F-BE52-69A40B091E21}"/>
                </a:ext>
              </a:extLst>
            </p:cNvPr>
            <p:cNvSpPr/>
            <p:nvPr/>
          </p:nvSpPr>
          <p:spPr>
            <a:xfrm>
              <a:off x="3548175" y="2088598"/>
              <a:ext cx="34112" cy="46392"/>
            </a:xfrm>
            <a:custGeom>
              <a:avLst/>
              <a:gdLst>
                <a:gd name="connsiteX0" fmla="*/ 17056 w 34112"/>
                <a:gd name="connsiteY0" fmla="*/ 36841 h 46392"/>
                <a:gd name="connsiteX1" fmla="*/ 13645 w 34112"/>
                <a:gd name="connsiteY1" fmla="*/ 36387 h 46392"/>
                <a:gd name="connsiteX2" fmla="*/ 10916 w 34112"/>
                <a:gd name="connsiteY2" fmla="*/ 35249 h 46392"/>
                <a:gd name="connsiteX3" fmla="*/ 8869 w 34112"/>
                <a:gd name="connsiteY3" fmla="*/ 33885 h 46392"/>
                <a:gd name="connsiteX4" fmla="*/ 4776 w 34112"/>
                <a:gd name="connsiteY4" fmla="*/ 33658 h 46392"/>
                <a:gd name="connsiteX5" fmla="*/ 3411 w 34112"/>
                <a:gd name="connsiteY5" fmla="*/ 34795 h 46392"/>
                <a:gd name="connsiteX6" fmla="*/ 0 w 34112"/>
                <a:gd name="connsiteY6" fmla="*/ 40025 h 46392"/>
                <a:gd name="connsiteX7" fmla="*/ 455 w 34112"/>
                <a:gd name="connsiteY7" fmla="*/ 40480 h 46392"/>
                <a:gd name="connsiteX8" fmla="*/ 3866 w 34112"/>
                <a:gd name="connsiteY8" fmla="*/ 42982 h 46392"/>
                <a:gd name="connsiteX9" fmla="*/ 7960 w 34112"/>
                <a:gd name="connsiteY9" fmla="*/ 44801 h 46392"/>
                <a:gd name="connsiteX10" fmla="*/ 12280 w 34112"/>
                <a:gd name="connsiteY10" fmla="*/ 45938 h 46392"/>
                <a:gd name="connsiteX11" fmla="*/ 16829 w 34112"/>
                <a:gd name="connsiteY11" fmla="*/ 46393 h 46392"/>
                <a:gd name="connsiteX12" fmla="*/ 24106 w 34112"/>
                <a:gd name="connsiteY12" fmla="*/ 45256 h 46392"/>
                <a:gd name="connsiteX13" fmla="*/ 29564 w 34112"/>
                <a:gd name="connsiteY13" fmla="*/ 42072 h 46392"/>
                <a:gd name="connsiteX14" fmla="*/ 32975 w 34112"/>
                <a:gd name="connsiteY14" fmla="*/ 37069 h 46392"/>
                <a:gd name="connsiteX15" fmla="*/ 34112 w 34112"/>
                <a:gd name="connsiteY15" fmla="*/ 31156 h 46392"/>
                <a:gd name="connsiteX16" fmla="*/ 33203 w 34112"/>
                <a:gd name="connsiteY16" fmla="*/ 26153 h 46392"/>
                <a:gd name="connsiteX17" fmla="*/ 30701 w 34112"/>
                <a:gd name="connsiteY17" fmla="*/ 22514 h 46392"/>
                <a:gd name="connsiteX18" fmla="*/ 27290 w 34112"/>
                <a:gd name="connsiteY18" fmla="*/ 20240 h 46392"/>
                <a:gd name="connsiteX19" fmla="*/ 23424 w 34112"/>
                <a:gd name="connsiteY19" fmla="*/ 18648 h 46392"/>
                <a:gd name="connsiteX20" fmla="*/ 19558 w 34112"/>
                <a:gd name="connsiteY20" fmla="*/ 17511 h 46392"/>
                <a:gd name="connsiteX21" fmla="*/ 16374 w 34112"/>
                <a:gd name="connsiteY21" fmla="*/ 16374 h 46392"/>
                <a:gd name="connsiteX22" fmla="*/ 14327 w 34112"/>
                <a:gd name="connsiteY22" fmla="*/ 15009 h 46392"/>
                <a:gd name="connsiteX23" fmla="*/ 13645 w 34112"/>
                <a:gd name="connsiteY23" fmla="*/ 13418 h 46392"/>
                <a:gd name="connsiteX24" fmla="*/ 14782 w 34112"/>
                <a:gd name="connsiteY24" fmla="*/ 10689 h 46392"/>
                <a:gd name="connsiteX25" fmla="*/ 18648 w 34112"/>
                <a:gd name="connsiteY25" fmla="*/ 9779 h 46392"/>
                <a:gd name="connsiteX26" fmla="*/ 21377 w 34112"/>
                <a:gd name="connsiteY26" fmla="*/ 10234 h 46392"/>
                <a:gd name="connsiteX27" fmla="*/ 23651 w 34112"/>
                <a:gd name="connsiteY27" fmla="*/ 11143 h 46392"/>
                <a:gd name="connsiteX28" fmla="*/ 25471 w 34112"/>
                <a:gd name="connsiteY28" fmla="*/ 12053 h 46392"/>
                <a:gd name="connsiteX29" fmla="*/ 29337 w 34112"/>
                <a:gd name="connsiteY29" fmla="*/ 12053 h 46392"/>
                <a:gd name="connsiteX30" fmla="*/ 30474 w 34112"/>
                <a:gd name="connsiteY30" fmla="*/ 10689 h 46392"/>
                <a:gd name="connsiteX31" fmla="*/ 33430 w 34112"/>
                <a:gd name="connsiteY31" fmla="*/ 5231 h 46392"/>
                <a:gd name="connsiteX32" fmla="*/ 32975 w 34112"/>
                <a:gd name="connsiteY32" fmla="*/ 4776 h 46392"/>
                <a:gd name="connsiteX33" fmla="*/ 30019 w 34112"/>
                <a:gd name="connsiteY33" fmla="*/ 2729 h 46392"/>
                <a:gd name="connsiteX34" fmla="*/ 26608 w 34112"/>
                <a:gd name="connsiteY34" fmla="*/ 1137 h 46392"/>
                <a:gd name="connsiteX35" fmla="*/ 22742 w 34112"/>
                <a:gd name="connsiteY35" fmla="*/ 227 h 46392"/>
                <a:gd name="connsiteX36" fmla="*/ 18648 w 34112"/>
                <a:gd name="connsiteY36" fmla="*/ 0 h 46392"/>
                <a:gd name="connsiteX37" fmla="*/ 11598 w 34112"/>
                <a:gd name="connsiteY37" fmla="*/ 1137 h 46392"/>
                <a:gd name="connsiteX38" fmla="*/ 6368 w 34112"/>
                <a:gd name="connsiteY38" fmla="*/ 4321 h 46392"/>
                <a:gd name="connsiteX39" fmla="*/ 3184 w 34112"/>
                <a:gd name="connsiteY39" fmla="*/ 8869 h 46392"/>
                <a:gd name="connsiteX40" fmla="*/ 2047 w 34112"/>
                <a:gd name="connsiteY40" fmla="*/ 14100 h 46392"/>
                <a:gd name="connsiteX41" fmla="*/ 2956 w 34112"/>
                <a:gd name="connsiteY41" fmla="*/ 19558 h 46392"/>
                <a:gd name="connsiteX42" fmla="*/ 5458 w 34112"/>
                <a:gd name="connsiteY42" fmla="*/ 23424 h 46392"/>
                <a:gd name="connsiteX43" fmla="*/ 8869 w 34112"/>
                <a:gd name="connsiteY43" fmla="*/ 25925 h 46392"/>
                <a:gd name="connsiteX44" fmla="*/ 12735 w 34112"/>
                <a:gd name="connsiteY44" fmla="*/ 27517 h 46392"/>
                <a:gd name="connsiteX45" fmla="*/ 16374 w 34112"/>
                <a:gd name="connsiteY45" fmla="*/ 28654 h 46392"/>
                <a:gd name="connsiteX46" fmla="*/ 19558 w 34112"/>
                <a:gd name="connsiteY46" fmla="*/ 29791 h 46392"/>
                <a:gd name="connsiteX47" fmla="*/ 21605 w 34112"/>
                <a:gd name="connsiteY47" fmla="*/ 31156 h 46392"/>
                <a:gd name="connsiteX48" fmla="*/ 22287 w 34112"/>
                <a:gd name="connsiteY48" fmla="*/ 32975 h 46392"/>
                <a:gd name="connsiteX49" fmla="*/ 20922 w 34112"/>
                <a:gd name="connsiteY49" fmla="*/ 36159 h 46392"/>
                <a:gd name="connsiteX50" fmla="*/ 17056 w 34112"/>
                <a:gd name="connsiteY50" fmla="*/ 36841 h 46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4112" h="46392">
                  <a:moveTo>
                    <a:pt x="17056" y="36841"/>
                  </a:moveTo>
                  <a:cubicBezTo>
                    <a:pt x="15692" y="36841"/>
                    <a:pt x="14555" y="36614"/>
                    <a:pt x="13645" y="36387"/>
                  </a:cubicBezTo>
                  <a:cubicBezTo>
                    <a:pt x="12735" y="35932"/>
                    <a:pt x="11826" y="35704"/>
                    <a:pt x="10916" y="35249"/>
                  </a:cubicBezTo>
                  <a:cubicBezTo>
                    <a:pt x="10006" y="34795"/>
                    <a:pt x="9324" y="34340"/>
                    <a:pt x="8869" y="33885"/>
                  </a:cubicBezTo>
                  <a:cubicBezTo>
                    <a:pt x="7505" y="32975"/>
                    <a:pt x="5913" y="32975"/>
                    <a:pt x="4776" y="33658"/>
                  </a:cubicBezTo>
                  <a:cubicBezTo>
                    <a:pt x="4321" y="33885"/>
                    <a:pt x="3866" y="34340"/>
                    <a:pt x="3411" y="34795"/>
                  </a:cubicBezTo>
                  <a:lnTo>
                    <a:pt x="0" y="40025"/>
                  </a:lnTo>
                  <a:lnTo>
                    <a:pt x="455" y="40480"/>
                  </a:lnTo>
                  <a:cubicBezTo>
                    <a:pt x="1365" y="41390"/>
                    <a:pt x="2502" y="42299"/>
                    <a:pt x="3866" y="42982"/>
                  </a:cubicBezTo>
                  <a:cubicBezTo>
                    <a:pt x="5003" y="43664"/>
                    <a:pt x="6368" y="44346"/>
                    <a:pt x="7960" y="44801"/>
                  </a:cubicBezTo>
                  <a:cubicBezTo>
                    <a:pt x="9551" y="45256"/>
                    <a:pt x="10916" y="45711"/>
                    <a:pt x="12280" y="45938"/>
                  </a:cubicBezTo>
                  <a:cubicBezTo>
                    <a:pt x="13872" y="46165"/>
                    <a:pt x="15237" y="46393"/>
                    <a:pt x="16829" y="46393"/>
                  </a:cubicBezTo>
                  <a:cubicBezTo>
                    <a:pt x="19558" y="46393"/>
                    <a:pt x="21832" y="45938"/>
                    <a:pt x="24106" y="45256"/>
                  </a:cubicBezTo>
                  <a:cubicBezTo>
                    <a:pt x="26153" y="44574"/>
                    <a:pt x="27972" y="43436"/>
                    <a:pt x="29564" y="42072"/>
                  </a:cubicBezTo>
                  <a:cubicBezTo>
                    <a:pt x="30929" y="40707"/>
                    <a:pt x="32066" y="39116"/>
                    <a:pt x="32975" y="37069"/>
                  </a:cubicBezTo>
                  <a:cubicBezTo>
                    <a:pt x="33658" y="35249"/>
                    <a:pt x="34112" y="33203"/>
                    <a:pt x="34112" y="31156"/>
                  </a:cubicBezTo>
                  <a:cubicBezTo>
                    <a:pt x="34112" y="29337"/>
                    <a:pt x="33885" y="27517"/>
                    <a:pt x="33203" y="26153"/>
                  </a:cubicBezTo>
                  <a:cubicBezTo>
                    <a:pt x="32520" y="24788"/>
                    <a:pt x="31838" y="23651"/>
                    <a:pt x="30701" y="22514"/>
                  </a:cubicBezTo>
                  <a:cubicBezTo>
                    <a:pt x="29792" y="21605"/>
                    <a:pt x="28427" y="20695"/>
                    <a:pt x="27290" y="20240"/>
                  </a:cubicBezTo>
                  <a:cubicBezTo>
                    <a:pt x="26153" y="19558"/>
                    <a:pt x="24788" y="19103"/>
                    <a:pt x="23424" y="18648"/>
                  </a:cubicBezTo>
                  <a:cubicBezTo>
                    <a:pt x="22059" y="18193"/>
                    <a:pt x="20922" y="17738"/>
                    <a:pt x="19558" y="17511"/>
                  </a:cubicBezTo>
                  <a:cubicBezTo>
                    <a:pt x="18421" y="17284"/>
                    <a:pt x="17284" y="16829"/>
                    <a:pt x="16374" y="16374"/>
                  </a:cubicBezTo>
                  <a:cubicBezTo>
                    <a:pt x="15464" y="15919"/>
                    <a:pt x="14782" y="15464"/>
                    <a:pt x="14327" y="15009"/>
                  </a:cubicBezTo>
                  <a:cubicBezTo>
                    <a:pt x="13872" y="14555"/>
                    <a:pt x="13645" y="14100"/>
                    <a:pt x="13645" y="13418"/>
                  </a:cubicBezTo>
                  <a:cubicBezTo>
                    <a:pt x="13645" y="12280"/>
                    <a:pt x="14100" y="11371"/>
                    <a:pt x="14782" y="10689"/>
                  </a:cubicBezTo>
                  <a:cubicBezTo>
                    <a:pt x="15692" y="10006"/>
                    <a:pt x="16829" y="9779"/>
                    <a:pt x="18648" y="9779"/>
                  </a:cubicBezTo>
                  <a:cubicBezTo>
                    <a:pt x="19785" y="9779"/>
                    <a:pt x="20695" y="10006"/>
                    <a:pt x="21377" y="10234"/>
                  </a:cubicBezTo>
                  <a:cubicBezTo>
                    <a:pt x="22287" y="10461"/>
                    <a:pt x="22969" y="10916"/>
                    <a:pt x="23651" y="11143"/>
                  </a:cubicBezTo>
                  <a:lnTo>
                    <a:pt x="25471" y="12053"/>
                  </a:lnTo>
                  <a:cubicBezTo>
                    <a:pt x="26835" y="12735"/>
                    <a:pt x="28427" y="12735"/>
                    <a:pt x="29337" y="12053"/>
                  </a:cubicBezTo>
                  <a:cubicBezTo>
                    <a:pt x="29792" y="11826"/>
                    <a:pt x="30246" y="11371"/>
                    <a:pt x="30474" y="10689"/>
                  </a:cubicBezTo>
                  <a:lnTo>
                    <a:pt x="33430" y="5231"/>
                  </a:lnTo>
                  <a:lnTo>
                    <a:pt x="32975" y="4776"/>
                  </a:lnTo>
                  <a:cubicBezTo>
                    <a:pt x="32066" y="4093"/>
                    <a:pt x="31156" y="3411"/>
                    <a:pt x="30019" y="2729"/>
                  </a:cubicBezTo>
                  <a:cubicBezTo>
                    <a:pt x="28882" y="2047"/>
                    <a:pt x="27745" y="1592"/>
                    <a:pt x="26608" y="1137"/>
                  </a:cubicBezTo>
                  <a:cubicBezTo>
                    <a:pt x="25471" y="682"/>
                    <a:pt x="24106" y="455"/>
                    <a:pt x="22742" y="227"/>
                  </a:cubicBezTo>
                  <a:cubicBezTo>
                    <a:pt x="21377" y="0"/>
                    <a:pt x="20013" y="0"/>
                    <a:pt x="18648" y="0"/>
                  </a:cubicBezTo>
                  <a:cubicBezTo>
                    <a:pt x="16147" y="0"/>
                    <a:pt x="13645" y="455"/>
                    <a:pt x="11598" y="1137"/>
                  </a:cubicBezTo>
                  <a:cubicBezTo>
                    <a:pt x="9551" y="1819"/>
                    <a:pt x="7732" y="2956"/>
                    <a:pt x="6368" y="4321"/>
                  </a:cubicBezTo>
                  <a:cubicBezTo>
                    <a:pt x="5003" y="5685"/>
                    <a:pt x="3866" y="7050"/>
                    <a:pt x="3184" y="8869"/>
                  </a:cubicBezTo>
                  <a:cubicBezTo>
                    <a:pt x="2502" y="10461"/>
                    <a:pt x="2047" y="12280"/>
                    <a:pt x="2047" y="14100"/>
                  </a:cubicBezTo>
                  <a:cubicBezTo>
                    <a:pt x="2047" y="16147"/>
                    <a:pt x="2274" y="18193"/>
                    <a:pt x="2956" y="19558"/>
                  </a:cubicBezTo>
                  <a:cubicBezTo>
                    <a:pt x="3639" y="21150"/>
                    <a:pt x="4321" y="22287"/>
                    <a:pt x="5458" y="23424"/>
                  </a:cubicBezTo>
                  <a:cubicBezTo>
                    <a:pt x="6368" y="24333"/>
                    <a:pt x="7732" y="25243"/>
                    <a:pt x="8869" y="25925"/>
                  </a:cubicBezTo>
                  <a:cubicBezTo>
                    <a:pt x="10006" y="26608"/>
                    <a:pt x="11371" y="27062"/>
                    <a:pt x="12735" y="27517"/>
                  </a:cubicBezTo>
                  <a:cubicBezTo>
                    <a:pt x="14100" y="27972"/>
                    <a:pt x="15237" y="28200"/>
                    <a:pt x="16374" y="28654"/>
                  </a:cubicBezTo>
                  <a:cubicBezTo>
                    <a:pt x="17511" y="28882"/>
                    <a:pt x="18648" y="29337"/>
                    <a:pt x="19558" y="29791"/>
                  </a:cubicBezTo>
                  <a:cubicBezTo>
                    <a:pt x="20467" y="30246"/>
                    <a:pt x="21150" y="30701"/>
                    <a:pt x="21605" y="31156"/>
                  </a:cubicBezTo>
                  <a:cubicBezTo>
                    <a:pt x="22059" y="31611"/>
                    <a:pt x="22287" y="32293"/>
                    <a:pt x="22287" y="32975"/>
                  </a:cubicBezTo>
                  <a:cubicBezTo>
                    <a:pt x="22287" y="34567"/>
                    <a:pt x="21832" y="35477"/>
                    <a:pt x="20922" y="36159"/>
                  </a:cubicBezTo>
                  <a:cubicBezTo>
                    <a:pt x="20240" y="36387"/>
                    <a:pt x="18876" y="36841"/>
                    <a:pt x="17056" y="36841"/>
                  </a:cubicBezTo>
                  <a:close/>
                </a:path>
              </a:pathLst>
            </a:custGeom>
            <a:solidFill>
              <a:srgbClr val="FFFFFF"/>
            </a:solidFill>
            <a:ln w="2257" cap="flat">
              <a:noFill/>
              <a:prstDash val="solid"/>
              <a:miter/>
            </a:ln>
          </p:spPr>
          <p:txBody>
            <a:bodyPr rtlCol="0" anchor="ctr"/>
            <a:lstStyle/>
            <a:p>
              <a:pPr defTabSz="1219170"/>
              <a:endParaRPr lang="en-US" sz="2400">
                <a:solidFill>
                  <a:srgbClr val="102B62"/>
                </a:solidFill>
                <a:latin typeface="Arial"/>
              </a:endParaRPr>
            </a:p>
          </p:txBody>
        </p:sp>
        <p:sp>
          <p:nvSpPr>
            <p:cNvPr id="45" name="Freeform: Shape 44">
              <a:extLst>
                <a:ext uri="{FF2B5EF4-FFF2-40B4-BE49-F238E27FC236}">
                  <a16:creationId xmlns:a16="http://schemas.microsoft.com/office/drawing/2014/main" id="{79BD14A0-DBEF-4FE8-AAE8-982C515575B8}"/>
                </a:ext>
              </a:extLst>
            </p:cNvPr>
            <p:cNvSpPr/>
            <p:nvPr/>
          </p:nvSpPr>
          <p:spPr>
            <a:xfrm>
              <a:off x="3586153" y="2089281"/>
              <a:ext cx="40480" cy="45710"/>
            </a:xfrm>
            <a:custGeom>
              <a:avLst/>
              <a:gdLst>
                <a:gd name="connsiteX0" fmla="*/ 0 w 40480"/>
                <a:gd name="connsiteY0" fmla="*/ 0 h 45710"/>
                <a:gd name="connsiteX1" fmla="*/ 0 w 40480"/>
                <a:gd name="connsiteY1" fmla="*/ 26608 h 45710"/>
                <a:gd name="connsiteX2" fmla="*/ 1364 w 40480"/>
                <a:gd name="connsiteY2" fmla="*/ 34340 h 45710"/>
                <a:gd name="connsiteX3" fmla="*/ 5458 w 40480"/>
                <a:gd name="connsiteY3" fmla="*/ 40480 h 45710"/>
                <a:gd name="connsiteX4" fmla="*/ 11826 w 40480"/>
                <a:gd name="connsiteY4" fmla="*/ 44346 h 45710"/>
                <a:gd name="connsiteX5" fmla="*/ 20240 w 40480"/>
                <a:gd name="connsiteY5" fmla="*/ 45711 h 45710"/>
                <a:gd name="connsiteX6" fmla="*/ 28654 w 40480"/>
                <a:gd name="connsiteY6" fmla="*/ 44346 h 45710"/>
                <a:gd name="connsiteX7" fmla="*/ 35022 w 40480"/>
                <a:gd name="connsiteY7" fmla="*/ 40480 h 45710"/>
                <a:gd name="connsiteX8" fmla="*/ 39116 w 40480"/>
                <a:gd name="connsiteY8" fmla="*/ 34340 h 45710"/>
                <a:gd name="connsiteX9" fmla="*/ 40480 w 40480"/>
                <a:gd name="connsiteY9" fmla="*/ 26608 h 45710"/>
                <a:gd name="connsiteX10" fmla="*/ 40480 w 40480"/>
                <a:gd name="connsiteY10" fmla="*/ 0 h 45710"/>
                <a:gd name="connsiteX11" fmla="*/ 28200 w 40480"/>
                <a:gd name="connsiteY11" fmla="*/ 0 h 45710"/>
                <a:gd name="connsiteX12" fmla="*/ 28200 w 40480"/>
                <a:gd name="connsiteY12" fmla="*/ 26608 h 45710"/>
                <a:gd name="connsiteX13" fmla="*/ 27745 w 40480"/>
                <a:gd name="connsiteY13" fmla="*/ 30474 h 45710"/>
                <a:gd name="connsiteX14" fmla="*/ 26153 w 40480"/>
                <a:gd name="connsiteY14" fmla="*/ 33203 h 45710"/>
                <a:gd name="connsiteX15" fmla="*/ 23651 w 40480"/>
                <a:gd name="connsiteY15" fmla="*/ 35022 h 45710"/>
                <a:gd name="connsiteX16" fmla="*/ 16601 w 40480"/>
                <a:gd name="connsiteY16" fmla="*/ 35022 h 45710"/>
                <a:gd name="connsiteX17" fmla="*/ 14100 w 40480"/>
                <a:gd name="connsiteY17" fmla="*/ 33203 h 45710"/>
                <a:gd name="connsiteX18" fmla="*/ 12508 w 40480"/>
                <a:gd name="connsiteY18" fmla="*/ 30474 h 45710"/>
                <a:gd name="connsiteX19" fmla="*/ 12053 w 40480"/>
                <a:gd name="connsiteY19" fmla="*/ 26608 h 45710"/>
                <a:gd name="connsiteX20" fmla="*/ 12053 w 40480"/>
                <a:gd name="connsiteY20" fmla="*/ 0 h 45710"/>
                <a:gd name="connsiteX21" fmla="*/ 0 w 40480"/>
                <a:gd name="connsiteY21" fmla="*/ 0 h 45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480" h="45710">
                  <a:moveTo>
                    <a:pt x="0" y="0"/>
                  </a:moveTo>
                  <a:lnTo>
                    <a:pt x="0" y="26608"/>
                  </a:lnTo>
                  <a:cubicBezTo>
                    <a:pt x="0" y="29337"/>
                    <a:pt x="455" y="32066"/>
                    <a:pt x="1364" y="34340"/>
                  </a:cubicBezTo>
                  <a:cubicBezTo>
                    <a:pt x="2274" y="36614"/>
                    <a:pt x="3639" y="38661"/>
                    <a:pt x="5458" y="40480"/>
                  </a:cubicBezTo>
                  <a:cubicBezTo>
                    <a:pt x="7277" y="42072"/>
                    <a:pt x="9324" y="43436"/>
                    <a:pt x="11826" y="44346"/>
                  </a:cubicBezTo>
                  <a:cubicBezTo>
                    <a:pt x="14327" y="45256"/>
                    <a:pt x="17284" y="45711"/>
                    <a:pt x="20240" y="45711"/>
                  </a:cubicBezTo>
                  <a:cubicBezTo>
                    <a:pt x="23424" y="45711"/>
                    <a:pt x="26153" y="45256"/>
                    <a:pt x="28654" y="44346"/>
                  </a:cubicBezTo>
                  <a:cubicBezTo>
                    <a:pt x="31156" y="43436"/>
                    <a:pt x="33430" y="42072"/>
                    <a:pt x="35022" y="40480"/>
                  </a:cubicBezTo>
                  <a:cubicBezTo>
                    <a:pt x="36841" y="38888"/>
                    <a:pt x="38206" y="36841"/>
                    <a:pt x="39116" y="34340"/>
                  </a:cubicBezTo>
                  <a:cubicBezTo>
                    <a:pt x="40025" y="32066"/>
                    <a:pt x="40480" y="29337"/>
                    <a:pt x="40480" y="26608"/>
                  </a:cubicBezTo>
                  <a:lnTo>
                    <a:pt x="40480" y="0"/>
                  </a:lnTo>
                  <a:lnTo>
                    <a:pt x="28200" y="0"/>
                  </a:lnTo>
                  <a:lnTo>
                    <a:pt x="28200" y="26608"/>
                  </a:lnTo>
                  <a:cubicBezTo>
                    <a:pt x="28200" y="27972"/>
                    <a:pt x="27972" y="29337"/>
                    <a:pt x="27745" y="30474"/>
                  </a:cubicBezTo>
                  <a:cubicBezTo>
                    <a:pt x="27290" y="31611"/>
                    <a:pt x="26835" y="32520"/>
                    <a:pt x="26153" y="33203"/>
                  </a:cubicBezTo>
                  <a:cubicBezTo>
                    <a:pt x="25471" y="33885"/>
                    <a:pt x="24561" y="34567"/>
                    <a:pt x="23651" y="35022"/>
                  </a:cubicBezTo>
                  <a:cubicBezTo>
                    <a:pt x="21605" y="35932"/>
                    <a:pt x="18648" y="35932"/>
                    <a:pt x="16601" y="35022"/>
                  </a:cubicBezTo>
                  <a:cubicBezTo>
                    <a:pt x="15692" y="34567"/>
                    <a:pt x="14782" y="34112"/>
                    <a:pt x="14100" y="33203"/>
                  </a:cubicBezTo>
                  <a:cubicBezTo>
                    <a:pt x="13418" y="32520"/>
                    <a:pt x="12963" y="31611"/>
                    <a:pt x="12508" y="30474"/>
                  </a:cubicBezTo>
                  <a:cubicBezTo>
                    <a:pt x="12053" y="29337"/>
                    <a:pt x="12053" y="27972"/>
                    <a:pt x="12053" y="26608"/>
                  </a:cubicBezTo>
                  <a:lnTo>
                    <a:pt x="12053" y="0"/>
                  </a:lnTo>
                  <a:lnTo>
                    <a:pt x="0" y="0"/>
                  </a:lnTo>
                  <a:close/>
                </a:path>
              </a:pathLst>
            </a:custGeom>
            <a:solidFill>
              <a:srgbClr val="FFFFFF"/>
            </a:solidFill>
            <a:ln w="2257" cap="flat">
              <a:noFill/>
              <a:prstDash val="solid"/>
              <a:miter/>
            </a:ln>
          </p:spPr>
          <p:txBody>
            <a:bodyPr rtlCol="0" anchor="ctr"/>
            <a:lstStyle/>
            <a:p>
              <a:pPr defTabSz="1219170"/>
              <a:endParaRPr lang="en-US" sz="2400">
                <a:solidFill>
                  <a:srgbClr val="102B62"/>
                </a:solidFill>
                <a:latin typeface="Arial"/>
              </a:endParaRPr>
            </a:p>
          </p:txBody>
        </p:sp>
        <p:sp>
          <p:nvSpPr>
            <p:cNvPr id="46" name="Freeform: Shape 45">
              <a:extLst>
                <a:ext uri="{FF2B5EF4-FFF2-40B4-BE49-F238E27FC236}">
                  <a16:creationId xmlns:a16="http://schemas.microsoft.com/office/drawing/2014/main" id="{0C854AD6-7C4F-4DDC-9F97-94E012A5AF53}"/>
                </a:ext>
              </a:extLst>
            </p:cNvPr>
            <p:cNvSpPr/>
            <p:nvPr/>
          </p:nvSpPr>
          <p:spPr>
            <a:xfrm>
              <a:off x="3633683" y="2089053"/>
              <a:ext cx="36841" cy="45483"/>
            </a:xfrm>
            <a:custGeom>
              <a:avLst/>
              <a:gdLst>
                <a:gd name="connsiteX0" fmla="*/ 33658 w 36841"/>
                <a:gd name="connsiteY0" fmla="*/ 18648 h 45483"/>
                <a:gd name="connsiteX1" fmla="*/ 35249 w 36841"/>
                <a:gd name="connsiteY1" fmla="*/ 15919 h 45483"/>
                <a:gd name="connsiteX2" fmla="*/ 35704 w 36841"/>
                <a:gd name="connsiteY2" fmla="*/ 12735 h 45483"/>
                <a:gd name="connsiteX3" fmla="*/ 34795 w 36841"/>
                <a:gd name="connsiteY3" fmla="*/ 7505 h 45483"/>
                <a:gd name="connsiteX4" fmla="*/ 31383 w 36841"/>
                <a:gd name="connsiteY4" fmla="*/ 3411 h 45483"/>
                <a:gd name="connsiteX5" fmla="*/ 25698 w 36841"/>
                <a:gd name="connsiteY5" fmla="*/ 910 h 45483"/>
                <a:gd name="connsiteX6" fmla="*/ 17511 w 36841"/>
                <a:gd name="connsiteY6" fmla="*/ 0 h 45483"/>
                <a:gd name="connsiteX7" fmla="*/ 0 w 36841"/>
                <a:gd name="connsiteY7" fmla="*/ 0 h 45483"/>
                <a:gd name="connsiteX8" fmla="*/ 0 w 36841"/>
                <a:gd name="connsiteY8" fmla="*/ 45483 h 45483"/>
                <a:gd name="connsiteX9" fmla="*/ 19103 w 36841"/>
                <a:gd name="connsiteY9" fmla="*/ 45483 h 45483"/>
                <a:gd name="connsiteX10" fmla="*/ 26608 w 36841"/>
                <a:gd name="connsiteY10" fmla="*/ 44346 h 45483"/>
                <a:gd name="connsiteX11" fmla="*/ 32293 w 36841"/>
                <a:gd name="connsiteY11" fmla="*/ 41390 h 45483"/>
                <a:gd name="connsiteX12" fmla="*/ 35704 w 36841"/>
                <a:gd name="connsiteY12" fmla="*/ 36841 h 45483"/>
                <a:gd name="connsiteX13" fmla="*/ 36841 w 36841"/>
                <a:gd name="connsiteY13" fmla="*/ 31383 h 45483"/>
                <a:gd name="connsiteX14" fmla="*/ 34567 w 36841"/>
                <a:gd name="connsiteY14" fmla="*/ 24788 h 45483"/>
                <a:gd name="connsiteX15" fmla="*/ 29792 w 36841"/>
                <a:gd name="connsiteY15" fmla="*/ 21832 h 45483"/>
                <a:gd name="connsiteX16" fmla="*/ 31156 w 36841"/>
                <a:gd name="connsiteY16" fmla="*/ 20922 h 45483"/>
                <a:gd name="connsiteX17" fmla="*/ 33658 w 36841"/>
                <a:gd name="connsiteY17" fmla="*/ 18648 h 4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841" h="45483">
                  <a:moveTo>
                    <a:pt x="33658" y="18648"/>
                  </a:moveTo>
                  <a:cubicBezTo>
                    <a:pt x="34340" y="17738"/>
                    <a:pt x="34795" y="16829"/>
                    <a:pt x="35249" y="15919"/>
                  </a:cubicBezTo>
                  <a:cubicBezTo>
                    <a:pt x="35477" y="15009"/>
                    <a:pt x="35704" y="13872"/>
                    <a:pt x="35704" y="12735"/>
                  </a:cubicBezTo>
                  <a:cubicBezTo>
                    <a:pt x="35704" y="10916"/>
                    <a:pt x="35249" y="9097"/>
                    <a:pt x="34795" y="7505"/>
                  </a:cubicBezTo>
                  <a:cubicBezTo>
                    <a:pt x="34112" y="5913"/>
                    <a:pt x="32975" y="4548"/>
                    <a:pt x="31383" y="3411"/>
                  </a:cubicBezTo>
                  <a:cubicBezTo>
                    <a:pt x="30019" y="2274"/>
                    <a:pt x="27972" y="1592"/>
                    <a:pt x="25698" y="910"/>
                  </a:cubicBezTo>
                  <a:cubicBezTo>
                    <a:pt x="23424" y="227"/>
                    <a:pt x="20695" y="0"/>
                    <a:pt x="17511" y="0"/>
                  </a:cubicBezTo>
                  <a:lnTo>
                    <a:pt x="0" y="0"/>
                  </a:lnTo>
                  <a:lnTo>
                    <a:pt x="0" y="45483"/>
                  </a:lnTo>
                  <a:lnTo>
                    <a:pt x="19103" y="45483"/>
                  </a:lnTo>
                  <a:cubicBezTo>
                    <a:pt x="21832" y="45483"/>
                    <a:pt x="24334" y="45028"/>
                    <a:pt x="26608" y="44346"/>
                  </a:cubicBezTo>
                  <a:cubicBezTo>
                    <a:pt x="28882" y="43664"/>
                    <a:pt x="30701" y="42754"/>
                    <a:pt x="32293" y="41390"/>
                  </a:cubicBezTo>
                  <a:cubicBezTo>
                    <a:pt x="33885" y="40025"/>
                    <a:pt x="35022" y="38661"/>
                    <a:pt x="35704" y="36841"/>
                  </a:cubicBezTo>
                  <a:cubicBezTo>
                    <a:pt x="36614" y="35249"/>
                    <a:pt x="36841" y="33203"/>
                    <a:pt x="36841" y="31383"/>
                  </a:cubicBezTo>
                  <a:cubicBezTo>
                    <a:pt x="36841" y="28654"/>
                    <a:pt x="35932" y="26380"/>
                    <a:pt x="34567" y="24788"/>
                  </a:cubicBezTo>
                  <a:cubicBezTo>
                    <a:pt x="33430" y="23651"/>
                    <a:pt x="31838" y="22514"/>
                    <a:pt x="29792" y="21832"/>
                  </a:cubicBezTo>
                  <a:cubicBezTo>
                    <a:pt x="30246" y="21605"/>
                    <a:pt x="30701" y="21377"/>
                    <a:pt x="31156" y="20922"/>
                  </a:cubicBezTo>
                  <a:cubicBezTo>
                    <a:pt x="32066" y="20467"/>
                    <a:pt x="32975" y="19558"/>
                    <a:pt x="33658" y="18648"/>
                  </a:cubicBezTo>
                  <a:close/>
                </a:path>
              </a:pathLst>
            </a:custGeom>
            <a:solidFill>
              <a:srgbClr val="FFFFFF"/>
            </a:solidFill>
            <a:ln w="2257" cap="flat">
              <a:noFill/>
              <a:prstDash val="solid"/>
              <a:miter/>
            </a:ln>
          </p:spPr>
          <p:txBody>
            <a:bodyPr rtlCol="0" anchor="ctr"/>
            <a:lstStyle/>
            <a:p>
              <a:pPr defTabSz="1219170"/>
              <a:endParaRPr lang="en-US" sz="2400">
                <a:solidFill>
                  <a:srgbClr val="102B62"/>
                </a:solidFill>
                <a:latin typeface="Arial"/>
              </a:endParaRPr>
            </a:p>
          </p:txBody>
        </p:sp>
        <p:sp>
          <p:nvSpPr>
            <p:cNvPr id="47" name="Freeform: Shape 46">
              <a:extLst>
                <a:ext uri="{FF2B5EF4-FFF2-40B4-BE49-F238E27FC236}">
                  <a16:creationId xmlns:a16="http://schemas.microsoft.com/office/drawing/2014/main" id="{F9C3181E-017F-464F-892D-E04F4C7E1FC4}"/>
                </a:ext>
              </a:extLst>
            </p:cNvPr>
            <p:cNvSpPr/>
            <p:nvPr/>
          </p:nvSpPr>
          <p:spPr>
            <a:xfrm>
              <a:off x="3643917" y="2114296"/>
              <a:ext cx="15691" cy="12507"/>
            </a:xfrm>
            <a:custGeom>
              <a:avLst/>
              <a:gdLst>
                <a:gd name="connsiteX0" fmla="*/ 8187 w 15691"/>
                <a:gd name="connsiteY0" fmla="*/ 0 h 12507"/>
                <a:gd name="connsiteX1" fmla="*/ 0 w 15691"/>
                <a:gd name="connsiteY1" fmla="*/ 0 h 12507"/>
                <a:gd name="connsiteX2" fmla="*/ 0 w 15691"/>
                <a:gd name="connsiteY2" fmla="*/ 12508 h 12507"/>
                <a:gd name="connsiteX3" fmla="*/ 8187 w 15691"/>
                <a:gd name="connsiteY3" fmla="*/ 12508 h 12507"/>
                <a:gd name="connsiteX4" fmla="*/ 11826 w 15691"/>
                <a:gd name="connsiteY4" fmla="*/ 12053 h 12507"/>
                <a:gd name="connsiteX5" fmla="*/ 14327 w 15691"/>
                <a:gd name="connsiteY5" fmla="*/ 10461 h 12507"/>
                <a:gd name="connsiteX6" fmla="*/ 15464 w 15691"/>
                <a:gd name="connsiteY6" fmla="*/ 8187 h 12507"/>
                <a:gd name="connsiteX7" fmla="*/ 15692 w 15691"/>
                <a:gd name="connsiteY7" fmla="*/ 5913 h 12507"/>
                <a:gd name="connsiteX8" fmla="*/ 15237 w 15691"/>
                <a:gd name="connsiteY8" fmla="*/ 3411 h 12507"/>
                <a:gd name="connsiteX9" fmla="*/ 13872 w 15691"/>
                <a:gd name="connsiteY9" fmla="*/ 1364 h 12507"/>
                <a:gd name="connsiteX10" fmla="*/ 11371 w 15691"/>
                <a:gd name="connsiteY10" fmla="*/ 227 h 12507"/>
                <a:gd name="connsiteX11" fmla="*/ 8187 w 15691"/>
                <a:gd name="connsiteY11" fmla="*/ 0 h 12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91" h="12507">
                  <a:moveTo>
                    <a:pt x="8187" y="0"/>
                  </a:moveTo>
                  <a:lnTo>
                    <a:pt x="0" y="0"/>
                  </a:lnTo>
                  <a:lnTo>
                    <a:pt x="0" y="12508"/>
                  </a:lnTo>
                  <a:lnTo>
                    <a:pt x="8187" y="12508"/>
                  </a:lnTo>
                  <a:cubicBezTo>
                    <a:pt x="9779" y="12508"/>
                    <a:pt x="10916" y="12280"/>
                    <a:pt x="11826" y="12053"/>
                  </a:cubicBezTo>
                  <a:cubicBezTo>
                    <a:pt x="12735" y="11598"/>
                    <a:pt x="13645" y="11143"/>
                    <a:pt x="14327" y="10461"/>
                  </a:cubicBezTo>
                  <a:cubicBezTo>
                    <a:pt x="15009" y="9779"/>
                    <a:pt x="15237" y="9097"/>
                    <a:pt x="15464" y="8187"/>
                  </a:cubicBezTo>
                  <a:cubicBezTo>
                    <a:pt x="15692" y="7505"/>
                    <a:pt x="15692" y="6595"/>
                    <a:pt x="15692" y="5913"/>
                  </a:cubicBezTo>
                  <a:cubicBezTo>
                    <a:pt x="15692" y="5003"/>
                    <a:pt x="15464" y="4093"/>
                    <a:pt x="15237" y="3411"/>
                  </a:cubicBezTo>
                  <a:cubicBezTo>
                    <a:pt x="15009" y="2729"/>
                    <a:pt x="14555" y="2047"/>
                    <a:pt x="13872" y="1364"/>
                  </a:cubicBezTo>
                  <a:cubicBezTo>
                    <a:pt x="13190" y="910"/>
                    <a:pt x="12508" y="455"/>
                    <a:pt x="11371" y="227"/>
                  </a:cubicBezTo>
                  <a:cubicBezTo>
                    <a:pt x="10916" y="227"/>
                    <a:pt x="9551" y="0"/>
                    <a:pt x="8187" y="0"/>
                  </a:cubicBezTo>
                  <a:close/>
                </a:path>
              </a:pathLst>
            </a:custGeom>
            <a:solidFill>
              <a:srgbClr val="3F3F3F"/>
            </a:solidFill>
            <a:ln w="2257" cap="flat">
              <a:noFill/>
              <a:prstDash val="solid"/>
              <a:miter/>
            </a:ln>
          </p:spPr>
          <p:txBody>
            <a:bodyPr rtlCol="0" anchor="ctr"/>
            <a:lstStyle/>
            <a:p>
              <a:pPr defTabSz="1219170"/>
              <a:endParaRPr lang="en-US" sz="2400">
                <a:solidFill>
                  <a:srgbClr val="102B62"/>
                </a:solidFill>
                <a:latin typeface="Arial"/>
              </a:endParaRPr>
            </a:p>
          </p:txBody>
        </p:sp>
        <p:sp>
          <p:nvSpPr>
            <p:cNvPr id="48" name="Freeform: Shape 47">
              <a:extLst>
                <a:ext uri="{FF2B5EF4-FFF2-40B4-BE49-F238E27FC236}">
                  <a16:creationId xmlns:a16="http://schemas.microsoft.com/office/drawing/2014/main" id="{93BEC108-AB04-4AAF-9283-09A8239C60E8}"/>
                </a:ext>
              </a:extLst>
            </p:cNvPr>
            <p:cNvSpPr/>
            <p:nvPr/>
          </p:nvSpPr>
          <p:spPr>
            <a:xfrm>
              <a:off x="3643917" y="2096785"/>
              <a:ext cx="14782" cy="12507"/>
            </a:xfrm>
            <a:custGeom>
              <a:avLst/>
              <a:gdLst>
                <a:gd name="connsiteX0" fmla="*/ 12735 w 14782"/>
                <a:gd name="connsiteY0" fmla="*/ 1364 h 12507"/>
                <a:gd name="connsiteX1" fmla="*/ 10234 w 14782"/>
                <a:gd name="connsiteY1" fmla="*/ 227 h 12507"/>
                <a:gd name="connsiteX2" fmla="*/ 7050 w 14782"/>
                <a:gd name="connsiteY2" fmla="*/ 0 h 12507"/>
                <a:gd name="connsiteX3" fmla="*/ 0 w 14782"/>
                <a:gd name="connsiteY3" fmla="*/ 0 h 12507"/>
                <a:gd name="connsiteX4" fmla="*/ 0 w 14782"/>
                <a:gd name="connsiteY4" fmla="*/ 12508 h 12507"/>
                <a:gd name="connsiteX5" fmla="*/ 6368 w 14782"/>
                <a:gd name="connsiteY5" fmla="*/ 12508 h 12507"/>
                <a:gd name="connsiteX6" fmla="*/ 9551 w 14782"/>
                <a:gd name="connsiteY6" fmla="*/ 12280 h 12507"/>
                <a:gd name="connsiteX7" fmla="*/ 12280 w 14782"/>
                <a:gd name="connsiteY7" fmla="*/ 11371 h 12507"/>
                <a:gd name="connsiteX8" fmla="*/ 14100 w 14782"/>
                <a:gd name="connsiteY8" fmla="*/ 9324 h 12507"/>
                <a:gd name="connsiteX9" fmla="*/ 14782 w 14782"/>
                <a:gd name="connsiteY9" fmla="*/ 6368 h 12507"/>
                <a:gd name="connsiteX10" fmla="*/ 14327 w 14782"/>
                <a:gd name="connsiteY10" fmla="*/ 3411 h 12507"/>
                <a:gd name="connsiteX11" fmla="*/ 12735 w 14782"/>
                <a:gd name="connsiteY11" fmla="*/ 1364 h 12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782" h="12507">
                  <a:moveTo>
                    <a:pt x="12735" y="1364"/>
                  </a:moveTo>
                  <a:cubicBezTo>
                    <a:pt x="12053" y="910"/>
                    <a:pt x="11143" y="455"/>
                    <a:pt x="10234" y="227"/>
                  </a:cubicBezTo>
                  <a:cubicBezTo>
                    <a:pt x="9324" y="0"/>
                    <a:pt x="8187" y="0"/>
                    <a:pt x="7050" y="0"/>
                  </a:cubicBezTo>
                  <a:lnTo>
                    <a:pt x="0" y="0"/>
                  </a:lnTo>
                  <a:lnTo>
                    <a:pt x="0" y="12508"/>
                  </a:lnTo>
                  <a:lnTo>
                    <a:pt x="6368" y="12508"/>
                  </a:lnTo>
                  <a:cubicBezTo>
                    <a:pt x="7505" y="12508"/>
                    <a:pt x="8642" y="12508"/>
                    <a:pt x="9551" y="12280"/>
                  </a:cubicBezTo>
                  <a:cubicBezTo>
                    <a:pt x="10689" y="12053"/>
                    <a:pt x="11598" y="11826"/>
                    <a:pt x="12280" y="11371"/>
                  </a:cubicBezTo>
                  <a:cubicBezTo>
                    <a:pt x="12963" y="10916"/>
                    <a:pt x="13645" y="10234"/>
                    <a:pt x="14100" y="9324"/>
                  </a:cubicBezTo>
                  <a:cubicBezTo>
                    <a:pt x="14555" y="8414"/>
                    <a:pt x="14782" y="7505"/>
                    <a:pt x="14782" y="6368"/>
                  </a:cubicBezTo>
                  <a:cubicBezTo>
                    <a:pt x="14782" y="5231"/>
                    <a:pt x="14555" y="4321"/>
                    <a:pt x="14327" y="3411"/>
                  </a:cubicBezTo>
                  <a:cubicBezTo>
                    <a:pt x="13872" y="2502"/>
                    <a:pt x="13418" y="1819"/>
                    <a:pt x="12735" y="1364"/>
                  </a:cubicBezTo>
                  <a:close/>
                </a:path>
              </a:pathLst>
            </a:custGeom>
            <a:solidFill>
              <a:srgbClr val="3F3F3F"/>
            </a:solidFill>
            <a:ln w="2257" cap="flat">
              <a:noFill/>
              <a:prstDash val="solid"/>
              <a:miter/>
            </a:ln>
          </p:spPr>
          <p:txBody>
            <a:bodyPr rtlCol="0" anchor="ctr"/>
            <a:lstStyle/>
            <a:p>
              <a:pPr defTabSz="1219170"/>
              <a:endParaRPr lang="en-US" sz="2400">
                <a:solidFill>
                  <a:srgbClr val="102B62"/>
                </a:solidFill>
                <a:latin typeface="Arial"/>
              </a:endParaRPr>
            </a:p>
          </p:txBody>
        </p:sp>
        <p:sp>
          <p:nvSpPr>
            <p:cNvPr id="49" name="Freeform: Shape 48">
              <a:extLst>
                <a:ext uri="{FF2B5EF4-FFF2-40B4-BE49-F238E27FC236}">
                  <a16:creationId xmlns:a16="http://schemas.microsoft.com/office/drawing/2014/main" id="{3D17383D-F2BD-4283-A94D-1B2997BB4007}"/>
                </a:ext>
              </a:extLst>
            </p:cNvPr>
            <p:cNvSpPr/>
            <p:nvPr/>
          </p:nvSpPr>
          <p:spPr>
            <a:xfrm>
              <a:off x="3675073" y="2089053"/>
              <a:ext cx="52760" cy="45483"/>
            </a:xfrm>
            <a:custGeom>
              <a:avLst/>
              <a:gdLst>
                <a:gd name="connsiteX0" fmla="*/ 41845 w 52760"/>
                <a:gd name="connsiteY0" fmla="*/ 45483 h 45483"/>
                <a:gd name="connsiteX1" fmla="*/ 52761 w 52760"/>
                <a:gd name="connsiteY1" fmla="*/ 45483 h 45483"/>
                <a:gd name="connsiteX2" fmla="*/ 52761 w 52760"/>
                <a:gd name="connsiteY2" fmla="*/ 0 h 45483"/>
                <a:gd name="connsiteX3" fmla="*/ 43891 w 52760"/>
                <a:gd name="connsiteY3" fmla="*/ 0 h 45483"/>
                <a:gd name="connsiteX4" fmla="*/ 42754 w 52760"/>
                <a:gd name="connsiteY4" fmla="*/ 0 h 45483"/>
                <a:gd name="connsiteX5" fmla="*/ 41617 w 52760"/>
                <a:gd name="connsiteY5" fmla="*/ 227 h 45483"/>
                <a:gd name="connsiteX6" fmla="*/ 40480 w 52760"/>
                <a:gd name="connsiteY6" fmla="*/ 910 h 45483"/>
                <a:gd name="connsiteX7" fmla="*/ 39570 w 52760"/>
                <a:gd name="connsiteY7" fmla="*/ 2047 h 45483"/>
                <a:gd name="connsiteX8" fmla="*/ 27972 w 52760"/>
                <a:gd name="connsiteY8" fmla="*/ 24106 h 45483"/>
                <a:gd name="connsiteX9" fmla="*/ 26608 w 52760"/>
                <a:gd name="connsiteY9" fmla="*/ 26608 h 45483"/>
                <a:gd name="connsiteX10" fmla="*/ 26153 w 52760"/>
                <a:gd name="connsiteY10" fmla="*/ 27290 h 45483"/>
                <a:gd name="connsiteX11" fmla="*/ 25925 w 52760"/>
                <a:gd name="connsiteY11" fmla="*/ 26608 h 45483"/>
                <a:gd name="connsiteX12" fmla="*/ 24788 w 52760"/>
                <a:gd name="connsiteY12" fmla="*/ 24106 h 45483"/>
                <a:gd name="connsiteX13" fmla="*/ 13190 w 52760"/>
                <a:gd name="connsiteY13" fmla="*/ 2047 h 45483"/>
                <a:gd name="connsiteX14" fmla="*/ 12280 w 52760"/>
                <a:gd name="connsiteY14" fmla="*/ 910 h 45483"/>
                <a:gd name="connsiteX15" fmla="*/ 11143 w 52760"/>
                <a:gd name="connsiteY15" fmla="*/ 227 h 45483"/>
                <a:gd name="connsiteX16" fmla="*/ 10006 w 52760"/>
                <a:gd name="connsiteY16" fmla="*/ 0 h 45483"/>
                <a:gd name="connsiteX17" fmla="*/ 8869 w 52760"/>
                <a:gd name="connsiteY17" fmla="*/ 0 h 45483"/>
                <a:gd name="connsiteX18" fmla="*/ 0 w 52760"/>
                <a:gd name="connsiteY18" fmla="*/ 0 h 45483"/>
                <a:gd name="connsiteX19" fmla="*/ 0 w 52760"/>
                <a:gd name="connsiteY19" fmla="*/ 45483 h 45483"/>
                <a:gd name="connsiteX20" fmla="*/ 10916 w 52760"/>
                <a:gd name="connsiteY20" fmla="*/ 45483 h 45483"/>
                <a:gd name="connsiteX21" fmla="*/ 10916 w 52760"/>
                <a:gd name="connsiteY21" fmla="*/ 19558 h 45483"/>
                <a:gd name="connsiteX22" fmla="*/ 10916 w 52760"/>
                <a:gd name="connsiteY22" fmla="*/ 19330 h 45483"/>
                <a:gd name="connsiteX23" fmla="*/ 21150 w 52760"/>
                <a:gd name="connsiteY23" fmla="*/ 38433 h 45483"/>
                <a:gd name="connsiteX24" fmla="*/ 22969 w 52760"/>
                <a:gd name="connsiteY24" fmla="*/ 40253 h 45483"/>
                <a:gd name="connsiteX25" fmla="*/ 25471 w 52760"/>
                <a:gd name="connsiteY25" fmla="*/ 40935 h 45483"/>
                <a:gd name="connsiteX26" fmla="*/ 26835 w 52760"/>
                <a:gd name="connsiteY26" fmla="*/ 40935 h 45483"/>
                <a:gd name="connsiteX27" fmla="*/ 29337 w 52760"/>
                <a:gd name="connsiteY27" fmla="*/ 40253 h 45483"/>
                <a:gd name="connsiteX28" fmla="*/ 31156 w 52760"/>
                <a:gd name="connsiteY28" fmla="*/ 38433 h 45483"/>
                <a:gd name="connsiteX29" fmla="*/ 41390 w 52760"/>
                <a:gd name="connsiteY29" fmla="*/ 19330 h 45483"/>
                <a:gd name="connsiteX30" fmla="*/ 41390 w 52760"/>
                <a:gd name="connsiteY30" fmla="*/ 19558 h 45483"/>
                <a:gd name="connsiteX31" fmla="*/ 41390 w 52760"/>
                <a:gd name="connsiteY31" fmla="*/ 45483 h 4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2760" h="45483">
                  <a:moveTo>
                    <a:pt x="41845" y="45483"/>
                  </a:moveTo>
                  <a:lnTo>
                    <a:pt x="52761" y="45483"/>
                  </a:lnTo>
                  <a:lnTo>
                    <a:pt x="52761" y="0"/>
                  </a:lnTo>
                  <a:lnTo>
                    <a:pt x="43891" y="0"/>
                  </a:lnTo>
                  <a:cubicBezTo>
                    <a:pt x="43436" y="0"/>
                    <a:pt x="42982" y="0"/>
                    <a:pt x="42754" y="0"/>
                  </a:cubicBezTo>
                  <a:cubicBezTo>
                    <a:pt x="42299" y="0"/>
                    <a:pt x="41845" y="0"/>
                    <a:pt x="41617" y="227"/>
                  </a:cubicBezTo>
                  <a:cubicBezTo>
                    <a:pt x="41162" y="455"/>
                    <a:pt x="40935" y="682"/>
                    <a:pt x="40480" y="910"/>
                  </a:cubicBezTo>
                  <a:cubicBezTo>
                    <a:pt x="40253" y="1137"/>
                    <a:pt x="40025" y="1592"/>
                    <a:pt x="39570" y="2047"/>
                  </a:cubicBezTo>
                  <a:lnTo>
                    <a:pt x="27972" y="24106"/>
                  </a:lnTo>
                  <a:cubicBezTo>
                    <a:pt x="27517" y="24788"/>
                    <a:pt x="27063" y="25698"/>
                    <a:pt x="26608" y="26608"/>
                  </a:cubicBezTo>
                  <a:cubicBezTo>
                    <a:pt x="26380" y="26835"/>
                    <a:pt x="26380" y="27062"/>
                    <a:pt x="26153" y="27290"/>
                  </a:cubicBezTo>
                  <a:cubicBezTo>
                    <a:pt x="26153" y="27062"/>
                    <a:pt x="25925" y="26835"/>
                    <a:pt x="25925" y="26608"/>
                  </a:cubicBezTo>
                  <a:cubicBezTo>
                    <a:pt x="25471" y="25698"/>
                    <a:pt x="25016" y="25016"/>
                    <a:pt x="24788" y="24106"/>
                  </a:cubicBezTo>
                  <a:lnTo>
                    <a:pt x="13190" y="2047"/>
                  </a:lnTo>
                  <a:cubicBezTo>
                    <a:pt x="12963" y="1592"/>
                    <a:pt x="12735" y="1137"/>
                    <a:pt x="12280" y="910"/>
                  </a:cubicBezTo>
                  <a:cubicBezTo>
                    <a:pt x="12053" y="682"/>
                    <a:pt x="11598" y="455"/>
                    <a:pt x="11143" y="227"/>
                  </a:cubicBezTo>
                  <a:cubicBezTo>
                    <a:pt x="10689" y="0"/>
                    <a:pt x="10461" y="0"/>
                    <a:pt x="10006" y="0"/>
                  </a:cubicBezTo>
                  <a:cubicBezTo>
                    <a:pt x="9551" y="0"/>
                    <a:pt x="9324" y="0"/>
                    <a:pt x="8869" y="0"/>
                  </a:cubicBezTo>
                  <a:lnTo>
                    <a:pt x="0" y="0"/>
                  </a:lnTo>
                  <a:lnTo>
                    <a:pt x="0" y="45483"/>
                  </a:lnTo>
                  <a:lnTo>
                    <a:pt x="10916" y="45483"/>
                  </a:lnTo>
                  <a:lnTo>
                    <a:pt x="10916" y="19558"/>
                  </a:lnTo>
                  <a:cubicBezTo>
                    <a:pt x="10916" y="19558"/>
                    <a:pt x="10916" y="19330"/>
                    <a:pt x="10916" y="19330"/>
                  </a:cubicBezTo>
                  <a:lnTo>
                    <a:pt x="21150" y="38433"/>
                  </a:lnTo>
                  <a:cubicBezTo>
                    <a:pt x="21605" y="39343"/>
                    <a:pt x="22287" y="40025"/>
                    <a:pt x="22969" y="40253"/>
                  </a:cubicBezTo>
                  <a:cubicBezTo>
                    <a:pt x="23651" y="40707"/>
                    <a:pt x="24561" y="40935"/>
                    <a:pt x="25471" y="40935"/>
                  </a:cubicBezTo>
                  <a:lnTo>
                    <a:pt x="26835" y="40935"/>
                  </a:lnTo>
                  <a:cubicBezTo>
                    <a:pt x="27745" y="40935"/>
                    <a:pt x="28654" y="40707"/>
                    <a:pt x="29337" y="40253"/>
                  </a:cubicBezTo>
                  <a:cubicBezTo>
                    <a:pt x="30019" y="39798"/>
                    <a:pt x="30701" y="39116"/>
                    <a:pt x="31156" y="38433"/>
                  </a:cubicBezTo>
                  <a:lnTo>
                    <a:pt x="41390" y="19330"/>
                  </a:lnTo>
                  <a:cubicBezTo>
                    <a:pt x="41390" y="19330"/>
                    <a:pt x="41390" y="19330"/>
                    <a:pt x="41390" y="19558"/>
                  </a:cubicBezTo>
                  <a:lnTo>
                    <a:pt x="41390" y="45483"/>
                  </a:lnTo>
                  <a:close/>
                </a:path>
              </a:pathLst>
            </a:custGeom>
            <a:solidFill>
              <a:srgbClr val="FFFFFF"/>
            </a:solidFill>
            <a:ln w="2257" cap="flat">
              <a:noFill/>
              <a:prstDash val="solid"/>
              <a:miter/>
            </a:ln>
          </p:spPr>
          <p:txBody>
            <a:bodyPr rtlCol="0" anchor="ctr"/>
            <a:lstStyle/>
            <a:p>
              <a:pPr defTabSz="1219170"/>
              <a:endParaRPr lang="en-US" sz="2400">
                <a:solidFill>
                  <a:srgbClr val="102B62"/>
                </a:solidFill>
                <a:latin typeface="Arial"/>
              </a:endParaRPr>
            </a:p>
          </p:txBody>
        </p:sp>
        <p:sp>
          <p:nvSpPr>
            <p:cNvPr id="50" name="Freeform: Shape 49">
              <a:extLst>
                <a:ext uri="{FF2B5EF4-FFF2-40B4-BE49-F238E27FC236}">
                  <a16:creationId xmlns:a16="http://schemas.microsoft.com/office/drawing/2014/main" id="{AB14522A-C794-47D6-9673-B33036E7C59E}"/>
                </a:ext>
              </a:extLst>
            </p:cNvPr>
            <p:cNvSpPr/>
            <p:nvPr/>
          </p:nvSpPr>
          <p:spPr>
            <a:xfrm>
              <a:off x="3735110" y="2089053"/>
              <a:ext cx="12280" cy="45483"/>
            </a:xfrm>
            <a:custGeom>
              <a:avLst/>
              <a:gdLst>
                <a:gd name="connsiteX0" fmla="*/ 0 w 12280"/>
                <a:gd name="connsiteY0" fmla="*/ 45483 h 45483"/>
                <a:gd name="connsiteX1" fmla="*/ 12280 w 12280"/>
                <a:gd name="connsiteY1" fmla="*/ 45483 h 45483"/>
                <a:gd name="connsiteX2" fmla="*/ 12280 w 12280"/>
                <a:gd name="connsiteY2" fmla="*/ 0 h 45483"/>
                <a:gd name="connsiteX3" fmla="*/ 0 w 12280"/>
                <a:gd name="connsiteY3" fmla="*/ 0 h 45483"/>
                <a:gd name="connsiteX4" fmla="*/ 0 w 12280"/>
                <a:gd name="connsiteY4" fmla="*/ 45483 h 45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80" h="45483">
                  <a:moveTo>
                    <a:pt x="0" y="45483"/>
                  </a:moveTo>
                  <a:lnTo>
                    <a:pt x="12280" y="45483"/>
                  </a:lnTo>
                  <a:lnTo>
                    <a:pt x="12280" y="0"/>
                  </a:lnTo>
                  <a:lnTo>
                    <a:pt x="0" y="0"/>
                  </a:lnTo>
                  <a:lnTo>
                    <a:pt x="0" y="45483"/>
                  </a:lnTo>
                  <a:close/>
                </a:path>
              </a:pathLst>
            </a:custGeom>
            <a:solidFill>
              <a:srgbClr val="FFFFFF"/>
            </a:solidFill>
            <a:ln w="2257" cap="flat">
              <a:noFill/>
              <a:prstDash val="solid"/>
              <a:miter/>
            </a:ln>
          </p:spPr>
          <p:txBody>
            <a:bodyPr rtlCol="0" anchor="ctr"/>
            <a:lstStyle/>
            <a:p>
              <a:pPr defTabSz="1219170"/>
              <a:endParaRPr lang="en-US" sz="2400">
                <a:solidFill>
                  <a:srgbClr val="102B62"/>
                </a:solidFill>
                <a:latin typeface="Arial"/>
              </a:endParaRPr>
            </a:p>
          </p:txBody>
        </p:sp>
        <p:sp>
          <p:nvSpPr>
            <p:cNvPr id="51" name="Freeform: Shape 50">
              <a:extLst>
                <a:ext uri="{FF2B5EF4-FFF2-40B4-BE49-F238E27FC236}">
                  <a16:creationId xmlns:a16="http://schemas.microsoft.com/office/drawing/2014/main" id="{7C7CEE82-518B-4FED-808A-28FEA11D839D}"/>
                </a:ext>
              </a:extLst>
            </p:cNvPr>
            <p:cNvSpPr/>
            <p:nvPr/>
          </p:nvSpPr>
          <p:spPr>
            <a:xfrm>
              <a:off x="3751030" y="2089053"/>
              <a:ext cx="37751" cy="45483"/>
            </a:xfrm>
            <a:custGeom>
              <a:avLst/>
              <a:gdLst>
                <a:gd name="connsiteX0" fmla="*/ 25016 w 37751"/>
                <a:gd name="connsiteY0" fmla="*/ 45483 h 45483"/>
                <a:gd name="connsiteX1" fmla="*/ 25016 w 37751"/>
                <a:gd name="connsiteY1" fmla="*/ 9779 h 45483"/>
                <a:gd name="connsiteX2" fmla="*/ 37751 w 37751"/>
                <a:gd name="connsiteY2" fmla="*/ 9779 h 45483"/>
                <a:gd name="connsiteX3" fmla="*/ 37751 w 37751"/>
                <a:gd name="connsiteY3" fmla="*/ 0 h 45483"/>
                <a:gd name="connsiteX4" fmla="*/ 0 w 37751"/>
                <a:gd name="connsiteY4" fmla="*/ 0 h 45483"/>
                <a:gd name="connsiteX5" fmla="*/ 0 w 37751"/>
                <a:gd name="connsiteY5" fmla="*/ 9779 h 45483"/>
                <a:gd name="connsiteX6" fmla="*/ 12735 w 37751"/>
                <a:gd name="connsiteY6" fmla="*/ 9779 h 45483"/>
                <a:gd name="connsiteX7" fmla="*/ 12735 w 37751"/>
                <a:gd name="connsiteY7" fmla="*/ 45483 h 45483"/>
                <a:gd name="connsiteX8" fmla="*/ 25016 w 37751"/>
                <a:gd name="connsiteY8" fmla="*/ 45483 h 45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51" h="45483">
                  <a:moveTo>
                    <a:pt x="25016" y="45483"/>
                  </a:moveTo>
                  <a:lnTo>
                    <a:pt x="25016" y="9779"/>
                  </a:lnTo>
                  <a:lnTo>
                    <a:pt x="37751" y="9779"/>
                  </a:lnTo>
                  <a:lnTo>
                    <a:pt x="37751" y="0"/>
                  </a:lnTo>
                  <a:lnTo>
                    <a:pt x="0" y="0"/>
                  </a:lnTo>
                  <a:lnTo>
                    <a:pt x="0" y="9779"/>
                  </a:lnTo>
                  <a:lnTo>
                    <a:pt x="12735" y="9779"/>
                  </a:lnTo>
                  <a:lnTo>
                    <a:pt x="12735" y="45483"/>
                  </a:lnTo>
                  <a:lnTo>
                    <a:pt x="25016" y="45483"/>
                  </a:lnTo>
                  <a:close/>
                </a:path>
              </a:pathLst>
            </a:custGeom>
            <a:solidFill>
              <a:srgbClr val="FFFFFF"/>
            </a:solidFill>
            <a:ln w="2257" cap="flat">
              <a:noFill/>
              <a:prstDash val="solid"/>
              <a:miter/>
            </a:ln>
          </p:spPr>
          <p:txBody>
            <a:bodyPr rtlCol="0" anchor="ctr"/>
            <a:lstStyle/>
            <a:p>
              <a:pPr defTabSz="1219170"/>
              <a:endParaRPr lang="en-US" sz="2400">
                <a:solidFill>
                  <a:srgbClr val="102B62"/>
                </a:solidFill>
                <a:latin typeface="Arial"/>
              </a:endParaRPr>
            </a:p>
          </p:txBody>
        </p:sp>
      </p:grpSp>
      <p:grpSp>
        <p:nvGrpSpPr>
          <p:cNvPr id="67" name="Graphic 23">
            <a:extLst>
              <a:ext uri="{FF2B5EF4-FFF2-40B4-BE49-F238E27FC236}">
                <a16:creationId xmlns:a16="http://schemas.microsoft.com/office/drawing/2014/main" id="{D33E818E-3709-4F0B-A83D-8272EE01FC23}"/>
              </a:ext>
            </a:extLst>
          </p:cNvPr>
          <p:cNvGrpSpPr/>
          <p:nvPr/>
        </p:nvGrpSpPr>
        <p:grpSpPr>
          <a:xfrm>
            <a:off x="1282043" y="3561877"/>
            <a:ext cx="759976" cy="793011"/>
            <a:chOff x="961532" y="2671408"/>
            <a:chExt cx="569982" cy="594758"/>
          </a:xfrm>
          <a:solidFill>
            <a:srgbClr val="3F3F3F"/>
          </a:solidFill>
        </p:grpSpPr>
        <p:sp>
          <p:nvSpPr>
            <p:cNvPr id="68" name="Freeform: Shape 67">
              <a:extLst>
                <a:ext uri="{FF2B5EF4-FFF2-40B4-BE49-F238E27FC236}">
                  <a16:creationId xmlns:a16="http://schemas.microsoft.com/office/drawing/2014/main" id="{2C5AF96A-67E2-41ED-B760-6A9DA17FE75A}"/>
                </a:ext>
              </a:extLst>
            </p:cNvPr>
            <p:cNvSpPr/>
            <p:nvPr/>
          </p:nvSpPr>
          <p:spPr>
            <a:xfrm>
              <a:off x="1190160" y="2979887"/>
              <a:ext cx="114507" cy="129004"/>
            </a:xfrm>
            <a:custGeom>
              <a:avLst/>
              <a:gdLst>
                <a:gd name="connsiteX0" fmla="*/ 1239 w 114507"/>
                <a:gd name="connsiteY0" fmla="*/ 73742 h 129004"/>
                <a:gd name="connsiteX1" fmla="*/ 8144 w 114507"/>
                <a:gd name="connsiteY1" fmla="*/ 99237 h 129004"/>
                <a:gd name="connsiteX2" fmla="*/ 84984 w 114507"/>
                <a:gd name="connsiteY2" fmla="*/ 122077 h 129004"/>
                <a:gd name="connsiteX3" fmla="*/ 113313 w 114507"/>
                <a:gd name="connsiteY3" fmla="*/ 82771 h 129004"/>
                <a:gd name="connsiteX4" fmla="*/ 113844 w 114507"/>
                <a:gd name="connsiteY4" fmla="*/ 35853 h 129004"/>
                <a:gd name="connsiteX5" fmla="*/ 76663 w 114507"/>
                <a:gd name="connsiteY5" fmla="*/ 266 h 129004"/>
                <a:gd name="connsiteX6" fmla="*/ 39128 w 114507"/>
                <a:gd name="connsiteY6" fmla="*/ 266 h 129004"/>
                <a:gd name="connsiteX7" fmla="*/ 3718 w 114507"/>
                <a:gd name="connsiteY7" fmla="*/ 27708 h 129004"/>
                <a:gd name="connsiteX8" fmla="*/ 0 w 114507"/>
                <a:gd name="connsiteY8" fmla="*/ 56922 h 129004"/>
                <a:gd name="connsiteX9" fmla="*/ 1062 w 114507"/>
                <a:gd name="connsiteY9" fmla="*/ 57099 h 129004"/>
                <a:gd name="connsiteX10" fmla="*/ 1239 w 114507"/>
                <a:gd name="connsiteY10" fmla="*/ 73742 h 129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507" h="129004">
                  <a:moveTo>
                    <a:pt x="1239" y="73742"/>
                  </a:moveTo>
                  <a:cubicBezTo>
                    <a:pt x="2833" y="82417"/>
                    <a:pt x="4249" y="91447"/>
                    <a:pt x="8144" y="99237"/>
                  </a:cubicBezTo>
                  <a:cubicBezTo>
                    <a:pt x="22485" y="127211"/>
                    <a:pt x="57896" y="136949"/>
                    <a:pt x="84984" y="122077"/>
                  </a:cubicBezTo>
                  <a:cubicBezTo>
                    <a:pt x="100565" y="113401"/>
                    <a:pt x="111188" y="100299"/>
                    <a:pt x="113313" y="82771"/>
                  </a:cubicBezTo>
                  <a:cubicBezTo>
                    <a:pt x="115083" y="67368"/>
                    <a:pt x="114552" y="51610"/>
                    <a:pt x="113844" y="35853"/>
                  </a:cubicBezTo>
                  <a:cubicBezTo>
                    <a:pt x="112959" y="16731"/>
                    <a:pt x="95962" y="797"/>
                    <a:pt x="76663" y="266"/>
                  </a:cubicBezTo>
                  <a:cubicBezTo>
                    <a:pt x="64092" y="-89"/>
                    <a:pt x="51522" y="-89"/>
                    <a:pt x="39128" y="266"/>
                  </a:cubicBezTo>
                  <a:cubicBezTo>
                    <a:pt x="23194" y="620"/>
                    <a:pt x="7436" y="12482"/>
                    <a:pt x="3718" y="27708"/>
                  </a:cubicBezTo>
                  <a:cubicBezTo>
                    <a:pt x="1416" y="37092"/>
                    <a:pt x="1239" y="47184"/>
                    <a:pt x="0" y="56922"/>
                  </a:cubicBezTo>
                  <a:cubicBezTo>
                    <a:pt x="354" y="56922"/>
                    <a:pt x="708" y="56922"/>
                    <a:pt x="1062" y="57099"/>
                  </a:cubicBezTo>
                  <a:cubicBezTo>
                    <a:pt x="1062" y="62587"/>
                    <a:pt x="177" y="68430"/>
                    <a:pt x="1239" y="73742"/>
                  </a:cubicBezTo>
                  <a:close/>
                </a:path>
              </a:pathLst>
            </a:custGeom>
            <a:solidFill>
              <a:srgbClr val="3F3F3F"/>
            </a:solidFill>
            <a:ln w="1745" cap="flat">
              <a:noFill/>
              <a:prstDash val="solid"/>
              <a:miter/>
            </a:ln>
          </p:spPr>
          <p:txBody>
            <a:bodyPr rtlCol="0" anchor="ctr"/>
            <a:lstStyle/>
            <a:p>
              <a:pPr defTabSz="1219170"/>
              <a:endParaRPr lang="en-US" sz="2400">
                <a:solidFill>
                  <a:srgbClr val="102B62"/>
                </a:solidFill>
                <a:latin typeface="Arial"/>
              </a:endParaRPr>
            </a:p>
          </p:txBody>
        </p:sp>
        <p:sp>
          <p:nvSpPr>
            <p:cNvPr id="69" name="Freeform: Shape 68">
              <a:extLst>
                <a:ext uri="{FF2B5EF4-FFF2-40B4-BE49-F238E27FC236}">
                  <a16:creationId xmlns:a16="http://schemas.microsoft.com/office/drawing/2014/main" id="{73B411BE-EF37-4F69-8A1A-2620DAAA883A}"/>
                </a:ext>
              </a:extLst>
            </p:cNvPr>
            <p:cNvSpPr/>
            <p:nvPr/>
          </p:nvSpPr>
          <p:spPr>
            <a:xfrm>
              <a:off x="961532" y="3082653"/>
              <a:ext cx="569982" cy="183514"/>
            </a:xfrm>
            <a:custGeom>
              <a:avLst/>
              <a:gdLst>
                <a:gd name="connsiteX0" fmla="*/ 569628 w 569982"/>
                <a:gd name="connsiteY0" fmla="*/ 83226 h 183514"/>
                <a:gd name="connsiteX1" fmla="*/ 556881 w 569982"/>
                <a:gd name="connsiteY1" fmla="*/ 36307 h 183514"/>
                <a:gd name="connsiteX2" fmla="*/ 495975 w 569982"/>
                <a:gd name="connsiteY2" fmla="*/ 366 h 183514"/>
                <a:gd name="connsiteX3" fmla="*/ 446578 w 569982"/>
                <a:gd name="connsiteY3" fmla="*/ 12 h 183514"/>
                <a:gd name="connsiteX4" fmla="*/ 414886 w 569982"/>
                <a:gd name="connsiteY4" fmla="*/ 6209 h 183514"/>
                <a:gd name="connsiteX5" fmla="*/ 367613 w 569982"/>
                <a:gd name="connsiteY5" fmla="*/ 68708 h 183514"/>
                <a:gd name="connsiteX6" fmla="*/ 314321 w 569982"/>
                <a:gd name="connsiteY6" fmla="*/ 42681 h 183514"/>
                <a:gd name="connsiteX7" fmla="*/ 264924 w 569982"/>
                <a:gd name="connsiteY7" fmla="*/ 42327 h 183514"/>
                <a:gd name="connsiteX8" fmla="*/ 233231 w 569982"/>
                <a:gd name="connsiteY8" fmla="*/ 48524 h 183514"/>
                <a:gd name="connsiteX9" fmla="*/ 202779 w 569982"/>
                <a:gd name="connsiteY9" fmla="*/ 71364 h 183514"/>
                <a:gd name="connsiteX10" fmla="*/ 190562 w 569982"/>
                <a:gd name="connsiteY10" fmla="*/ 36307 h 183514"/>
                <a:gd name="connsiteX11" fmla="*/ 129657 w 569982"/>
                <a:gd name="connsiteY11" fmla="*/ 366 h 183514"/>
                <a:gd name="connsiteX12" fmla="*/ 80259 w 569982"/>
                <a:gd name="connsiteY12" fmla="*/ 12 h 183514"/>
                <a:gd name="connsiteX13" fmla="*/ 48567 w 569982"/>
                <a:gd name="connsiteY13" fmla="*/ 6209 h 183514"/>
                <a:gd name="connsiteX14" fmla="*/ 941 w 569982"/>
                <a:gd name="connsiteY14" fmla="*/ 72072 h 183514"/>
                <a:gd name="connsiteX15" fmla="*/ 587 w 569982"/>
                <a:gd name="connsiteY15" fmla="*/ 122885 h 183514"/>
                <a:gd name="connsiteX16" fmla="*/ 8908 w 569982"/>
                <a:gd name="connsiteY16" fmla="*/ 137226 h 183514"/>
                <a:gd name="connsiteX17" fmla="*/ 21833 w 569982"/>
                <a:gd name="connsiteY17" fmla="*/ 140944 h 183514"/>
                <a:gd name="connsiteX18" fmla="*/ 175513 w 569982"/>
                <a:gd name="connsiteY18" fmla="*/ 140767 h 183514"/>
                <a:gd name="connsiteX19" fmla="*/ 184897 w 569982"/>
                <a:gd name="connsiteY19" fmla="*/ 141122 h 183514"/>
                <a:gd name="connsiteX20" fmla="*/ 185428 w 569982"/>
                <a:gd name="connsiteY20" fmla="*/ 165200 h 183514"/>
                <a:gd name="connsiteX21" fmla="*/ 193749 w 569982"/>
                <a:gd name="connsiteY21" fmla="*/ 179542 h 183514"/>
                <a:gd name="connsiteX22" fmla="*/ 206674 w 569982"/>
                <a:gd name="connsiteY22" fmla="*/ 183260 h 183514"/>
                <a:gd name="connsiteX23" fmla="*/ 360354 w 569982"/>
                <a:gd name="connsiteY23" fmla="*/ 183083 h 183514"/>
                <a:gd name="connsiteX24" fmla="*/ 388328 w 569982"/>
                <a:gd name="connsiteY24" fmla="*/ 161482 h 183514"/>
                <a:gd name="connsiteX25" fmla="*/ 388328 w 569982"/>
                <a:gd name="connsiteY25" fmla="*/ 140944 h 183514"/>
                <a:gd name="connsiteX26" fmla="*/ 388328 w 569982"/>
                <a:gd name="connsiteY26" fmla="*/ 140944 h 183514"/>
                <a:gd name="connsiteX27" fmla="*/ 542008 w 569982"/>
                <a:gd name="connsiteY27" fmla="*/ 140767 h 183514"/>
                <a:gd name="connsiteX28" fmla="*/ 569982 w 569982"/>
                <a:gd name="connsiteY28" fmla="*/ 119167 h 183514"/>
                <a:gd name="connsiteX29" fmla="*/ 569628 w 569982"/>
                <a:gd name="connsiteY29" fmla="*/ 83226 h 183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69982" h="183514">
                  <a:moveTo>
                    <a:pt x="569628" y="83226"/>
                  </a:moveTo>
                  <a:cubicBezTo>
                    <a:pt x="569628" y="66406"/>
                    <a:pt x="566441" y="50472"/>
                    <a:pt x="556881" y="36307"/>
                  </a:cubicBezTo>
                  <a:cubicBezTo>
                    <a:pt x="542362" y="14707"/>
                    <a:pt x="522356" y="1782"/>
                    <a:pt x="495975" y="366"/>
                  </a:cubicBezTo>
                  <a:cubicBezTo>
                    <a:pt x="479509" y="-342"/>
                    <a:pt x="463044" y="366"/>
                    <a:pt x="446578" y="12"/>
                  </a:cubicBezTo>
                  <a:cubicBezTo>
                    <a:pt x="435601" y="-165"/>
                    <a:pt x="424978" y="1605"/>
                    <a:pt x="414886" y="6209"/>
                  </a:cubicBezTo>
                  <a:cubicBezTo>
                    <a:pt x="387620" y="18779"/>
                    <a:pt x="371685" y="39671"/>
                    <a:pt x="367613" y="68708"/>
                  </a:cubicBezTo>
                  <a:cubicBezTo>
                    <a:pt x="353980" y="53127"/>
                    <a:pt x="336275" y="43744"/>
                    <a:pt x="314321" y="42681"/>
                  </a:cubicBezTo>
                  <a:cubicBezTo>
                    <a:pt x="297855" y="41973"/>
                    <a:pt x="281389" y="42681"/>
                    <a:pt x="264924" y="42327"/>
                  </a:cubicBezTo>
                  <a:cubicBezTo>
                    <a:pt x="253946" y="42150"/>
                    <a:pt x="243323" y="43921"/>
                    <a:pt x="233231" y="48524"/>
                  </a:cubicBezTo>
                  <a:cubicBezTo>
                    <a:pt x="220661" y="54367"/>
                    <a:pt x="210392" y="61980"/>
                    <a:pt x="202779" y="71364"/>
                  </a:cubicBezTo>
                  <a:cubicBezTo>
                    <a:pt x="201539" y="58970"/>
                    <a:pt x="197821" y="47108"/>
                    <a:pt x="190562" y="36307"/>
                  </a:cubicBezTo>
                  <a:cubicBezTo>
                    <a:pt x="176044" y="14707"/>
                    <a:pt x="156037" y="1782"/>
                    <a:pt x="129657" y="366"/>
                  </a:cubicBezTo>
                  <a:cubicBezTo>
                    <a:pt x="113191" y="-342"/>
                    <a:pt x="96725" y="366"/>
                    <a:pt x="80259" y="12"/>
                  </a:cubicBezTo>
                  <a:cubicBezTo>
                    <a:pt x="69282" y="-165"/>
                    <a:pt x="58659" y="1605"/>
                    <a:pt x="48567" y="6209"/>
                  </a:cubicBezTo>
                  <a:cubicBezTo>
                    <a:pt x="20239" y="19133"/>
                    <a:pt x="4128" y="41442"/>
                    <a:pt x="941" y="72072"/>
                  </a:cubicBezTo>
                  <a:cubicBezTo>
                    <a:pt x="-830" y="88892"/>
                    <a:pt x="409" y="106065"/>
                    <a:pt x="587" y="122885"/>
                  </a:cubicBezTo>
                  <a:cubicBezTo>
                    <a:pt x="587" y="128905"/>
                    <a:pt x="3419" y="134394"/>
                    <a:pt x="8908" y="137226"/>
                  </a:cubicBezTo>
                  <a:cubicBezTo>
                    <a:pt x="12803" y="139351"/>
                    <a:pt x="17406" y="140767"/>
                    <a:pt x="21833" y="140944"/>
                  </a:cubicBezTo>
                  <a:lnTo>
                    <a:pt x="175513" y="140767"/>
                  </a:lnTo>
                  <a:cubicBezTo>
                    <a:pt x="178877" y="141299"/>
                    <a:pt x="182064" y="141299"/>
                    <a:pt x="184897" y="141122"/>
                  </a:cubicBezTo>
                  <a:cubicBezTo>
                    <a:pt x="185074" y="149089"/>
                    <a:pt x="185251" y="157233"/>
                    <a:pt x="185428" y="165200"/>
                  </a:cubicBezTo>
                  <a:cubicBezTo>
                    <a:pt x="185428" y="171220"/>
                    <a:pt x="188261" y="176709"/>
                    <a:pt x="193749" y="179542"/>
                  </a:cubicBezTo>
                  <a:cubicBezTo>
                    <a:pt x="197644" y="181666"/>
                    <a:pt x="202248" y="183083"/>
                    <a:pt x="206674" y="183260"/>
                  </a:cubicBezTo>
                  <a:lnTo>
                    <a:pt x="360354" y="183083"/>
                  </a:lnTo>
                  <a:cubicBezTo>
                    <a:pt x="376289" y="185207"/>
                    <a:pt x="387974" y="179719"/>
                    <a:pt x="388328" y="161482"/>
                  </a:cubicBezTo>
                  <a:cubicBezTo>
                    <a:pt x="388505" y="154577"/>
                    <a:pt x="388505" y="147850"/>
                    <a:pt x="388328" y="140944"/>
                  </a:cubicBezTo>
                  <a:cubicBezTo>
                    <a:pt x="388328" y="140944"/>
                    <a:pt x="388328" y="140944"/>
                    <a:pt x="388328" y="140944"/>
                  </a:cubicBezTo>
                  <a:lnTo>
                    <a:pt x="542008" y="140767"/>
                  </a:lnTo>
                  <a:cubicBezTo>
                    <a:pt x="557943" y="142892"/>
                    <a:pt x="569628" y="137403"/>
                    <a:pt x="569982" y="119167"/>
                  </a:cubicBezTo>
                  <a:cubicBezTo>
                    <a:pt x="569805" y="107305"/>
                    <a:pt x="569451" y="95265"/>
                    <a:pt x="569628" y="83226"/>
                  </a:cubicBezTo>
                  <a:close/>
                </a:path>
              </a:pathLst>
            </a:custGeom>
            <a:solidFill>
              <a:srgbClr val="3F3F3F"/>
            </a:solidFill>
            <a:ln w="1745" cap="flat">
              <a:noFill/>
              <a:prstDash val="solid"/>
              <a:miter/>
            </a:ln>
          </p:spPr>
          <p:txBody>
            <a:bodyPr rtlCol="0" anchor="ctr"/>
            <a:lstStyle/>
            <a:p>
              <a:pPr defTabSz="1219170"/>
              <a:endParaRPr lang="en-US" sz="2400">
                <a:solidFill>
                  <a:srgbClr val="102B62"/>
                </a:solidFill>
                <a:latin typeface="Arial"/>
              </a:endParaRPr>
            </a:p>
          </p:txBody>
        </p:sp>
        <p:sp>
          <p:nvSpPr>
            <p:cNvPr id="70" name="Freeform: Shape 69">
              <a:extLst>
                <a:ext uri="{FF2B5EF4-FFF2-40B4-BE49-F238E27FC236}">
                  <a16:creationId xmlns:a16="http://schemas.microsoft.com/office/drawing/2014/main" id="{46BFF879-7D53-45B6-B770-620C4401DDC1}"/>
                </a:ext>
              </a:extLst>
            </p:cNvPr>
            <p:cNvSpPr/>
            <p:nvPr/>
          </p:nvSpPr>
          <p:spPr>
            <a:xfrm>
              <a:off x="1371638" y="2937749"/>
              <a:ext cx="114507" cy="129004"/>
            </a:xfrm>
            <a:custGeom>
              <a:avLst/>
              <a:gdLst>
                <a:gd name="connsiteX0" fmla="*/ 3718 w 114507"/>
                <a:gd name="connsiteY0" fmla="*/ 27531 h 129004"/>
                <a:gd name="connsiteX1" fmla="*/ 0 w 114507"/>
                <a:gd name="connsiteY1" fmla="*/ 56745 h 129004"/>
                <a:gd name="connsiteX2" fmla="*/ 1062 w 114507"/>
                <a:gd name="connsiteY2" fmla="*/ 56922 h 129004"/>
                <a:gd name="connsiteX3" fmla="*/ 1239 w 114507"/>
                <a:gd name="connsiteY3" fmla="*/ 73742 h 129004"/>
                <a:gd name="connsiteX4" fmla="*/ 8144 w 114507"/>
                <a:gd name="connsiteY4" fmla="*/ 99237 h 129004"/>
                <a:gd name="connsiteX5" fmla="*/ 84984 w 114507"/>
                <a:gd name="connsiteY5" fmla="*/ 122077 h 129004"/>
                <a:gd name="connsiteX6" fmla="*/ 113313 w 114507"/>
                <a:gd name="connsiteY6" fmla="*/ 82771 h 129004"/>
                <a:gd name="connsiteX7" fmla="*/ 113844 w 114507"/>
                <a:gd name="connsiteY7" fmla="*/ 35853 h 129004"/>
                <a:gd name="connsiteX8" fmla="*/ 76663 w 114507"/>
                <a:gd name="connsiteY8" fmla="*/ 266 h 129004"/>
                <a:gd name="connsiteX9" fmla="*/ 39128 w 114507"/>
                <a:gd name="connsiteY9" fmla="*/ 266 h 129004"/>
                <a:gd name="connsiteX10" fmla="*/ 3718 w 114507"/>
                <a:gd name="connsiteY10" fmla="*/ 27531 h 129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507" h="129004">
                  <a:moveTo>
                    <a:pt x="3718" y="27531"/>
                  </a:moveTo>
                  <a:cubicBezTo>
                    <a:pt x="1416" y="36915"/>
                    <a:pt x="1239" y="47007"/>
                    <a:pt x="0" y="56745"/>
                  </a:cubicBezTo>
                  <a:cubicBezTo>
                    <a:pt x="354" y="56745"/>
                    <a:pt x="708" y="56745"/>
                    <a:pt x="1062" y="56922"/>
                  </a:cubicBezTo>
                  <a:cubicBezTo>
                    <a:pt x="1062" y="62587"/>
                    <a:pt x="177" y="68253"/>
                    <a:pt x="1239" y="73742"/>
                  </a:cubicBezTo>
                  <a:cubicBezTo>
                    <a:pt x="2833" y="82417"/>
                    <a:pt x="4249" y="91447"/>
                    <a:pt x="8144" y="99237"/>
                  </a:cubicBezTo>
                  <a:cubicBezTo>
                    <a:pt x="22485" y="127211"/>
                    <a:pt x="57896" y="136949"/>
                    <a:pt x="84984" y="122077"/>
                  </a:cubicBezTo>
                  <a:cubicBezTo>
                    <a:pt x="100565" y="113401"/>
                    <a:pt x="111188" y="100299"/>
                    <a:pt x="113313" y="82771"/>
                  </a:cubicBezTo>
                  <a:cubicBezTo>
                    <a:pt x="115083" y="67368"/>
                    <a:pt x="114552" y="51610"/>
                    <a:pt x="113844" y="35853"/>
                  </a:cubicBezTo>
                  <a:cubicBezTo>
                    <a:pt x="112959" y="16731"/>
                    <a:pt x="95962" y="797"/>
                    <a:pt x="76663" y="266"/>
                  </a:cubicBezTo>
                  <a:cubicBezTo>
                    <a:pt x="64092" y="-89"/>
                    <a:pt x="51522" y="-89"/>
                    <a:pt x="39128" y="266"/>
                  </a:cubicBezTo>
                  <a:cubicBezTo>
                    <a:pt x="23371" y="443"/>
                    <a:pt x="7613" y="12305"/>
                    <a:pt x="3718" y="27531"/>
                  </a:cubicBezTo>
                  <a:close/>
                </a:path>
              </a:pathLst>
            </a:custGeom>
            <a:solidFill>
              <a:srgbClr val="3F3F3F"/>
            </a:solidFill>
            <a:ln w="1745" cap="flat">
              <a:noFill/>
              <a:prstDash val="solid"/>
              <a:miter/>
            </a:ln>
          </p:spPr>
          <p:txBody>
            <a:bodyPr rtlCol="0" anchor="ctr"/>
            <a:lstStyle/>
            <a:p>
              <a:pPr defTabSz="1219170"/>
              <a:endParaRPr lang="en-US" sz="2400">
                <a:solidFill>
                  <a:srgbClr val="102B62"/>
                </a:solidFill>
                <a:latin typeface="Arial"/>
              </a:endParaRPr>
            </a:p>
          </p:txBody>
        </p:sp>
        <p:sp>
          <p:nvSpPr>
            <p:cNvPr id="71" name="Freeform: Shape 70">
              <a:extLst>
                <a:ext uri="{FF2B5EF4-FFF2-40B4-BE49-F238E27FC236}">
                  <a16:creationId xmlns:a16="http://schemas.microsoft.com/office/drawing/2014/main" id="{1814EA79-A617-4E97-A240-EAB730449A86}"/>
                </a:ext>
              </a:extLst>
            </p:cNvPr>
            <p:cNvSpPr/>
            <p:nvPr/>
          </p:nvSpPr>
          <p:spPr>
            <a:xfrm>
              <a:off x="1005319" y="2937571"/>
              <a:ext cx="114507" cy="129004"/>
            </a:xfrm>
            <a:custGeom>
              <a:avLst/>
              <a:gdLst>
                <a:gd name="connsiteX0" fmla="*/ 1239 w 114507"/>
                <a:gd name="connsiteY0" fmla="*/ 73742 h 129004"/>
                <a:gd name="connsiteX1" fmla="*/ 8144 w 114507"/>
                <a:gd name="connsiteY1" fmla="*/ 99237 h 129004"/>
                <a:gd name="connsiteX2" fmla="*/ 84984 w 114507"/>
                <a:gd name="connsiteY2" fmla="*/ 122077 h 129004"/>
                <a:gd name="connsiteX3" fmla="*/ 113313 w 114507"/>
                <a:gd name="connsiteY3" fmla="*/ 82771 h 129004"/>
                <a:gd name="connsiteX4" fmla="*/ 113844 w 114507"/>
                <a:gd name="connsiteY4" fmla="*/ 35853 h 129004"/>
                <a:gd name="connsiteX5" fmla="*/ 76663 w 114507"/>
                <a:gd name="connsiteY5" fmla="*/ 266 h 129004"/>
                <a:gd name="connsiteX6" fmla="*/ 39128 w 114507"/>
                <a:gd name="connsiteY6" fmla="*/ 266 h 129004"/>
                <a:gd name="connsiteX7" fmla="*/ 3718 w 114507"/>
                <a:gd name="connsiteY7" fmla="*/ 27708 h 129004"/>
                <a:gd name="connsiteX8" fmla="*/ 0 w 114507"/>
                <a:gd name="connsiteY8" fmla="*/ 56922 h 129004"/>
                <a:gd name="connsiteX9" fmla="*/ 1062 w 114507"/>
                <a:gd name="connsiteY9" fmla="*/ 57099 h 129004"/>
                <a:gd name="connsiteX10" fmla="*/ 1239 w 114507"/>
                <a:gd name="connsiteY10" fmla="*/ 73742 h 129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507" h="129004">
                  <a:moveTo>
                    <a:pt x="1239" y="73742"/>
                  </a:moveTo>
                  <a:cubicBezTo>
                    <a:pt x="2833" y="82417"/>
                    <a:pt x="4249" y="91447"/>
                    <a:pt x="8144" y="99237"/>
                  </a:cubicBezTo>
                  <a:cubicBezTo>
                    <a:pt x="22485" y="127211"/>
                    <a:pt x="57896" y="136949"/>
                    <a:pt x="84984" y="122077"/>
                  </a:cubicBezTo>
                  <a:cubicBezTo>
                    <a:pt x="100565" y="113401"/>
                    <a:pt x="111188" y="100299"/>
                    <a:pt x="113313" y="82771"/>
                  </a:cubicBezTo>
                  <a:cubicBezTo>
                    <a:pt x="115083" y="67368"/>
                    <a:pt x="114552" y="51610"/>
                    <a:pt x="113844" y="35853"/>
                  </a:cubicBezTo>
                  <a:cubicBezTo>
                    <a:pt x="112958" y="16731"/>
                    <a:pt x="95962" y="797"/>
                    <a:pt x="76663" y="266"/>
                  </a:cubicBezTo>
                  <a:cubicBezTo>
                    <a:pt x="64092" y="-89"/>
                    <a:pt x="51522" y="-89"/>
                    <a:pt x="39128" y="266"/>
                  </a:cubicBezTo>
                  <a:cubicBezTo>
                    <a:pt x="23194" y="620"/>
                    <a:pt x="7436" y="12482"/>
                    <a:pt x="3718" y="27708"/>
                  </a:cubicBezTo>
                  <a:cubicBezTo>
                    <a:pt x="1416" y="37092"/>
                    <a:pt x="1239" y="47184"/>
                    <a:pt x="0" y="56922"/>
                  </a:cubicBezTo>
                  <a:cubicBezTo>
                    <a:pt x="354" y="56922"/>
                    <a:pt x="708" y="56922"/>
                    <a:pt x="1062" y="57099"/>
                  </a:cubicBezTo>
                  <a:cubicBezTo>
                    <a:pt x="1062" y="62588"/>
                    <a:pt x="354" y="68430"/>
                    <a:pt x="1239" y="73742"/>
                  </a:cubicBezTo>
                  <a:close/>
                </a:path>
              </a:pathLst>
            </a:custGeom>
            <a:solidFill>
              <a:srgbClr val="3F3F3F"/>
            </a:solidFill>
            <a:ln w="1745" cap="flat">
              <a:noFill/>
              <a:prstDash val="solid"/>
              <a:miter/>
            </a:ln>
          </p:spPr>
          <p:txBody>
            <a:bodyPr rtlCol="0" anchor="ctr"/>
            <a:lstStyle/>
            <a:p>
              <a:pPr defTabSz="1219170"/>
              <a:endParaRPr lang="en-US" sz="2400">
                <a:solidFill>
                  <a:srgbClr val="102B62"/>
                </a:solidFill>
                <a:latin typeface="Arial"/>
              </a:endParaRPr>
            </a:p>
          </p:txBody>
        </p:sp>
        <p:sp>
          <p:nvSpPr>
            <p:cNvPr id="72" name="Freeform: Shape 71">
              <a:extLst>
                <a:ext uri="{FF2B5EF4-FFF2-40B4-BE49-F238E27FC236}">
                  <a16:creationId xmlns:a16="http://schemas.microsoft.com/office/drawing/2014/main" id="{1825DEBA-93A9-4C0D-BB5B-B754A78C02ED}"/>
                </a:ext>
              </a:extLst>
            </p:cNvPr>
            <p:cNvSpPr/>
            <p:nvPr/>
          </p:nvSpPr>
          <p:spPr>
            <a:xfrm>
              <a:off x="1110876" y="2702132"/>
              <a:ext cx="241983" cy="241901"/>
            </a:xfrm>
            <a:custGeom>
              <a:avLst/>
              <a:gdLst>
                <a:gd name="connsiteX0" fmla="*/ 17847 w 241983"/>
                <a:gd name="connsiteY0" fmla="*/ 109644 h 241901"/>
                <a:gd name="connsiteX1" fmla="*/ 54320 w 241983"/>
                <a:gd name="connsiteY1" fmla="*/ 164530 h 241901"/>
                <a:gd name="connsiteX2" fmla="*/ 152583 w 241983"/>
                <a:gd name="connsiteY2" fmla="*/ 232695 h 241901"/>
                <a:gd name="connsiteX3" fmla="*/ 195783 w 241983"/>
                <a:gd name="connsiteY3" fmla="*/ 240839 h 241901"/>
                <a:gd name="connsiteX4" fmla="*/ 195960 w 241983"/>
                <a:gd name="connsiteY4" fmla="*/ 241901 h 241901"/>
                <a:gd name="connsiteX5" fmla="*/ 214728 w 241983"/>
                <a:gd name="connsiteY5" fmla="*/ 237829 h 241901"/>
                <a:gd name="connsiteX6" fmla="*/ 230308 w 241983"/>
                <a:gd name="connsiteY6" fmla="*/ 226144 h 241901"/>
                <a:gd name="connsiteX7" fmla="*/ 232610 w 241983"/>
                <a:gd name="connsiteY7" fmla="*/ 181881 h 241901"/>
                <a:gd name="connsiteX8" fmla="*/ 203928 w 241983"/>
                <a:gd name="connsiteY8" fmla="*/ 153199 h 241901"/>
                <a:gd name="connsiteX9" fmla="*/ 180911 w 241983"/>
                <a:gd name="connsiteY9" fmla="*/ 145232 h 241901"/>
                <a:gd name="connsiteX10" fmla="*/ 161258 w 241983"/>
                <a:gd name="connsiteY10" fmla="*/ 155678 h 241901"/>
                <a:gd name="connsiteX11" fmla="*/ 151698 w 241983"/>
                <a:gd name="connsiteY11" fmla="*/ 158510 h 241901"/>
                <a:gd name="connsiteX12" fmla="*/ 135409 w 241983"/>
                <a:gd name="connsiteY12" fmla="*/ 150366 h 241901"/>
                <a:gd name="connsiteX13" fmla="*/ 97874 w 241983"/>
                <a:gd name="connsiteY13" fmla="*/ 114956 h 241901"/>
                <a:gd name="connsiteX14" fmla="*/ 85127 w 241983"/>
                <a:gd name="connsiteY14" fmla="*/ 95834 h 241901"/>
                <a:gd name="connsiteX15" fmla="*/ 87605 w 241983"/>
                <a:gd name="connsiteY15" fmla="*/ 78483 h 241901"/>
                <a:gd name="connsiteX16" fmla="*/ 88490 w 241983"/>
                <a:gd name="connsiteY16" fmla="*/ 38647 h 241901"/>
                <a:gd name="connsiteX17" fmla="*/ 56798 w 241983"/>
                <a:gd name="connsiteY17" fmla="*/ 7132 h 241901"/>
                <a:gd name="connsiteX18" fmla="*/ 32896 w 241983"/>
                <a:gd name="connsiteY18" fmla="*/ 581 h 241901"/>
                <a:gd name="connsiteX19" fmla="*/ 15014 w 241983"/>
                <a:gd name="connsiteY19" fmla="*/ 11381 h 241901"/>
                <a:gd name="connsiteX20" fmla="*/ 319 w 241983"/>
                <a:gd name="connsiteY20" fmla="*/ 36345 h 241901"/>
                <a:gd name="connsiteX21" fmla="*/ 2975 w 241983"/>
                <a:gd name="connsiteY21" fmla="*/ 69631 h 241901"/>
                <a:gd name="connsiteX22" fmla="*/ 17847 w 241983"/>
                <a:gd name="connsiteY22" fmla="*/ 109644 h 241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1983" h="241901">
                  <a:moveTo>
                    <a:pt x="17847" y="109644"/>
                  </a:moveTo>
                  <a:cubicBezTo>
                    <a:pt x="26700" y="130005"/>
                    <a:pt x="39624" y="147887"/>
                    <a:pt x="54320" y="164530"/>
                  </a:cubicBezTo>
                  <a:cubicBezTo>
                    <a:pt x="81585" y="195160"/>
                    <a:pt x="114163" y="218354"/>
                    <a:pt x="152583" y="232695"/>
                  </a:cubicBezTo>
                  <a:cubicBezTo>
                    <a:pt x="166393" y="237829"/>
                    <a:pt x="180734" y="241370"/>
                    <a:pt x="195783" y="240839"/>
                  </a:cubicBezTo>
                  <a:cubicBezTo>
                    <a:pt x="195783" y="241193"/>
                    <a:pt x="195960" y="241547"/>
                    <a:pt x="195960" y="241901"/>
                  </a:cubicBezTo>
                  <a:cubicBezTo>
                    <a:pt x="202334" y="240662"/>
                    <a:pt x="209062" y="240308"/>
                    <a:pt x="214728" y="237829"/>
                  </a:cubicBezTo>
                  <a:cubicBezTo>
                    <a:pt x="220393" y="235173"/>
                    <a:pt x="225351" y="230393"/>
                    <a:pt x="230308" y="226144"/>
                  </a:cubicBezTo>
                  <a:cubicBezTo>
                    <a:pt x="245004" y="213927"/>
                    <a:pt x="245889" y="195514"/>
                    <a:pt x="232610" y="181881"/>
                  </a:cubicBezTo>
                  <a:cubicBezTo>
                    <a:pt x="223226" y="172143"/>
                    <a:pt x="213665" y="162583"/>
                    <a:pt x="203928" y="153199"/>
                  </a:cubicBezTo>
                  <a:cubicBezTo>
                    <a:pt x="197554" y="147179"/>
                    <a:pt x="189941" y="144346"/>
                    <a:pt x="180911" y="145232"/>
                  </a:cubicBezTo>
                  <a:cubicBezTo>
                    <a:pt x="172944" y="145940"/>
                    <a:pt x="166570" y="149835"/>
                    <a:pt x="161258" y="155678"/>
                  </a:cubicBezTo>
                  <a:cubicBezTo>
                    <a:pt x="158603" y="158687"/>
                    <a:pt x="155416" y="160104"/>
                    <a:pt x="151698" y="158510"/>
                  </a:cubicBezTo>
                  <a:cubicBezTo>
                    <a:pt x="146209" y="156032"/>
                    <a:pt x="140366" y="153907"/>
                    <a:pt x="135409" y="150366"/>
                  </a:cubicBezTo>
                  <a:cubicBezTo>
                    <a:pt x="121068" y="140451"/>
                    <a:pt x="109205" y="128058"/>
                    <a:pt x="97874" y="114956"/>
                  </a:cubicBezTo>
                  <a:cubicBezTo>
                    <a:pt x="92917" y="109113"/>
                    <a:pt x="88668" y="102562"/>
                    <a:pt x="85127" y="95834"/>
                  </a:cubicBezTo>
                  <a:cubicBezTo>
                    <a:pt x="80346" y="86982"/>
                    <a:pt x="81054" y="85565"/>
                    <a:pt x="87605" y="78483"/>
                  </a:cubicBezTo>
                  <a:cubicBezTo>
                    <a:pt x="98759" y="66621"/>
                    <a:pt x="99645" y="50509"/>
                    <a:pt x="88490" y="38647"/>
                  </a:cubicBezTo>
                  <a:cubicBezTo>
                    <a:pt x="78399" y="27670"/>
                    <a:pt x="67776" y="17224"/>
                    <a:pt x="56798" y="7132"/>
                  </a:cubicBezTo>
                  <a:cubicBezTo>
                    <a:pt x="50247" y="1112"/>
                    <a:pt x="42103" y="-1189"/>
                    <a:pt x="32896" y="581"/>
                  </a:cubicBezTo>
                  <a:cubicBezTo>
                    <a:pt x="25460" y="1997"/>
                    <a:pt x="19618" y="5716"/>
                    <a:pt x="15014" y="11381"/>
                  </a:cubicBezTo>
                  <a:cubicBezTo>
                    <a:pt x="8818" y="18994"/>
                    <a:pt x="1204" y="25722"/>
                    <a:pt x="319" y="36345"/>
                  </a:cubicBezTo>
                  <a:cubicBezTo>
                    <a:pt x="-743" y="47322"/>
                    <a:pt x="1027" y="58477"/>
                    <a:pt x="2975" y="69631"/>
                  </a:cubicBezTo>
                  <a:cubicBezTo>
                    <a:pt x="5631" y="83972"/>
                    <a:pt x="12182" y="96720"/>
                    <a:pt x="17847" y="109644"/>
                  </a:cubicBezTo>
                  <a:close/>
                </a:path>
              </a:pathLst>
            </a:custGeom>
            <a:solidFill>
              <a:srgbClr val="3F3F3F"/>
            </a:solidFill>
            <a:ln w="1745" cap="flat">
              <a:noFill/>
              <a:prstDash val="solid"/>
              <a:miter/>
            </a:ln>
          </p:spPr>
          <p:txBody>
            <a:bodyPr rtlCol="0" anchor="ctr"/>
            <a:lstStyle/>
            <a:p>
              <a:pPr defTabSz="1219170"/>
              <a:endParaRPr lang="en-US" sz="2400">
                <a:solidFill>
                  <a:srgbClr val="102B62"/>
                </a:solidFill>
                <a:latin typeface="Arial"/>
              </a:endParaRPr>
            </a:p>
          </p:txBody>
        </p:sp>
        <p:sp>
          <p:nvSpPr>
            <p:cNvPr id="73" name="Freeform: Shape 72">
              <a:extLst>
                <a:ext uri="{FF2B5EF4-FFF2-40B4-BE49-F238E27FC236}">
                  <a16:creationId xmlns:a16="http://schemas.microsoft.com/office/drawing/2014/main" id="{B5B27715-1224-4FEE-ACA1-B180D9DCA4B2}"/>
                </a:ext>
              </a:extLst>
            </p:cNvPr>
            <p:cNvSpPr/>
            <p:nvPr/>
          </p:nvSpPr>
          <p:spPr>
            <a:xfrm>
              <a:off x="1253363" y="2671408"/>
              <a:ext cx="131122" cy="128403"/>
            </a:xfrm>
            <a:custGeom>
              <a:avLst/>
              <a:gdLst>
                <a:gd name="connsiteX0" fmla="*/ 11690 w 131122"/>
                <a:gd name="connsiteY0" fmla="*/ 24577 h 128403"/>
                <a:gd name="connsiteX1" fmla="*/ 25677 w 131122"/>
                <a:gd name="connsiteY1" fmla="*/ 24577 h 128403"/>
                <a:gd name="connsiteX2" fmla="*/ 72241 w 131122"/>
                <a:gd name="connsiteY2" fmla="*/ 38741 h 128403"/>
                <a:gd name="connsiteX3" fmla="*/ 104465 w 131122"/>
                <a:gd name="connsiteY3" fmla="*/ 89555 h 128403"/>
                <a:gd name="connsiteX4" fmla="*/ 105527 w 131122"/>
                <a:gd name="connsiteY4" fmla="*/ 114519 h 128403"/>
                <a:gd name="connsiteX5" fmla="*/ 117212 w 131122"/>
                <a:gd name="connsiteY5" fmla="*/ 128329 h 128403"/>
                <a:gd name="connsiteX6" fmla="*/ 130491 w 131122"/>
                <a:gd name="connsiteY6" fmla="*/ 117352 h 128403"/>
                <a:gd name="connsiteX7" fmla="*/ 131022 w 131122"/>
                <a:gd name="connsiteY7" fmla="*/ 111332 h 128403"/>
                <a:gd name="connsiteX8" fmla="*/ 114202 w 131122"/>
                <a:gd name="connsiteY8" fmla="*/ 46532 h 128403"/>
                <a:gd name="connsiteX9" fmla="*/ 58608 w 131122"/>
                <a:gd name="connsiteY9" fmla="*/ 4925 h 128403"/>
                <a:gd name="connsiteX10" fmla="*/ 22313 w 131122"/>
                <a:gd name="connsiteY10" fmla="*/ 144 h 128403"/>
                <a:gd name="connsiteX11" fmla="*/ 10982 w 131122"/>
                <a:gd name="connsiteY11" fmla="*/ 144 h 128403"/>
                <a:gd name="connsiteX12" fmla="*/ 5 w 131122"/>
                <a:gd name="connsiteY12" fmla="*/ 13069 h 128403"/>
                <a:gd name="connsiteX13" fmla="*/ 11690 w 131122"/>
                <a:gd name="connsiteY13" fmla="*/ 24577 h 128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122" h="128403">
                  <a:moveTo>
                    <a:pt x="11690" y="24577"/>
                  </a:moveTo>
                  <a:cubicBezTo>
                    <a:pt x="16293" y="24577"/>
                    <a:pt x="21074" y="24400"/>
                    <a:pt x="25677" y="24577"/>
                  </a:cubicBezTo>
                  <a:cubicBezTo>
                    <a:pt x="42497" y="24931"/>
                    <a:pt x="58077" y="29181"/>
                    <a:pt x="72241" y="38741"/>
                  </a:cubicBezTo>
                  <a:cubicBezTo>
                    <a:pt x="90301" y="50958"/>
                    <a:pt x="101278" y="68132"/>
                    <a:pt x="104465" y="89555"/>
                  </a:cubicBezTo>
                  <a:cubicBezTo>
                    <a:pt x="105704" y="97699"/>
                    <a:pt x="105350" y="106198"/>
                    <a:pt x="105527" y="114519"/>
                  </a:cubicBezTo>
                  <a:cubicBezTo>
                    <a:pt x="105527" y="121955"/>
                    <a:pt x="109953" y="127444"/>
                    <a:pt x="117212" y="128329"/>
                  </a:cubicBezTo>
                  <a:cubicBezTo>
                    <a:pt x="123763" y="129037"/>
                    <a:pt x="129252" y="124611"/>
                    <a:pt x="130491" y="117352"/>
                  </a:cubicBezTo>
                  <a:cubicBezTo>
                    <a:pt x="130845" y="115404"/>
                    <a:pt x="131022" y="113457"/>
                    <a:pt x="131022" y="111332"/>
                  </a:cubicBezTo>
                  <a:cubicBezTo>
                    <a:pt x="131908" y="87962"/>
                    <a:pt x="126950" y="66184"/>
                    <a:pt x="114202" y="46532"/>
                  </a:cubicBezTo>
                  <a:cubicBezTo>
                    <a:pt x="100747" y="25994"/>
                    <a:pt x="81979" y="12361"/>
                    <a:pt x="58608" y="4925"/>
                  </a:cubicBezTo>
                  <a:cubicBezTo>
                    <a:pt x="47454" y="1384"/>
                    <a:pt x="36123" y="-564"/>
                    <a:pt x="22313" y="144"/>
                  </a:cubicBezTo>
                  <a:cubicBezTo>
                    <a:pt x="20011" y="144"/>
                    <a:pt x="15585" y="-33"/>
                    <a:pt x="10982" y="144"/>
                  </a:cubicBezTo>
                  <a:cubicBezTo>
                    <a:pt x="4785" y="498"/>
                    <a:pt x="-172" y="6695"/>
                    <a:pt x="5" y="13069"/>
                  </a:cubicBezTo>
                  <a:cubicBezTo>
                    <a:pt x="359" y="19443"/>
                    <a:pt x="5493" y="24577"/>
                    <a:pt x="11690" y="24577"/>
                  </a:cubicBezTo>
                  <a:close/>
                </a:path>
              </a:pathLst>
            </a:custGeom>
            <a:solidFill>
              <a:srgbClr val="3F3F3F"/>
            </a:solidFill>
            <a:ln w="1745" cap="flat">
              <a:noFill/>
              <a:prstDash val="solid"/>
              <a:miter/>
            </a:ln>
          </p:spPr>
          <p:txBody>
            <a:bodyPr rtlCol="0" anchor="ctr"/>
            <a:lstStyle/>
            <a:p>
              <a:pPr defTabSz="1219170"/>
              <a:endParaRPr lang="en-US" sz="2400">
                <a:solidFill>
                  <a:srgbClr val="102B62"/>
                </a:solidFill>
                <a:latin typeface="Arial"/>
              </a:endParaRPr>
            </a:p>
          </p:txBody>
        </p:sp>
        <p:sp>
          <p:nvSpPr>
            <p:cNvPr id="74" name="Freeform: Shape 73">
              <a:extLst>
                <a:ext uri="{FF2B5EF4-FFF2-40B4-BE49-F238E27FC236}">
                  <a16:creationId xmlns:a16="http://schemas.microsoft.com/office/drawing/2014/main" id="{2348F785-76C7-40A4-81AE-B2A93BE3D27B}"/>
                </a:ext>
              </a:extLst>
            </p:cNvPr>
            <p:cNvSpPr/>
            <p:nvPr/>
          </p:nvSpPr>
          <p:spPr>
            <a:xfrm>
              <a:off x="1243787" y="2708971"/>
              <a:ext cx="102088" cy="100168"/>
            </a:xfrm>
            <a:custGeom>
              <a:avLst/>
              <a:gdLst>
                <a:gd name="connsiteX0" fmla="*/ 12590 w 102088"/>
                <a:gd name="connsiteY0" fmla="*/ 25257 h 100168"/>
                <a:gd name="connsiteX1" fmla="*/ 20204 w 102088"/>
                <a:gd name="connsiteY1" fmla="*/ 25257 h 100168"/>
                <a:gd name="connsiteX2" fmla="*/ 45699 w 102088"/>
                <a:gd name="connsiteY2" fmla="*/ 30038 h 100168"/>
                <a:gd name="connsiteX3" fmla="*/ 75621 w 102088"/>
                <a:gd name="connsiteY3" fmla="*/ 68104 h 100168"/>
                <a:gd name="connsiteX4" fmla="*/ 76683 w 102088"/>
                <a:gd name="connsiteY4" fmla="*/ 87933 h 100168"/>
                <a:gd name="connsiteX5" fmla="*/ 88545 w 102088"/>
                <a:gd name="connsiteY5" fmla="*/ 100150 h 100168"/>
                <a:gd name="connsiteX6" fmla="*/ 101470 w 102088"/>
                <a:gd name="connsiteY6" fmla="*/ 89527 h 100168"/>
                <a:gd name="connsiteX7" fmla="*/ 91555 w 102088"/>
                <a:gd name="connsiteY7" fmla="*/ 39598 h 100168"/>
                <a:gd name="connsiteX8" fmla="*/ 11174 w 102088"/>
                <a:gd name="connsiteY8" fmla="*/ 647 h 100168"/>
                <a:gd name="connsiteX9" fmla="*/ 20 w 102088"/>
                <a:gd name="connsiteY9" fmla="*/ 13749 h 100168"/>
                <a:gd name="connsiteX10" fmla="*/ 12590 w 102088"/>
                <a:gd name="connsiteY10" fmla="*/ 25257 h 100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088" h="100168">
                  <a:moveTo>
                    <a:pt x="12590" y="25257"/>
                  </a:moveTo>
                  <a:cubicBezTo>
                    <a:pt x="15069" y="25257"/>
                    <a:pt x="17725" y="25257"/>
                    <a:pt x="20204" y="25257"/>
                  </a:cubicBezTo>
                  <a:cubicBezTo>
                    <a:pt x="29056" y="24549"/>
                    <a:pt x="37732" y="26497"/>
                    <a:pt x="45699" y="30038"/>
                  </a:cubicBezTo>
                  <a:cubicBezTo>
                    <a:pt x="62165" y="37474"/>
                    <a:pt x="72434" y="50398"/>
                    <a:pt x="75621" y="68104"/>
                  </a:cubicBezTo>
                  <a:cubicBezTo>
                    <a:pt x="76860" y="74654"/>
                    <a:pt x="76329" y="81382"/>
                    <a:pt x="76683" y="87933"/>
                  </a:cubicBezTo>
                  <a:cubicBezTo>
                    <a:pt x="77037" y="94661"/>
                    <a:pt x="81994" y="99619"/>
                    <a:pt x="88545" y="100150"/>
                  </a:cubicBezTo>
                  <a:cubicBezTo>
                    <a:pt x="94742" y="100504"/>
                    <a:pt x="100585" y="95723"/>
                    <a:pt x="101470" y="89527"/>
                  </a:cubicBezTo>
                  <a:cubicBezTo>
                    <a:pt x="103595" y="71822"/>
                    <a:pt x="100231" y="55179"/>
                    <a:pt x="91555" y="39598"/>
                  </a:cubicBezTo>
                  <a:cubicBezTo>
                    <a:pt x="76152" y="11978"/>
                    <a:pt x="44105" y="-3425"/>
                    <a:pt x="11174" y="647"/>
                  </a:cubicBezTo>
                  <a:cubicBezTo>
                    <a:pt x="4092" y="1532"/>
                    <a:pt x="-334" y="6844"/>
                    <a:pt x="20" y="13749"/>
                  </a:cubicBezTo>
                  <a:cubicBezTo>
                    <a:pt x="374" y="20123"/>
                    <a:pt x="6040" y="25257"/>
                    <a:pt x="12590" y="25257"/>
                  </a:cubicBezTo>
                  <a:close/>
                </a:path>
              </a:pathLst>
            </a:custGeom>
            <a:solidFill>
              <a:srgbClr val="3F3F3F"/>
            </a:solidFill>
            <a:ln w="1745" cap="flat">
              <a:noFill/>
              <a:prstDash val="solid"/>
              <a:miter/>
            </a:ln>
          </p:spPr>
          <p:txBody>
            <a:bodyPr rtlCol="0" anchor="ctr"/>
            <a:lstStyle/>
            <a:p>
              <a:pPr defTabSz="1219170"/>
              <a:endParaRPr lang="en-US" sz="2400">
                <a:solidFill>
                  <a:srgbClr val="102B62"/>
                </a:solidFill>
                <a:latin typeface="Arial"/>
              </a:endParaRPr>
            </a:p>
          </p:txBody>
        </p:sp>
        <p:sp>
          <p:nvSpPr>
            <p:cNvPr id="75" name="Freeform: Shape 74">
              <a:extLst>
                <a:ext uri="{FF2B5EF4-FFF2-40B4-BE49-F238E27FC236}">
                  <a16:creationId xmlns:a16="http://schemas.microsoft.com/office/drawing/2014/main" id="{77E51813-2D2E-4C61-AF7F-2CA73FCBD5CA}"/>
                </a:ext>
              </a:extLst>
            </p:cNvPr>
            <p:cNvSpPr/>
            <p:nvPr/>
          </p:nvSpPr>
          <p:spPr>
            <a:xfrm>
              <a:off x="1234164" y="2746689"/>
              <a:ext cx="73735" cy="71990"/>
            </a:xfrm>
            <a:custGeom>
              <a:avLst/>
              <a:gdLst>
                <a:gd name="connsiteX0" fmla="*/ 14246 w 73735"/>
                <a:gd name="connsiteY0" fmla="*/ 25252 h 71990"/>
                <a:gd name="connsiteX1" fmla="*/ 46115 w 73735"/>
                <a:gd name="connsiteY1" fmla="*/ 44196 h 71990"/>
                <a:gd name="connsiteX2" fmla="*/ 47886 w 73735"/>
                <a:gd name="connsiteY2" fmla="*/ 59422 h 71990"/>
                <a:gd name="connsiteX3" fmla="*/ 55499 w 73735"/>
                <a:gd name="connsiteY3" fmla="*/ 71108 h 71990"/>
                <a:gd name="connsiteX4" fmla="*/ 70017 w 73735"/>
                <a:gd name="connsiteY4" fmla="*/ 67036 h 71990"/>
                <a:gd name="connsiteX5" fmla="*/ 73735 w 73735"/>
                <a:gd name="connsiteY5" fmla="*/ 55173 h 71990"/>
                <a:gd name="connsiteX6" fmla="*/ 70017 w 73735"/>
                <a:gd name="connsiteY6" fmla="*/ 36937 h 71990"/>
                <a:gd name="connsiteX7" fmla="*/ 12653 w 73735"/>
                <a:gd name="connsiteY7" fmla="*/ 110 h 71990"/>
                <a:gd name="connsiteX8" fmla="*/ 82 w 73735"/>
                <a:gd name="connsiteY8" fmla="*/ 11442 h 71990"/>
                <a:gd name="connsiteX9" fmla="*/ 14246 w 73735"/>
                <a:gd name="connsiteY9" fmla="*/ 25252 h 71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735" h="71990">
                  <a:moveTo>
                    <a:pt x="14246" y="25252"/>
                  </a:moveTo>
                  <a:cubicBezTo>
                    <a:pt x="28587" y="24189"/>
                    <a:pt x="41866" y="30563"/>
                    <a:pt x="46115" y="44196"/>
                  </a:cubicBezTo>
                  <a:cubicBezTo>
                    <a:pt x="47532" y="48976"/>
                    <a:pt x="47532" y="54288"/>
                    <a:pt x="47886" y="59422"/>
                  </a:cubicBezTo>
                  <a:cubicBezTo>
                    <a:pt x="48240" y="64557"/>
                    <a:pt x="51250" y="69514"/>
                    <a:pt x="55499" y="71108"/>
                  </a:cubicBezTo>
                  <a:cubicBezTo>
                    <a:pt x="60988" y="73055"/>
                    <a:pt x="67361" y="71816"/>
                    <a:pt x="70017" y="67036"/>
                  </a:cubicBezTo>
                  <a:cubicBezTo>
                    <a:pt x="72142" y="63495"/>
                    <a:pt x="72673" y="58891"/>
                    <a:pt x="73735" y="55173"/>
                  </a:cubicBezTo>
                  <a:cubicBezTo>
                    <a:pt x="72496" y="48622"/>
                    <a:pt x="71965" y="42603"/>
                    <a:pt x="70017" y="36937"/>
                  </a:cubicBezTo>
                  <a:cubicBezTo>
                    <a:pt x="61165" y="10910"/>
                    <a:pt x="37440" y="-1306"/>
                    <a:pt x="12653" y="110"/>
                  </a:cubicBezTo>
                  <a:cubicBezTo>
                    <a:pt x="5925" y="464"/>
                    <a:pt x="613" y="5422"/>
                    <a:pt x="82" y="11442"/>
                  </a:cubicBezTo>
                  <a:cubicBezTo>
                    <a:pt x="-803" y="19763"/>
                    <a:pt x="5571" y="25960"/>
                    <a:pt x="14246" y="25252"/>
                  </a:cubicBezTo>
                  <a:close/>
                </a:path>
              </a:pathLst>
            </a:custGeom>
            <a:solidFill>
              <a:srgbClr val="3F3F3F"/>
            </a:solidFill>
            <a:ln w="1745" cap="flat">
              <a:noFill/>
              <a:prstDash val="solid"/>
              <a:miter/>
            </a:ln>
          </p:spPr>
          <p:txBody>
            <a:bodyPr rtlCol="0" anchor="ctr"/>
            <a:lstStyle/>
            <a:p>
              <a:pPr defTabSz="1219170"/>
              <a:endParaRPr lang="en-US" sz="2400">
                <a:solidFill>
                  <a:srgbClr val="102B62"/>
                </a:solidFill>
                <a:latin typeface="Arial"/>
              </a:endParaRPr>
            </a:p>
          </p:txBody>
        </p:sp>
      </p:grpSp>
      <p:grpSp>
        <p:nvGrpSpPr>
          <p:cNvPr id="76" name="Graphic 25">
            <a:extLst>
              <a:ext uri="{FF2B5EF4-FFF2-40B4-BE49-F238E27FC236}">
                <a16:creationId xmlns:a16="http://schemas.microsoft.com/office/drawing/2014/main" id="{6A41598C-5A14-4D7E-869E-A489C8378477}"/>
              </a:ext>
            </a:extLst>
          </p:cNvPr>
          <p:cNvGrpSpPr/>
          <p:nvPr/>
        </p:nvGrpSpPr>
        <p:grpSpPr>
          <a:xfrm>
            <a:off x="7889239" y="2651443"/>
            <a:ext cx="932272" cy="590708"/>
            <a:chOff x="5916929" y="1988582"/>
            <a:chExt cx="699204" cy="443031"/>
          </a:xfrm>
          <a:solidFill>
            <a:srgbClr val="3F3F3F"/>
          </a:solidFill>
        </p:grpSpPr>
        <p:sp>
          <p:nvSpPr>
            <p:cNvPr id="77" name="Freeform: Shape 76">
              <a:extLst>
                <a:ext uri="{FF2B5EF4-FFF2-40B4-BE49-F238E27FC236}">
                  <a16:creationId xmlns:a16="http://schemas.microsoft.com/office/drawing/2014/main" id="{FA6BC6C3-C1B0-4047-AED1-A7F0A6957590}"/>
                </a:ext>
              </a:extLst>
            </p:cNvPr>
            <p:cNvSpPr/>
            <p:nvPr/>
          </p:nvSpPr>
          <p:spPr>
            <a:xfrm>
              <a:off x="5916929" y="2084073"/>
              <a:ext cx="108923" cy="163084"/>
            </a:xfrm>
            <a:custGeom>
              <a:avLst/>
              <a:gdLst>
                <a:gd name="connsiteX0" fmla="*/ 108812 w 108923"/>
                <a:gd name="connsiteY0" fmla="*/ 81738 h 163084"/>
                <a:gd name="connsiteX1" fmla="*/ 108812 w 108923"/>
                <a:gd name="connsiteY1" fmla="*/ 159451 h 163084"/>
                <a:gd name="connsiteX2" fmla="*/ 105122 w 108923"/>
                <a:gd name="connsiteY2" fmla="*/ 163085 h 163084"/>
                <a:gd name="connsiteX3" fmla="*/ 37473 w 108923"/>
                <a:gd name="connsiteY3" fmla="*/ 163085 h 163084"/>
                <a:gd name="connsiteX4" fmla="*/ 1468 w 108923"/>
                <a:gd name="connsiteY4" fmla="*/ 135745 h 163084"/>
                <a:gd name="connsiteX5" fmla="*/ 70 w 108923"/>
                <a:gd name="connsiteY5" fmla="*/ 125291 h 163084"/>
                <a:gd name="connsiteX6" fmla="*/ 14 w 108923"/>
                <a:gd name="connsiteY6" fmla="*/ 44223 h 163084"/>
                <a:gd name="connsiteX7" fmla="*/ 29757 w 108923"/>
                <a:gd name="connsiteY7" fmla="*/ 2572 h 163084"/>
                <a:gd name="connsiteX8" fmla="*/ 43399 w 108923"/>
                <a:gd name="connsiteY8" fmla="*/ 168 h 163084"/>
                <a:gd name="connsiteX9" fmla="*/ 105457 w 108923"/>
                <a:gd name="connsiteY9" fmla="*/ 0 h 163084"/>
                <a:gd name="connsiteX10" fmla="*/ 108924 w 108923"/>
                <a:gd name="connsiteY10" fmla="*/ 3466 h 163084"/>
                <a:gd name="connsiteX11" fmla="*/ 108812 w 108923"/>
                <a:gd name="connsiteY11" fmla="*/ 81738 h 163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8923" h="163084">
                  <a:moveTo>
                    <a:pt x="108812" y="81738"/>
                  </a:moveTo>
                  <a:cubicBezTo>
                    <a:pt x="108812" y="107624"/>
                    <a:pt x="108812" y="133565"/>
                    <a:pt x="108812" y="159451"/>
                  </a:cubicBezTo>
                  <a:cubicBezTo>
                    <a:pt x="108812" y="163085"/>
                    <a:pt x="108812" y="163085"/>
                    <a:pt x="105122" y="163085"/>
                  </a:cubicBezTo>
                  <a:cubicBezTo>
                    <a:pt x="82591" y="163085"/>
                    <a:pt x="60004" y="163085"/>
                    <a:pt x="37473" y="163085"/>
                  </a:cubicBezTo>
                  <a:cubicBezTo>
                    <a:pt x="21036" y="163085"/>
                    <a:pt x="5884" y="151623"/>
                    <a:pt x="1468" y="135745"/>
                  </a:cubicBezTo>
                  <a:cubicBezTo>
                    <a:pt x="517" y="132391"/>
                    <a:pt x="70" y="128813"/>
                    <a:pt x="70" y="125291"/>
                  </a:cubicBezTo>
                  <a:cubicBezTo>
                    <a:pt x="-42" y="98287"/>
                    <a:pt x="14" y="71227"/>
                    <a:pt x="14" y="44223"/>
                  </a:cubicBezTo>
                  <a:cubicBezTo>
                    <a:pt x="14" y="25326"/>
                    <a:pt x="12146" y="8610"/>
                    <a:pt x="29757" y="2572"/>
                  </a:cubicBezTo>
                  <a:cubicBezTo>
                    <a:pt x="34062" y="1062"/>
                    <a:pt x="38814" y="224"/>
                    <a:pt x="43399" y="168"/>
                  </a:cubicBezTo>
                  <a:cubicBezTo>
                    <a:pt x="64085" y="-56"/>
                    <a:pt x="84771" y="112"/>
                    <a:pt x="105457" y="0"/>
                  </a:cubicBezTo>
                  <a:cubicBezTo>
                    <a:pt x="108141" y="0"/>
                    <a:pt x="108924" y="783"/>
                    <a:pt x="108924" y="3466"/>
                  </a:cubicBezTo>
                  <a:cubicBezTo>
                    <a:pt x="108812" y="29576"/>
                    <a:pt x="108812" y="55629"/>
                    <a:pt x="108812" y="81738"/>
                  </a:cubicBezTo>
                  <a:close/>
                </a:path>
              </a:pathLst>
            </a:custGeom>
            <a:solidFill>
              <a:srgbClr val="3F3F3F"/>
            </a:solidFill>
            <a:ln w="556" cap="flat">
              <a:noFill/>
              <a:prstDash val="solid"/>
              <a:miter/>
            </a:ln>
          </p:spPr>
          <p:txBody>
            <a:bodyPr rtlCol="0" anchor="ctr"/>
            <a:lstStyle/>
            <a:p>
              <a:pPr defTabSz="1219170"/>
              <a:endParaRPr lang="en-US" sz="2400">
                <a:solidFill>
                  <a:srgbClr val="102B62"/>
                </a:solidFill>
                <a:latin typeface="Arial"/>
              </a:endParaRPr>
            </a:p>
          </p:txBody>
        </p:sp>
        <p:sp>
          <p:nvSpPr>
            <p:cNvPr id="78" name="Freeform: Shape 77">
              <a:extLst>
                <a:ext uri="{FF2B5EF4-FFF2-40B4-BE49-F238E27FC236}">
                  <a16:creationId xmlns:a16="http://schemas.microsoft.com/office/drawing/2014/main" id="{345F9581-C904-4CFA-94C3-3661D51A442C}"/>
                </a:ext>
              </a:extLst>
            </p:cNvPr>
            <p:cNvSpPr/>
            <p:nvPr/>
          </p:nvSpPr>
          <p:spPr>
            <a:xfrm>
              <a:off x="6340896" y="1988582"/>
              <a:ext cx="53112" cy="339083"/>
            </a:xfrm>
            <a:custGeom>
              <a:avLst/>
              <a:gdLst>
                <a:gd name="connsiteX0" fmla="*/ 0 w 53112"/>
                <a:gd name="connsiteY0" fmla="*/ 169570 h 339083"/>
                <a:gd name="connsiteX1" fmla="*/ 0 w 53112"/>
                <a:gd name="connsiteY1" fmla="*/ 5759 h 339083"/>
                <a:gd name="connsiteX2" fmla="*/ 56 w 53112"/>
                <a:gd name="connsiteY2" fmla="*/ 2404 h 339083"/>
                <a:gd name="connsiteX3" fmla="*/ 2460 w 53112"/>
                <a:gd name="connsiteY3" fmla="*/ 0 h 339083"/>
                <a:gd name="connsiteX4" fmla="*/ 26501 w 53112"/>
                <a:gd name="connsiteY4" fmla="*/ 0 h 339083"/>
                <a:gd name="connsiteX5" fmla="*/ 28681 w 53112"/>
                <a:gd name="connsiteY5" fmla="*/ 2740 h 339083"/>
                <a:gd name="connsiteX6" fmla="*/ 28681 w 53112"/>
                <a:gd name="connsiteY6" fmla="*/ 29016 h 339083"/>
                <a:gd name="connsiteX7" fmla="*/ 28681 w 53112"/>
                <a:gd name="connsiteY7" fmla="*/ 113718 h 339083"/>
                <a:gd name="connsiteX8" fmla="*/ 32315 w 53112"/>
                <a:gd name="connsiteY8" fmla="*/ 117296 h 339083"/>
                <a:gd name="connsiteX9" fmla="*/ 50988 w 53112"/>
                <a:gd name="connsiteY9" fmla="*/ 127862 h 339083"/>
                <a:gd name="connsiteX10" fmla="*/ 53001 w 53112"/>
                <a:gd name="connsiteY10" fmla="*/ 136416 h 339083"/>
                <a:gd name="connsiteX11" fmla="*/ 52722 w 53112"/>
                <a:gd name="connsiteY11" fmla="*/ 159562 h 339083"/>
                <a:gd name="connsiteX12" fmla="*/ 53113 w 53112"/>
                <a:gd name="connsiteY12" fmla="*/ 202500 h 339083"/>
                <a:gd name="connsiteX13" fmla="*/ 41875 w 53112"/>
                <a:gd name="connsiteY13" fmla="*/ 220502 h 339083"/>
                <a:gd name="connsiteX14" fmla="*/ 32147 w 53112"/>
                <a:gd name="connsiteY14" fmla="*/ 222403 h 339083"/>
                <a:gd name="connsiteX15" fmla="*/ 28681 w 53112"/>
                <a:gd name="connsiteY15" fmla="*/ 225926 h 339083"/>
                <a:gd name="connsiteX16" fmla="*/ 28737 w 53112"/>
                <a:gd name="connsiteY16" fmla="*/ 334947 h 339083"/>
                <a:gd name="connsiteX17" fmla="*/ 24712 w 53112"/>
                <a:gd name="connsiteY17" fmla="*/ 339084 h 339083"/>
                <a:gd name="connsiteX18" fmla="*/ 4584 w 53112"/>
                <a:gd name="connsiteY18" fmla="*/ 339084 h 339083"/>
                <a:gd name="connsiteX19" fmla="*/ 112 w 53112"/>
                <a:gd name="connsiteY19" fmla="*/ 334667 h 339083"/>
                <a:gd name="connsiteX20" fmla="*/ 112 w 53112"/>
                <a:gd name="connsiteY20" fmla="*/ 225087 h 339083"/>
                <a:gd name="connsiteX21" fmla="*/ 0 w 53112"/>
                <a:gd name="connsiteY21" fmla="*/ 169570 h 339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3112" h="339083">
                  <a:moveTo>
                    <a:pt x="0" y="169570"/>
                  </a:moveTo>
                  <a:cubicBezTo>
                    <a:pt x="0" y="114948"/>
                    <a:pt x="0" y="60381"/>
                    <a:pt x="0" y="5759"/>
                  </a:cubicBezTo>
                  <a:cubicBezTo>
                    <a:pt x="0" y="4640"/>
                    <a:pt x="0" y="3522"/>
                    <a:pt x="56" y="2404"/>
                  </a:cubicBezTo>
                  <a:cubicBezTo>
                    <a:pt x="56" y="839"/>
                    <a:pt x="783" y="0"/>
                    <a:pt x="2460" y="0"/>
                  </a:cubicBezTo>
                  <a:cubicBezTo>
                    <a:pt x="10455" y="56"/>
                    <a:pt x="18506" y="56"/>
                    <a:pt x="26501" y="0"/>
                  </a:cubicBezTo>
                  <a:cubicBezTo>
                    <a:pt x="28513" y="0"/>
                    <a:pt x="28681" y="1174"/>
                    <a:pt x="28681" y="2740"/>
                  </a:cubicBezTo>
                  <a:cubicBezTo>
                    <a:pt x="28681" y="11517"/>
                    <a:pt x="28681" y="20239"/>
                    <a:pt x="28681" y="29016"/>
                  </a:cubicBezTo>
                  <a:cubicBezTo>
                    <a:pt x="28681" y="57250"/>
                    <a:pt x="28681" y="85484"/>
                    <a:pt x="28681" y="113718"/>
                  </a:cubicBezTo>
                  <a:cubicBezTo>
                    <a:pt x="28681" y="117352"/>
                    <a:pt x="28681" y="117519"/>
                    <a:pt x="32315" y="117296"/>
                  </a:cubicBezTo>
                  <a:cubicBezTo>
                    <a:pt x="40869" y="116792"/>
                    <a:pt x="47131" y="120371"/>
                    <a:pt x="50988" y="127862"/>
                  </a:cubicBezTo>
                  <a:cubicBezTo>
                    <a:pt x="52274" y="130434"/>
                    <a:pt x="52945" y="133509"/>
                    <a:pt x="53001" y="136416"/>
                  </a:cubicBezTo>
                  <a:cubicBezTo>
                    <a:pt x="53169" y="144132"/>
                    <a:pt x="52666" y="151847"/>
                    <a:pt x="52722" y="159562"/>
                  </a:cubicBezTo>
                  <a:cubicBezTo>
                    <a:pt x="52778" y="173875"/>
                    <a:pt x="53113" y="188187"/>
                    <a:pt x="53113" y="202500"/>
                  </a:cubicBezTo>
                  <a:cubicBezTo>
                    <a:pt x="53113" y="210718"/>
                    <a:pt x="49479" y="217148"/>
                    <a:pt x="41875" y="220502"/>
                  </a:cubicBezTo>
                  <a:cubicBezTo>
                    <a:pt x="38912" y="221788"/>
                    <a:pt x="35446" y="222236"/>
                    <a:pt x="32147" y="222403"/>
                  </a:cubicBezTo>
                  <a:cubicBezTo>
                    <a:pt x="29464" y="222571"/>
                    <a:pt x="28681" y="223298"/>
                    <a:pt x="28681" y="225926"/>
                  </a:cubicBezTo>
                  <a:cubicBezTo>
                    <a:pt x="28737" y="262266"/>
                    <a:pt x="28737" y="298606"/>
                    <a:pt x="28737" y="334947"/>
                  </a:cubicBezTo>
                  <a:cubicBezTo>
                    <a:pt x="28737" y="339084"/>
                    <a:pt x="28737" y="339084"/>
                    <a:pt x="24712" y="339084"/>
                  </a:cubicBezTo>
                  <a:cubicBezTo>
                    <a:pt x="18003" y="339084"/>
                    <a:pt x="11294" y="339084"/>
                    <a:pt x="4584" y="339084"/>
                  </a:cubicBezTo>
                  <a:cubicBezTo>
                    <a:pt x="112" y="339084"/>
                    <a:pt x="112" y="339084"/>
                    <a:pt x="112" y="334667"/>
                  </a:cubicBezTo>
                  <a:cubicBezTo>
                    <a:pt x="112" y="298159"/>
                    <a:pt x="112" y="261595"/>
                    <a:pt x="112" y="225087"/>
                  </a:cubicBezTo>
                  <a:cubicBezTo>
                    <a:pt x="0" y="206637"/>
                    <a:pt x="0" y="188076"/>
                    <a:pt x="0" y="169570"/>
                  </a:cubicBezTo>
                  <a:close/>
                </a:path>
              </a:pathLst>
            </a:custGeom>
            <a:solidFill>
              <a:srgbClr val="3F3F3F"/>
            </a:solidFill>
            <a:ln w="556" cap="flat">
              <a:noFill/>
              <a:prstDash val="solid"/>
              <a:miter/>
            </a:ln>
          </p:spPr>
          <p:txBody>
            <a:bodyPr rtlCol="0" anchor="ctr"/>
            <a:lstStyle/>
            <a:p>
              <a:pPr defTabSz="1219170"/>
              <a:endParaRPr lang="en-US" sz="2400">
                <a:solidFill>
                  <a:srgbClr val="102B62"/>
                </a:solidFill>
                <a:latin typeface="Arial"/>
              </a:endParaRPr>
            </a:p>
          </p:txBody>
        </p:sp>
        <p:sp>
          <p:nvSpPr>
            <p:cNvPr id="79" name="Freeform: Shape 78">
              <a:extLst>
                <a:ext uri="{FF2B5EF4-FFF2-40B4-BE49-F238E27FC236}">
                  <a16:creationId xmlns:a16="http://schemas.microsoft.com/office/drawing/2014/main" id="{C7EAA9A3-3F9E-4249-A180-4F5E7629C20F}"/>
                </a:ext>
              </a:extLst>
            </p:cNvPr>
            <p:cNvSpPr/>
            <p:nvPr/>
          </p:nvSpPr>
          <p:spPr>
            <a:xfrm>
              <a:off x="5939064" y="2258898"/>
              <a:ext cx="100300" cy="172714"/>
            </a:xfrm>
            <a:custGeom>
              <a:avLst/>
              <a:gdLst>
                <a:gd name="connsiteX0" fmla="*/ 75 w 100300"/>
                <a:gd name="connsiteY0" fmla="*/ 0 h 172714"/>
                <a:gd name="connsiteX1" fmla="*/ 5330 w 100300"/>
                <a:gd name="connsiteY1" fmla="*/ 1621 h 172714"/>
                <a:gd name="connsiteX2" fmla="*/ 16288 w 100300"/>
                <a:gd name="connsiteY2" fmla="*/ 3019 h 172714"/>
                <a:gd name="connsiteX3" fmla="*/ 66885 w 100300"/>
                <a:gd name="connsiteY3" fmla="*/ 3019 h 172714"/>
                <a:gd name="connsiteX4" fmla="*/ 71078 w 100300"/>
                <a:gd name="connsiteY4" fmla="*/ 6485 h 172714"/>
                <a:gd name="connsiteX5" fmla="*/ 76669 w 100300"/>
                <a:gd name="connsiteY5" fmla="*/ 36285 h 172714"/>
                <a:gd name="connsiteX6" fmla="*/ 82763 w 100300"/>
                <a:gd name="connsiteY6" fmla="*/ 66587 h 172714"/>
                <a:gd name="connsiteX7" fmla="*/ 88410 w 100300"/>
                <a:gd name="connsiteY7" fmla="*/ 96106 h 172714"/>
                <a:gd name="connsiteX8" fmla="*/ 94672 w 100300"/>
                <a:gd name="connsiteY8" fmla="*/ 126912 h 172714"/>
                <a:gd name="connsiteX9" fmla="*/ 99759 w 100300"/>
                <a:gd name="connsiteY9" fmla="*/ 153133 h 172714"/>
                <a:gd name="connsiteX10" fmla="*/ 98585 w 100300"/>
                <a:gd name="connsiteY10" fmla="*/ 165377 h 172714"/>
                <a:gd name="connsiteX11" fmla="*/ 86229 w 100300"/>
                <a:gd name="connsiteY11" fmla="*/ 172645 h 172714"/>
                <a:gd name="connsiteX12" fmla="*/ 51846 w 100300"/>
                <a:gd name="connsiteY12" fmla="*/ 172701 h 172714"/>
                <a:gd name="connsiteX13" fmla="*/ 29986 w 100300"/>
                <a:gd name="connsiteY13" fmla="*/ 154642 h 172714"/>
                <a:gd name="connsiteX14" fmla="*/ 25904 w 100300"/>
                <a:gd name="connsiteY14" fmla="*/ 133565 h 172714"/>
                <a:gd name="connsiteX15" fmla="*/ 19139 w 100300"/>
                <a:gd name="connsiteY15" fmla="*/ 98399 h 172714"/>
                <a:gd name="connsiteX16" fmla="*/ 12430 w 100300"/>
                <a:gd name="connsiteY16" fmla="*/ 64295 h 172714"/>
                <a:gd name="connsiteX17" fmla="*/ 5721 w 100300"/>
                <a:gd name="connsiteY17" fmla="*/ 30190 h 172714"/>
                <a:gd name="connsiteX18" fmla="*/ 75 w 100300"/>
                <a:gd name="connsiteY18" fmla="*/ 2684 h 172714"/>
                <a:gd name="connsiteX19" fmla="*/ 75 w 100300"/>
                <a:gd name="connsiteY19" fmla="*/ 0 h 17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0300" h="172714">
                  <a:moveTo>
                    <a:pt x="75" y="0"/>
                  </a:moveTo>
                  <a:cubicBezTo>
                    <a:pt x="2031" y="615"/>
                    <a:pt x="3653" y="1342"/>
                    <a:pt x="5330" y="1621"/>
                  </a:cubicBezTo>
                  <a:cubicBezTo>
                    <a:pt x="8964" y="2236"/>
                    <a:pt x="12654" y="3019"/>
                    <a:pt x="16288" y="3019"/>
                  </a:cubicBezTo>
                  <a:cubicBezTo>
                    <a:pt x="33172" y="3187"/>
                    <a:pt x="50001" y="3131"/>
                    <a:pt x="66885" y="3019"/>
                  </a:cubicBezTo>
                  <a:cubicBezTo>
                    <a:pt x="69569" y="3019"/>
                    <a:pt x="70631" y="3802"/>
                    <a:pt x="71078" y="6485"/>
                  </a:cubicBezTo>
                  <a:cubicBezTo>
                    <a:pt x="72811" y="16437"/>
                    <a:pt x="74768" y="26389"/>
                    <a:pt x="76669" y="36285"/>
                  </a:cubicBezTo>
                  <a:cubicBezTo>
                    <a:pt x="78626" y="46404"/>
                    <a:pt x="80806" y="56467"/>
                    <a:pt x="82763" y="66587"/>
                  </a:cubicBezTo>
                  <a:cubicBezTo>
                    <a:pt x="84664" y="76427"/>
                    <a:pt x="86453" y="86267"/>
                    <a:pt x="88410" y="96106"/>
                  </a:cubicBezTo>
                  <a:cubicBezTo>
                    <a:pt x="90423" y="106394"/>
                    <a:pt x="92603" y="116625"/>
                    <a:pt x="94672" y="126912"/>
                  </a:cubicBezTo>
                  <a:cubicBezTo>
                    <a:pt x="96405" y="135634"/>
                    <a:pt x="98306" y="144355"/>
                    <a:pt x="99759" y="153133"/>
                  </a:cubicBezTo>
                  <a:cubicBezTo>
                    <a:pt x="100430" y="157214"/>
                    <a:pt x="100877" y="161407"/>
                    <a:pt x="98585" y="165377"/>
                  </a:cubicBezTo>
                  <a:cubicBezTo>
                    <a:pt x="95790" y="170129"/>
                    <a:pt x="91652" y="172645"/>
                    <a:pt x="86229" y="172645"/>
                  </a:cubicBezTo>
                  <a:cubicBezTo>
                    <a:pt x="74768" y="172757"/>
                    <a:pt x="63307" y="172701"/>
                    <a:pt x="51846" y="172701"/>
                  </a:cubicBezTo>
                  <a:cubicBezTo>
                    <a:pt x="41559" y="172701"/>
                    <a:pt x="31998" y="164762"/>
                    <a:pt x="29986" y="154642"/>
                  </a:cubicBezTo>
                  <a:cubicBezTo>
                    <a:pt x="28588" y="147654"/>
                    <a:pt x="27302" y="140609"/>
                    <a:pt x="25904" y="133565"/>
                  </a:cubicBezTo>
                  <a:cubicBezTo>
                    <a:pt x="23668" y="121824"/>
                    <a:pt x="21376" y="110084"/>
                    <a:pt x="19139" y="98399"/>
                  </a:cubicBezTo>
                  <a:cubicBezTo>
                    <a:pt x="16903" y="86993"/>
                    <a:pt x="14667" y="75644"/>
                    <a:pt x="12430" y="64295"/>
                  </a:cubicBezTo>
                  <a:cubicBezTo>
                    <a:pt x="10194" y="52889"/>
                    <a:pt x="8014" y="41540"/>
                    <a:pt x="5721" y="30190"/>
                  </a:cubicBezTo>
                  <a:cubicBezTo>
                    <a:pt x="3876" y="21022"/>
                    <a:pt x="1920" y="11853"/>
                    <a:pt x="75" y="2684"/>
                  </a:cubicBezTo>
                  <a:cubicBezTo>
                    <a:pt x="-93" y="1901"/>
                    <a:pt x="75" y="1062"/>
                    <a:pt x="75" y="0"/>
                  </a:cubicBezTo>
                  <a:close/>
                </a:path>
              </a:pathLst>
            </a:custGeom>
            <a:solidFill>
              <a:srgbClr val="3F3F3F"/>
            </a:solidFill>
            <a:ln w="556" cap="flat">
              <a:noFill/>
              <a:prstDash val="solid"/>
              <a:miter/>
            </a:ln>
          </p:spPr>
          <p:txBody>
            <a:bodyPr rtlCol="0" anchor="ctr"/>
            <a:lstStyle/>
            <a:p>
              <a:pPr defTabSz="1219170"/>
              <a:endParaRPr lang="en-US" sz="2400">
                <a:solidFill>
                  <a:srgbClr val="102B62"/>
                </a:solidFill>
                <a:latin typeface="Arial"/>
              </a:endParaRPr>
            </a:p>
          </p:txBody>
        </p:sp>
        <p:grpSp>
          <p:nvGrpSpPr>
            <p:cNvPr id="80" name="Graphic 25">
              <a:extLst>
                <a:ext uri="{FF2B5EF4-FFF2-40B4-BE49-F238E27FC236}">
                  <a16:creationId xmlns:a16="http://schemas.microsoft.com/office/drawing/2014/main" id="{6A41598C-5A14-4D7E-869E-A489C8378477}"/>
                </a:ext>
              </a:extLst>
            </p:cNvPr>
            <p:cNvGrpSpPr/>
            <p:nvPr/>
          </p:nvGrpSpPr>
          <p:grpSpPr>
            <a:xfrm>
              <a:off x="6448317" y="2004336"/>
              <a:ext cx="167815" cy="308124"/>
              <a:chOff x="6448317" y="2004336"/>
              <a:chExt cx="167815" cy="308124"/>
            </a:xfrm>
            <a:solidFill>
              <a:srgbClr val="3F3F3F"/>
            </a:solidFill>
          </p:grpSpPr>
          <p:sp>
            <p:nvSpPr>
              <p:cNvPr id="81" name="Freeform: Shape 80">
                <a:extLst>
                  <a:ext uri="{FF2B5EF4-FFF2-40B4-BE49-F238E27FC236}">
                    <a16:creationId xmlns:a16="http://schemas.microsoft.com/office/drawing/2014/main" id="{81EF6D4D-3737-4A71-A423-E7F67EB068B1}"/>
                  </a:ext>
                </a:extLst>
              </p:cNvPr>
              <p:cNvSpPr/>
              <p:nvPr/>
            </p:nvSpPr>
            <p:spPr>
              <a:xfrm>
                <a:off x="6518231" y="2004336"/>
                <a:ext cx="97902" cy="308124"/>
              </a:xfrm>
              <a:custGeom>
                <a:avLst/>
                <a:gdLst>
                  <a:gd name="connsiteX0" fmla="*/ 97902 w 97902"/>
                  <a:gd name="connsiteY0" fmla="*/ 173103 h 308124"/>
                  <a:gd name="connsiteX1" fmla="*/ 96672 w 97902"/>
                  <a:gd name="connsiteY1" fmla="*/ 190100 h 308124"/>
                  <a:gd name="connsiteX2" fmla="*/ 96169 w 97902"/>
                  <a:gd name="connsiteY2" fmla="*/ 197759 h 308124"/>
                  <a:gd name="connsiteX3" fmla="*/ 93765 w 97902"/>
                  <a:gd name="connsiteY3" fmla="*/ 213078 h 308124"/>
                  <a:gd name="connsiteX4" fmla="*/ 91361 w 97902"/>
                  <a:gd name="connsiteY4" fmla="*/ 224763 h 308124"/>
                  <a:gd name="connsiteX5" fmla="*/ 81186 w 97902"/>
                  <a:gd name="connsiteY5" fmla="*/ 255792 h 308124"/>
                  <a:gd name="connsiteX6" fmla="*/ 63183 w 97902"/>
                  <a:gd name="connsiteY6" fmla="*/ 290064 h 308124"/>
                  <a:gd name="connsiteX7" fmla="*/ 52896 w 97902"/>
                  <a:gd name="connsiteY7" fmla="*/ 304600 h 308124"/>
                  <a:gd name="connsiteX8" fmla="*/ 39087 w 97902"/>
                  <a:gd name="connsiteY8" fmla="*/ 303370 h 308124"/>
                  <a:gd name="connsiteX9" fmla="*/ 40149 w 97902"/>
                  <a:gd name="connsiteY9" fmla="*/ 294760 h 308124"/>
                  <a:gd name="connsiteX10" fmla="*/ 51722 w 97902"/>
                  <a:gd name="connsiteY10" fmla="*/ 277931 h 308124"/>
                  <a:gd name="connsiteX11" fmla="*/ 67041 w 97902"/>
                  <a:gd name="connsiteY11" fmla="*/ 247573 h 308124"/>
                  <a:gd name="connsiteX12" fmla="*/ 73694 w 97902"/>
                  <a:gd name="connsiteY12" fmla="*/ 228453 h 308124"/>
                  <a:gd name="connsiteX13" fmla="*/ 77160 w 97902"/>
                  <a:gd name="connsiteY13" fmla="*/ 214308 h 308124"/>
                  <a:gd name="connsiteX14" fmla="*/ 79732 w 97902"/>
                  <a:gd name="connsiteY14" fmla="*/ 200387 h 308124"/>
                  <a:gd name="connsiteX15" fmla="*/ 81130 w 97902"/>
                  <a:gd name="connsiteY15" fmla="*/ 183782 h 308124"/>
                  <a:gd name="connsiteX16" fmla="*/ 81130 w 97902"/>
                  <a:gd name="connsiteY16" fmla="*/ 162816 h 308124"/>
                  <a:gd name="connsiteX17" fmla="*/ 79005 w 97902"/>
                  <a:gd name="connsiteY17" fmla="*/ 142466 h 308124"/>
                  <a:gd name="connsiteX18" fmla="*/ 74756 w 97902"/>
                  <a:gd name="connsiteY18" fmla="*/ 121835 h 308124"/>
                  <a:gd name="connsiteX19" fmla="*/ 68383 w 97902"/>
                  <a:gd name="connsiteY19" fmla="*/ 102100 h 308124"/>
                  <a:gd name="connsiteX20" fmla="*/ 57481 w 97902"/>
                  <a:gd name="connsiteY20" fmla="*/ 78171 h 308124"/>
                  <a:gd name="connsiteX21" fmla="*/ 42329 w 97902"/>
                  <a:gd name="connsiteY21" fmla="*/ 54298 h 308124"/>
                  <a:gd name="connsiteX22" fmla="*/ 13033 w 97902"/>
                  <a:gd name="connsiteY22" fmla="*/ 22598 h 308124"/>
                  <a:gd name="connsiteX23" fmla="*/ 3641 w 97902"/>
                  <a:gd name="connsiteY23" fmla="*/ 14939 h 308124"/>
                  <a:gd name="connsiteX24" fmla="*/ 4703 w 97902"/>
                  <a:gd name="connsiteY24" fmla="*/ 850 h 308124"/>
                  <a:gd name="connsiteX25" fmla="*/ 12922 w 97902"/>
                  <a:gd name="connsiteY25" fmla="*/ 1688 h 308124"/>
                  <a:gd name="connsiteX26" fmla="*/ 44454 w 97902"/>
                  <a:gd name="connsiteY26" fmla="*/ 31152 h 308124"/>
                  <a:gd name="connsiteX27" fmla="*/ 68662 w 97902"/>
                  <a:gd name="connsiteY27" fmla="*/ 65033 h 308124"/>
                  <a:gd name="connsiteX28" fmla="*/ 82975 w 97902"/>
                  <a:gd name="connsiteY28" fmla="*/ 95111 h 308124"/>
                  <a:gd name="connsiteX29" fmla="*/ 89292 w 97902"/>
                  <a:gd name="connsiteY29" fmla="*/ 113673 h 308124"/>
                  <a:gd name="connsiteX30" fmla="*/ 93765 w 97902"/>
                  <a:gd name="connsiteY30" fmla="*/ 132905 h 308124"/>
                  <a:gd name="connsiteX31" fmla="*/ 96393 w 97902"/>
                  <a:gd name="connsiteY31" fmla="*/ 150013 h 308124"/>
                  <a:gd name="connsiteX32" fmla="*/ 97902 w 97902"/>
                  <a:gd name="connsiteY32" fmla="*/ 173103 h 308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7902" h="308124">
                    <a:moveTo>
                      <a:pt x="97902" y="173103"/>
                    </a:moveTo>
                    <a:cubicBezTo>
                      <a:pt x="97455" y="178974"/>
                      <a:pt x="97064" y="184565"/>
                      <a:pt x="96672" y="190100"/>
                    </a:cubicBezTo>
                    <a:cubicBezTo>
                      <a:pt x="96505" y="192671"/>
                      <a:pt x="96561" y="195243"/>
                      <a:pt x="96169" y="197759"/>
                    </a:cubicBezTo>
                    <a:cubicBezTo>
                      <a:pt x="95498" y="202903"/>
                      <a:pt x="94660" y="207990"/>
                      <a:pt x="93765" y="213078"/>
                    </a:cubicBezTo>
                    <a:cubicBezTo>
                      <a:pt x="93094" y="216991"/>
                      <a:pt x="92312" y="220905"/>
                      <a:pt x="91361" y="224763"/>
                    </a:cubicBezTo>
                    <a:cubicBezTo>
                      <a:pt x="88733" y="235385"/>
                      <a:pt x="85323" y="245672"/>
                      <a:pt x="81186" y="255792"/>
                    </a:cubicBezTo>
                    <a:cubicBezTo>
                      <a:pt x="76210" y="267756"/>
                      <a:pt x="70284" y="279217"/>
                      <a:pt x="63183" y="290064"/>
                    </a:cubicBezTo>
                    <a:cubicBezTo>
                      <a:pt x="59941" y="295039"/>
                      <a:pt x="56530" y="299903"/>
                      <a:pt x="52896" y="304600"/>
                    </a:cubicBezTo>
                    <a:cubicBezTo>
                      <a:pt x="48927" y="309799"/>
                      <a:pt x="41882" y="309128"/>
                      <a:pt x="39087" y="303370"/>
                    </a:cubicBezTo>
                    <a:cubicBezTo>
                      <a:pt x="37633" y="300407"/>
                      <a:pt x="38192" y="297499"/>
                      <a:pt x="40149" y="294760"/>
                    </a:cubicBezTo>
                    <a:cubicBezTo>
                      <a:pt x="44063" y="289225"/>
                      <a:pt x="48088" y="283690"/>
                      <a:pt x="51722" y="277931"/>
                    </a:cubicBezTo>
                    <a:cubicBezTo>
                      <a:pt x="57816" y="268315"/>
                      <a:pt x="62960" y="258196"/>
                      <a:pt x="67041" y="247573"/>
                    </a:cubicBezTo>
                    <a:cubicBezTo>
                      <a:pt x="69445" y="241256"/>
                      <a:pt x="71681" y="234882"/>
                      <a:pt x="73694" y="228453"/>
                    </a:cubicBezTo>
                    <a:cubicBezTo>
                      <a:pt x="75148" y="223812"/>
                      <a:pt x="76098" y="219060"/>
                      <a:pt x="77160" y="214308"/>
                    </a:cubicBezTo>
                    <a:cubicBezTo>
                      <a:pt x="78167" y="209667"/>
                      <a:pt x="79117" y="205027"/>
                      <a:pt x="79732" y="200387"/>
                    </a:cubicBezTo>
                    <a:cubicBezTo>
                      <a:pt x="80459" y="194852"/>
                      <a:pt x="80962" y="189317"/>
                      <a:pt x="81130" y="183782"/>
                    </a:cubicBezTo>
                    <a:cubicBezTo>
                      <a:pt x="81353" y="176793"/>
                      <a:pt x="81465" y="169805"/>
                      <a:pt x="81130" y="162816"/>
                    </a:cubicBezTo>
                    <a:cubicBezTo>
                      <a:pt x="80794" y="155995"/>
                      <a:pt x="80068" y="149231"/>
                      <a:pt x="79005" y="142466"/>
                    </a:cubicBezTo>
                    <a:cubicBezTo>
                      <a:pt x="77943" y="135533"/>
                      <a:pt x="76545" y="128600"/>
                      <a:pt x="74756" y="121835"/>
                    </a:cubicBezTo>
                    <a:cubicBezTo>
                      <a:pt x="72967" y="115182"/>
                      <a:pt x="70675" y="108641"/>
                      <a:pt x="68383" y="102100"/>
                    </a:cubicBezTo>
                    <a:cubicBezTo>
                      <a:pt x="65475" y="93825"/>
                      <a:pt x="61618" y="85886"/>
                      <a:pt x="57481" y="78171"/>
                    </a:cubicBezTo>
                    <a:cubicBezTo>
                      <a:pt x="53064" y="69841"/>
                      <a:pt x="47976" y="61902"/>
                      <a:pt x="42329" y="54298"/>
                    </a:cubicBezTo>
                    <a:cubicBezTo>
                      <a:pt x="33720" y="42669"/>
                      <a:pt x="23991" y="32103"/>
                      <a:pt x="13033" y="22598"/>
                    </a:cubicBezTo>
                    <a:cubicBezTo>
                      <a:pt x="9958" y="19970"/>
                      <a:pt x="6828" y="17455"/>
                      <a:pt x="3641" y="14939"/>
                    </a:cubicBezTo>
                    <a:cubicBezTo>
                      <a:pt x="-1615" y="10801"/>
                      <a:pt x="-1111" y="3589"/>
                      <a:pt x="4703" y="850"/>
                    </a:cubicBezTo>
                    <a:cubicBezTo>
                      <a:pt x="7498" y="-492"/>
                      <a:pt x="10350" y="-268"/>
                      <a:pt x="12922" y="1688"/>
                    </a:cubicBezTo>
                    <a:cubicBezTo>
                      <a:pt x="24383" y="10466"/>
                      <a:pt x="34838" y="20306"/>
                      <a:pt x="44454" y="31152"/>
                    </a:cubicBezTo>
                    <a:cubicBezTo>
                      <a:pt x="53735" y="41607"/>
                      <a:pt x="61674" y="53012"/>
                      <a:pt x="68662" y="65033"/>
                    </a:cubicBezTo>
                    <a:cubicBezTo>
                      <a:pt x="74253" y="74649"/>
                      <a:pt x="79173" y="84656"/>
                      <a:pt x="82975" y="95111"/>
                    </a:cubicBezTo>
                    <a:cubicBezTo>
                      <a:pt x="85211" y="101261"/>
                      <a:pt x="87503" y="107411"/>
                      <a:pt x="89292" y="113673"/>
                    </a:cubicBezTo>
                    <a:cubicBezTo>
                      <a:pt x="91082" y="119990"/>
                      <a:pt x="92479" y="126476"/>
                      <a:pt x="93765" y="132905"/>
                    </a:cubicBezTo>
                    <a:cubicBezTo>
                      <a:pt x="94883" y="138552"/>
                      <a:pt x="95778" y="144311"/>
                      <a:pt x="96393" y="150013"/>
                    </a:cubicBezTo>
                    <a:cubicBezTo>
                      <a:pt x="97008" y="157784"/>
                      <a:pt x="97399" y="165612"/>
                      <a:pt x="97902" y="173103"/>
                    </a:cubicBezTo>
                    <a:close/>
                  </a:path>
                </a:pathLst>
              </a:custGeom>
              <a:solidFill>
                <a:srgbClr val="3F3F3F"/>
              </a:solidFill>
              <a:ln w="556" cap="flat">
                <a:noFill/>
                <a:prstDash val="solid"/>
                <a:miter/>
              </a:ln>
            </p:spPr>
            <p:txBody>
              <a:bodyPr rtlCol="0" anchor="ctr"/>
              <a:lstStyle/>
              <a:p>
                <a:pPr defTabSz="1219170"/>
                <a:endParaRPr lang="en-US" sz="2400">
                  <a:solidFill>
                    <a:srgbClr val="102B62"/>
                  </a:solidFill>
                  <a:latin typeface="Arial"/>
                </a:endParaRPr>
              </a:p>
            </p:txBody>
          </p:sp>
          <p:sp>
            <p:nvSpPr>
              <p:cNvPr id="82" name="Freeform: Shape 81">
                <a:extLst>
                  <a:ext uri="{FF2B5EF4-FFF2-40B4-BE49-F238E27FC236}">
                    <a16:creationId xmlns:a16="http://schemas.microsoft.com/office/drawing/2014/main" id="{8A571676-9E66-4E8E-BD89-129743124577}"/>
                  </a:ext>
                </a:extLst>
              </p:cNvPr>
              <p:cNvSpPr/>
              <p:nvPr/>
            </p:nvSpPr>
            <p:spPr>
              <a:xfrm>
                <a:off x="6492822" y="2071660"/>
                <a:ext cx="62650" cy="181187"/>
              </a:xfrm>
              <a:custGeom>
                <a:avLst/>
                <a:gdLst>
                  <a:gd name="connsiteX0" fmla="*/ 62651 w 62650"/>
                  <a:gd name="connsiteY0" fmla="*/ 103711 h 181187"/>
                  <a:gd name="connsiteX1" fmla="*/ 60470 w 62650"/>
                  <a:gd name="connsiteY1" fmla="*/ 123447 h 181187"/>
                  <a:gd name="connsiteX2" fmla="*/ 36318 w 62650"/>
                  <a:gd name="connsiteY2" fmla="*/ 178125 h 181187"/>
                  <a:gd name="connsiteX3" fmla="*/ 24857 w 62650"/>
                  <a:gd name="connsiteY3" fmla="*/ 179691 h 181187"/>
                  <a:gd name="connsiteX4" fmla="*/ 23403 w 62650"/>
                  <a:gd name="connsiteY4" fmla="*/ 168453 h 181187"/>
                  <a:gd name="connsiteX5" fmla="*/ 37716 w 62650"/>
                  <a:gd name="connsiteY5" fmla="*/ 143574 h 181187"/>
                  <a:gd name="connsiteX6" fmla="*/ 43362 w 62650"/>
                  <a:gd name="connsiteY6" fmla="*/ 125683 h 181187"/>
                  <a:gd name="connsiteX7" fmla="*/ 45878 w 62650"/>
                  <a:gd name="connsiteY7" fmla="*/ 93480 h 181187"/>
                  <a:gd name="connsiteX8" fmla="*/ 42356 w 62650"/>
                  <a:gd name="connsiteY8" fmla="*/ 72906 h 181187"/>
                  <a:gd name="connsiteX9" fmla="*/ 24857 w 62650"/>
                  <a:gd name="connsiteY9" fmla="*/ 36621 h 181187"/>
                  <a:gd name="connsiteX10" fmla="*/ 3388 w 62650"/>
                  <a:gd name="connsiteY10" fmla="*/ 14705 h 181187"/>
                  <a:gd name="connsiteX11" fmla="*/ 928 w 62650"/>
                  <a:gd name="connsiteY11" fmla="*/ 4362 h 181187"/>
                  <a:gd name="connsiteX12" fmla="*/ 10097 w 62650"/>
                  <a:gd name="connsiteY12" fmla="*/ 393 h 181187"/>
                  <a:gd name="connsiteX13" fmla="*/ 16247 w 62650"/>
                  <a:gd name="connsiteY13" fmla="*/ 4306 h 181187"/>
                  <a:gd name="connsiteX14" fmla="*/ 26198 w 62650"/>
                  <a:gd name="connsiteY14" fmla="*/ 13587 h 181187"/>
                  <a:gd name="connsiteX15" fmla="*/ 46549 w 62650"/>
                  <a:gd name="connsiteY15" fmla="*/ 40535 h 181187"/>
                  <a:gd name="connsiteX16" fmla="*/ 58122 w 62650"/>
                  <a:gd name="connsiteY16" fmla="*/ 69272 h 181187"/>
                  <a:gd name="connsiteX17" fmla="*/ 62651 w 62650"/>
                  <a:gd name="connsiteY17" fmla="*/ 103711 h 181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2650" h="181187">
                    <a:moveTo>
                      <a:pt x="62651" y="103711"/>
                    </a:moveTo>
                    <a:cubicBezTo>
                      <a:pt x="62092" y="108911"/>
                      <a:pt x="61756" y="116235"/>
                      <a:pt x="60470" y="123447"/>
                    </a:cubicBezTo>
                    <a:cubicBezTo>
                      <a:pt x="56892" y="143574"/>
                      <a:pt x="48841" y="161800"/>
                      <a:pt x="36318" y="178125"/>
                    </a:cubicBezTo>
                    <a:cubicBezTo>
                      <a:pt x="33578" y="181704"/>
                      <a:pt x="27820" y="182039"/>
                      <a:pt x="24857" y="179691"/>
                    </a:cubicBezTo>
                    <a:cubicBezTo>
                      <a:pt x="21446" y="176951"/>
                      <a:pt x="20664" y="172087"/>
                      <a:pt x="23403" y="168453"/>
                    </a:cubicBezTo>
                    <a:cubicBezTo>
                      <a:pt x="29218" y="160738"/>
                      <a:pt x="34249" y="152575"/>
                      <a:pt x="37716" y="143574"/>
                    </a:cubicBezTo>
                    <a:cubicBezTo>
                      <a:pt x="39952" y="137760"/>
                      <a:pt x="41797" y="131722"/>
                      <a:pt x="43362" y="125683"/>
                    </a:cubicBezTo>
                    <a:cubicBezTo>
                      <a:pt x="46158" y="115117"/>
                      <a:pt x="46549" y="104326"/>
                      <a:pt x="45878" y="93480"/>
                    </a:cubicBezTo>
                    <a:cubicBezTo>
                      <a:pt x="45431" y="86548"/>
                      <a:pt x="44201" y="79671"/>
                      <a:pt x="42356" y="72906"/>
                    </a:cubicBezTo>
                    <a:cubicBezTo>
                      <a:pt x="38722" y="59712"/>
                      <a:pt x="32963" y="47635"/>
                      <a:pt x="24857" y="36621"/>
                    </a:cubicBezTo>
                    <a:cubicBezTo>
                      <a:pt x="18763" y="28291"/>
                      <a:pt x="11606" y="21023"/>
                      <a:pt x="3388" y="14705"/>
                    </a:cubicBezTo>
                    <a:cubicBezTo>
                      <a:pt x="33" y="12134"/>
                      <a:pt x="-917" y="7885"/>
                      <a:pt x="928" y="4362"/>
                    </a:cubicBezTo>
                    <a:cubicBezTo>
                      <a:pt x="2661" y="1120"/>
                      <a:pt x="6798" y="-893"/>
                      <a:pt x="10097" y="393"/>
                    </a:cubicBezTo>
                    <a:cubicBezTo>
                      <a:pt x="12333" y="1287"/>
                      <a:pt x="14402" y="2741"/>
                      <a:pt x="16247" y="4306"/>
                    </a:cubicBezTo>
                    <a:cubicBezTo>
                      <a:pt x="19657" y="7270"/>
                      <a:pt x="22900" y="10400"/>
                      <a:pt x="26198" y="13587"/>
                    </a:cubicBezTo>
                    <a:cubicBezTo>
                      <a:pt x="34361" y="21470"/>
                      <a:pt x="41014" y="30583"/>
                      <a:pt x="46549" y="40535"/>
                    </a:cubicBezTo>
                    <a:cubicBezTo>
                      <a:pt x="51581" y="49648"/>
                      <a:pt x="55383" y="59208"/>
                      <a:pt x="58122" y="69272"/>
                    </a:cubicBezTo>
                    <a:cubicBezTo>
                      <a:pt x="61029" y="79839"/>
                      <a:pt x="62092" y="90685"/>
                      <a:pt x="62651" y="103711"/>
                    </a:cubicBezTo>
                    <a:close/>
                  </a:path>
                </a:pathLst>
              </a:custGeom>
              <a:solidFill>
                <a:srgbClr val="3F3F3F"/>
              </a:solidFill>
              <a:ln w="556" cap="flat">
                <a:noFill/>
                <a:prstDash val="solid"/>
                <a:miter/>
              </a:ln>
            </p:spPr>
            <p:txBody>
              <a:bodyPr rtlCol="0" anchor="ctr"/>
              <a:lstStyle/>
              <a:p>
                <a:pPr defTabSz="1219170"/>
                <a:endParaRPr lang="en-US" sz="2400">
                  <a:solidFill>
                    <a:srgbClr val="102B62"/>
                  </a:solidFill>
                  <a:latin typeface="Arial"/>
                </a:endParaRPr>
              </a:p>
            </p:txBody>
          </p:sp>
          <p:sp>
            <p:nvSpPr>
              <p:cNvPr id="83" name="Freeform: Shape 82">
                <a:extLst>
                  <a:ext uri="{FF2B5EF4-FFF2-40B4-BE49-F238E27FC236}">
                    <a16:creationId xmlns:a16="http://schemas.microsoft.com/office/drawing/2014/main" id="{BFEA9425-5710-4027-8E3C-CE2E0645715E}"/>
                  </a:ext>
                </a:extLst>
              </p:cNvPr>
              <p:cNvSpPr/>
              <p:nvPr/>
            </p:nvSpPr>
            <p:spPr>
              <a:xfrm>
                <a:off x="6448317" y="2106351"/>
                <a:ext cx="44817" cy="117689"/>
              </a:xfrm>
              <a:custGeom>
                <a:avLst/>
                <a:gdLst>
                  <a:gd name="connsiteX0" fmla="*/ 44817 w 44817"/>
                  <a:gd name="connsiteY0" fmla="*/ 65386 h 117689"/>
                  <a:gd name="connsiteX1" fmla="*/ 29610 w 44817"/>
                  <a:gd name="connsiteY1" fmla="*/ 112182 h 117689"/>
                  <a:gd name="connsiteX2" fmla="*/ 22118 w 44817"/>
                  <a:gd name="connsiteY2" fmla="*/ 117661 h 117689"/>
                  <a:gd name="connsiteX3" fmla="*/ 13732 w 44817"/>
                  <a:gd name="connsiteY3" fmla="*/ 112070 h 117689"/>
                  <a:gd name="connsiteX4" fmla="*/ 15409 w 44817"/>
                  <a:gd name="connsiteY4" fmla="*/ 104131 h 117689"/>
                  <a:gd name="connsiteX5" fmla="*/ 26423 w 44817"/>
                  <a:gd name="connsiteY5" fmla="*/ 81320 h 117689"/>
                  <a:gd name="connsiteX6" fmla="*/ 28156 w 44817"/>
                  <a:gd name="connsiteY6" fmla="*/ 60075 h 117689"/>
                  <a:gd name="connsiteX7" fmla="*/ 17813 w 44817"/>
                  <a:gd name="connsiteY7" fmla="*/ 30108 h 117689"/>
                  <a:gd name="connsiteX8" fmla="*/ 3445 w 44817"/>
                  <a:gd name="connsiteY8" fmla="*/ 14566 h 117689"/>
                  <a:gd name="connsiteX9" fmla="*/ 482 w 44817"/>
                  <a:gd name="connsiteY9" fmla="*/ 5285 h 117689"/>
                  <a:gd name="connsiteX10" fmla="*/ 9036 w 44817"/>
                  <a:gd name="connsiteY10" fmla="*/ 85 h 117689"/>
                  <a:gd name="connsiteX11" fmla="*/ 13453 w 44817"/>
                  <a:gd name="connsiteY11" fmla="*/ 1986 h 117689"/>
                  <a:gd name="connsiteX12" fmla="*/ 24411 w 44817"/>
                  <a:gd name="connsiteY12" fmla="*/ 12497 h 117689"/>
                  <a:gd name="connsiteX13" fmla="*/ 38052 w 44817"/>
                  <a:gd name="connsiteY13" fmla="*/ 33854 h 117689"/>
                  <a:gd name="connsiteX14" fmla="*/ 43475 w 44817"/>
                  <a:gd name="connsiteY14" fmla="*/ 53142 h 117689"/>
                  <a:gd name="connsiteX15" fmla="*/ 44817 w 44817"/>
                  <a:gd name="connsiteY15" fmla="*/ 65386 h 117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817" h="117689">
                    <a:moveTo>
                      <a:pt x="44817" y="65386"/>
                    </a:moveTo>
                    <a:cubicBezTo>
                      <a:pt x="44538" y="82606"/>
                      <a:pt x="39450" y="98149"/>
                      <a:pt x="29610" y="112182"/>
                    </a:cubicBezTo>
                    <a:cubicBezTo>
                      <a:pt x="27709" y="114865"/>
                      <a:pt x="25752" y="117325"/>
                      <a:pt x="22118" y="117661"/>
                    </a:cubicBezTo>
                    <a:cubicBezTo>
                      <a:pt x="18652" y="117996"/>
                      <a:pt x="14794" y="115368"/>
                      <a:pt x="13732" y="112070"/>
                    </a:cubicBezTo>
                    <a:cubicBezTo>
                      <a:pt x="12782" y="109051"/>
                      <a:pt x="13620" y="106479"/>
                      <a:pt x="15409" y="104131"/>
                    </a:cubicBezTo>
                    <a:cubicBezTo>
                      <a:pt x="20609" y="97254"/>
                      <a:pt x="24411" y="89651"/>
                      <a:pt x="26423" y="81320"/>
                    </a:cubicBezTo>
                    <a:cubicBezTo>
                      <a:pt x="28045" y="74388"/>
                      <a:pt x="28939" y="67343"/>
                      <a:pt x="28156" y="60075"/>
                    </a:cubicBezTo>
                    <a:cubicBezTo>
                      <a:pt x="27038" y="49229"/>
                      <a:pt x="23796" y="39221"/>
                      <a:pt x="17813" y="30108"/>
                    </a:cubicBezTo>
                    <a:cubicBezTo>
                      <a:pt x="13900" y="24126"/>
                      <a:pt x="9092" y="18982"/>
                      <a:pt x="3445" y="14566"/>
                    </a:cubicBezTo>
                    <a:cubicBezTo>
                      <a:pt x="426" y="12218"/>
                      <a:pt x="-748" y="8584"/>
                      <a:pt x="482" y="5285"/>
                    </a:cubicBezTo>
                    <a:cubicBezTo>
                      <a:pt x="1824" y="1763"/>
                      <a:pt x="5234" y="-474"/>
                      <a:pt x="9036" y="85"/>
                    </a:cubicBezTo>
                    <a:cubicBezTo>
                      <a:pt x="10601" y="309"/>
                      <a:pt x="12278" y="980"/>
                      <a:pt x="13453" y="1986"/>
                    </a:cubicBezTo>
                    <a:cubicBezTo>
                      <a:pt x="17254" y="5341"/>
                      <a:pt x="20944" y="8807"/>
                      <a:pt x="24411" y="12497"/>
                    </a:cubicBezTo>
                    <a:cubicBezTo>
                      <a:pt x="30337" y="18703"/>
                      <a:pt x="34698" y="25971"/>
                      <a:pt x="38052" y="33854"/>
                    </a:cubicBezTo>
                    <a:cubicBezTo>
                      <a:pt x="40736" y="40004"/>
                      <a:pt x="42693" y="46433"/>
                      <a:pt x="43475" y="53142"/>
                    </a:cubicBezTo>
                    <a:cubicBezTo>
                      <a:pt x="43979" y="57168"/>
                      <a:pt x="44370" y="61305"/>
                      <a:pt x="44817" y="65386"/>
                    </a:cubicBezTo>
                    <a:close/>
                  </a:path>
                </a:pathLst>
              </a:custGeom>
              <a:solidFill>
                <a:srgbClr val="3F3F3F"/>
              </a:solidFill>
              <a:ln w="556" cap="flat">
                <a:noFill/>
                <a:prstDash val="solid"/>
                <a:miter/>
              </a:ln>
            </p:spPr>
            <p:txBody>
              <a:bodyPr rtlCol="0" anchor="ctr"/>
              <a:lstStyle/>
              <a:p>
                <a:pPr defTabSz="1219170"/>
                <a:endParaRPr lang="en-US" sz="2400">
                  <a:solidFill>
                    <a:srgbClr val="102B62"/>
                  </a:solidFill>
                  <a:latin typeface="Arial"/>
                </a:endParaRPr>
              </a:p>
            </p:txBody>
          </p:sp>
        </p:grpSp>
        <p:sp>
          <p:nvSpPr>
            <p:cNvPr id="84" name="Freeform: Shape 83">
              <a:extLst>
                <a:ext uri="{FF2B5EF4-FFF2-40B4-BE49-F238E27FC236}">
                  <a16:creationId xmlns:a16="http://schemas.microsoft.com/office/drawing/2014/main" id="{C4BD68F3-7F0F-425B-BAC6-C50D0CCD53C4}"/>
                </a:ext>
              </a:extLst>
            </p:cNvPr>
            <p:cNvSpPr/>
            <p:nvPr/>
          </p:nvSpPr>
          <p:spPr>
            <a:xfrm>
              <a:off x="6042177" y="2007143"/>
              <a:ext cx="282113" cy="302408"/>
            </a:xfrm>
            <a:custGeom>
              <a:avLst/>
              <a:gdLst>
                <a:gd name="connsiteX0" fmla="*/ 280716 w 282113"/>
                <a:gd name="connsiteY0" fmla="*/ 391 h 302408"/>
                <a:gd name="connsiteX1" fmla="*/ 247059 w 282113"/>
                <a:gd name="connsiteY1" fmla="*/ 15822 h 302408"/>
                <a:gd name="connsiteX2" fmla="*/ 199928 w 282113"/>
                <a:gd name="connsiteY2" fmla="*/ 36508 h 302408"/>
                <a:gd name="connsiteX3" fmla="*/ 152742 w 282113"/>
                <a:gd name="connsiteY3" fmla="*/ 54119 h 302408"/>
                <a:gd name="connsiteX4" fmla="*/ 103598 w 282113"/>
                <a:gd name="connsiteY4" fmla="*/ 68320 h 302408"/>
                <a:gd name="connsiteX5" fmla="*/ 66643 w 282113"/>
                <a:gd name="connsiteY5" fmla="*/ 75029 h 302408"/>
                <a:gd name="connsiteX6" fmla="*/ 33545 w 282113"/>
                <a:gd name="connsiteY6" fmla="*/ 77489 h 302408"/>
                <a:gd name="connsiteX7" fmla="*/ 3410 w 282113"/>
                <a:gd name="connsiteY7" fmla="*/ 76986 h 302408"/>
                <a:gd name="connsiteX8" fmla="*/ 335 w 282113"/>
                <a:gd name="connsiteY8" fmla="*/ 79669 h 302408"/>
                <a:gd name="connsiteX9" fmla="*/ 168 w 282113"/>
                <a:gd name="connsiteY9" fmla="*/ 86658 h 302408"/>
                <a:gd name="connsiteX10" fmla="*/ 503 w 282113"/>
                <a:gd name="connsiteY10" fmla="*/ 131049 h 302408"/>
                <a:gd name="connsiteX11" fmla="*/ 112 w 282113"/>
                <a:gd name="connsiteY11" fmla="*/ 151679 h 302408"/>
                <a:gd name="connsiteX12" fmla="*/ 0 w 282113"/>
                <a:gd name="connsiteY12" fmla="*/ 231628 h 302408"/>
                <a:gd name="connsiteX13" fmla="*/ 5703 w 282113"/>
                <a:gd name="connsiteY13" fmla="*/ 236436 h 302408"/>
                <a:gd name="connsiteX14" fmla="*/ 27898 w 282113"/>
                <a:gd name="connsiteY14" fmla="*/ 234368 h 302408"/>
                <a:gd name="connsiteX15" fmla="*/ 88000 w 282113"/>
                <a:gd name="connsiteY15" fmla="*/ 237499 h 302408"/>
                <a:gd name="connsiteX16" fmla="*/ 120818 w 282113"/>
                <a:gd name="connsiteY16" fmla="*/ 243537 h 302408"/>
                <a:gd name="connsiteX17" fmla="*/ 165209 w 282113"/>
                <a:gd name="connsiteY17" fmla="*/ 256284 h 302408"/>
                <a:gd name="connsiteX18" fmla="*/ 221845 w 282113"/>
                <a:gd name="connsiteY18" fmla="*/ 277193 h 302408"/>
                <a:gd name="connsiteX19" fmla="*/ 275181 w 282113"/>
                <a:gd name="connsiteY19" fmla="*/ 299725 h 302408"/>
                <a:gd name="connsiteX20" fmla="*/ 282114 w 282113"/>
                <a:gd name="connsiteY20" fmla="*/ 302408 h 302408"/>
                <a:gd name="connsiteX21" fmla="*/ 282114 w 282113"/>
                <a:gd name="connsiteY21" fmla="*/ 0 h 302408"/>
                <a:gd name="connsiteX22" fmla="*/ 280716 w 282113"/>
                <a:gd name="connsiteY22" fmla="*/ 391 h 302408"/>
                <a:gd name="connsiteX23" fmla="*/ 176503 w 282113"/>
                <a:gd name="connsiteY23" fmla="*/ 207532 h 302408"/>
                <a:gd name="connsiteX24" fmla="*/ 169906 w 282113"/>
                <a:gd name="connsiteY24" fmla="*/ 216086 h 302408"/>
                <a:gd name="connsiteX25" fmla="*/ 169962 w 282113"/>
                <a:gd name="connsiteY25" fmla="*/ 225311 h 302408"/>
                <a:gd name="connsiteX26" fmla="*/ 166551 w 282113"/>
                <a:gd name="connsiteY26" fmla="*/ 228609 h 302408"/>
                <a:gd name="connsiteX27" fmla="*/ 160401 w 282113"/>
                <a:gd name="connsiteY27" fmla="*/ 228609 h 302408"/>
                <a:gd name="connsiteX28" fmla="*/ 154810 w 282113"/>
                <a:gd name="connsiteY28" fmla="*/ 228665 h 302408"/>
                <a:gd name="connsiteX29" fmla="*/ 151064 w 282113"/>
                <a:gd name="connsiteY29" fmla="*/ 225087 h 302408"/>
                <a:gd name="connsiteX30" fmla="*/ 151176 w 282113"/>
                <a:gd name="connsiteY30" fmla="*/ 213346 h 302408"/>
                <a:gd name="connsiteX31" fmla="*/ 148381 w 282113"/>
                <a:gd name="connsiteY31" fmla="*/ 210271 h 302408"/>
                <a:gd name="connsiteX32" fmla="*/ 122495 w 282113"/>
                <a:gd name="connsiteY32" fmla="*/ 204009 h 302408"/>
                <a:gd name="connsiteX33" fmla="*/ 119979 w 282113"/>
                <a:gd name="connsiteY33" fmla="*/ 198530 h 302408"/>
                <a:gd name="connsiteX34" fmla="*/ 124284 w 282113"/>
                <a:gd name="connsiteY34" fmla="*/ 182093 h 302408"/>
                <a:gd name="connsiteX35" fmla="*/ 127024 w 282113"/>
                <a:gd name="connsiteY35" fmla="*/ 180696 h 302408"/>
                <a:gd name="connsiteX36" fmla="*/ 143796 w 282113"/>
                <a:gd name="connsiteY36" fmla="*/ 186566 h 302408"/>
                <a:gd name="connsiteX37" fmla="*/ 167669 w 282113"/>
                <a:gd name="connsiteY37" fmla="*/ 185895 h 302408"/>
                <a:gd name="connsiteX38" fmla="*/ 169906 w 282113"/>
                <a:gd name="connsiteY38" fmla="*/ 168620 h 302408"/>
                <a:gd name="connsiteX39" fmla="*/ 154363 w 282113"/>
                <a:gd name="connsiteY39" fmla="*/ 160681 h 302408"/>
                <a:gd name="connsiteX40" fmla="*/ 130770 w 282113"/>
                <a:gd name="connsiteY40" fmla="*/ 148381 h 302408"/>
                <a:gd name="connsiteX41" fmla="*/ 120762 w 282113"/>
                <a:gd name="connsiteY41" fmla="*/ 120930 h 302408"/>
                <a:gd name="connsiteX42" fmla="*/ 147319 w 282113"/>
                <a:gd name="connsiteY42" fmla="*/ 93311 h 302408"/>
                <a:gd name="connsiteX43" fmla="*/ 151903 w 282113"/>
                <a:gd name="connsiteY43" fmla="*/ 87385 h 302408"/>
                <a:gd name="connsiteX44" fmla="*/ 151903 w 282113"/>
                <a:gd name="connsiteY44" fmla="*/ 77042 h 302408"/>
                <a:gd name="connsiteX45" fmla="*/ 154810 w 282113"/>
                <a:gd name="connsiteY45" fmla="*/ 73911 h 302408"/>
                <a:gd name="connsiteX46" fmla="*/ 168508 w 282113"/>
                <a:gd name="connsiteY46" fmla="*/ 73911 h 302408"/>
                <a:gd name="connsiteX47" fmla="*/ 171303 w 282113"/>
                <a:gd name="connsiteY47" fmla="*/ 76874 h 302408"/>
                <a:gd name="connsiteX48" fmla="*/ 171303 w 282113"/>
                <a:gd name="connsiteY48" fmla="*/ 88056 h 302408"/>
                <a:gd name="connsiteX49" fmla="*/ 173651 w 282113"/>
                <a:gd name="connsiteY49" fmla="*/ 90739 h 302408"/>
                <a:gd name="connsiteX50" fmla="*/ 193778 w 282113"/>
                <a:gd name="connsiteY50" fmla="*/ 95044 h 302408"/>
                <a:gd name="connsiteX51" fmla="*/ 197357 w 282113"/>
                <a:gd name="connsiteY51" fmla="*/ 101753 h 302408"/>
                <a:gd name="connsiteX52" fmla="*/ 193443 w 282113"/>
                <a:gd name="connsiteY52" fmla="*/ 116569 h 302408"/>
                <a:gd name="connsiteX53" fmla="*/ 190536 w 282113"/>
                <a:gd name="connsiteY53" fmla="*/ 117911 h 302408"/>
                <a:gd name="connsiteX54" fmla="*/ 168228 w 282113"/>
                <a:gd name="connsiteY54" fmla="*/ 112543 h 302408"/>
                <a:gd name="connsiteX55" fmla="*/ 157159 w 282113"/>
                <a:gd name="connsiteY55" fmla="*/ 113662 h 302408"/>
                <a:gd name="connsiteX56" fmla="*/ 149890 w 282113"/>
                <a:gd name="connsiteY56" fmla="*/ 120650 h 302408"/>
                <a:gd name="connsiteX57" fmla="*/ 153636 w 282113"/>
                <a:gd name="connsiteY57" fmla="*/ 129540 h 302408"/>
                <a:gd name="connsiteX58" fmla="*/ 167949 w 282113"/>
                <a:gd name="connsiteY58" fmla="*/ 136919 h 302408"/>
                <a:gd name="connsiteX59" fmla="*/ 189362 w 282113"/>
                <a:gd name="connsiteY59" fmla="*/ 146871 h 302408"/>
                <a:gd name="connsiteX60" fmla="*/ 203618 w 282113"/>
                <a:gd name="connsiteY60" fmla="*/ 173092 h 302408"/>
                <a:gd name="connsiteX61" fmla="*/ 176503 w 282113"/>
                <a:gd name="connsiteY61" fmla="*/ 207532 h 30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82113" h="302408">
                  <a:moveTo>
                    <a:pt x="280716" y="391"/>
                  </a:moveTo>
                  <a:cubicBezTo>
                    <a:pt x="269478" y="5535"/>
                    <a:pt x="258353" y="10790"/>
                    <a:pt x="247059" y="15822"/>
                  </a:cubicBezTo>
                  <a:cubicBezTo>
                    <a:pt x="231405" y="22811"/>
                    <a:pt x="215806" y="30023"/>
                    <a:pt x="199928" y="36508"/>
                  </a:cubicBezTo>
                  <a:cubicBezTo>
                    <a:pt x="184386" y="42826"/>
                    <a:pt x="168676" y="48864"/>
                    <a:pt x="152742" y="54119"/>
                  </a:cubicBezTo>
                  <a:cubicBezTo>
                    <a:pt x="136584" y="59486"/>
                    <a:pt x="120147" y="64183"/>
                    <a:pt x="103598" y="68320"/>
                  </a:cubicBezTo>
                  <a:cubicBezTo>
                    <a:pt x="91466" y="71339"/>
                    <a:pt x="79054" y="73408"/>
                    <a:pt x="66643" y="75029"/>
                  </a:cubicBezTo>
                  <a:cubicBezTo>
                    <a:pt x="55685" y="76483"/>
                    <a:pt x="44615" y="77153"/>
                    <a:pt x="33545" y="77489"/>
                  </a:cubicBezTo>
                  <a:cubicBezTo>
                    <a:pt x="23482" y="77824"/>
                    <a:pt x="13418" y="77265"/>
                    <a:pt x="3410" y="76986"/>
                  </a:cubicBezTo>
                  <a:cubicBezTo>
                    <a:pt x="1342" y="76930"/>
                    <a:pt x="224" y="77265"/>
                    <a:pt x="335" y="79669"/>
                  </a:cubicBezTo>
                  <a:cubicBezTo>
                    <a:pt x="447" y="81962"/>
                    <a:pt x="168" y="84310"/>
                    <a:pt x="168" y="86658"/>
                  </a:cubicBezTo>
                  <a:cubicBezTo>
                    <a:pt x="280" y="101474"/>
                    <a:pt x="447" y="116233"/>
                    <a:pt x="503" y="131049"/>
                  </a:cubicBezTo>
                  <a:cubicBezTo>
                    <a:pt x="503" y="137926"/>
                    <a:pt x="112" y="144803"/>
                    <a:pt x="112" y="151679"/>
                  </a:cubicBezTo>
                  <a:cubicBezTo>
                    <a:pt x="56" y="178348"/>
                    <a:pt x="56" y="204960"/>
                    <a:pt x="0" y="231628"/>
                  </a:cubicBezTo>
                  <a:cubicBezTo>
                    <a:pt x="0" y="237107"/>
                    <a:pt x="112" y="237051"/>
                    <a:pt x="5703" y="236436"/>
                  </a:cubicBezTo>
                  <a:cubicBezTo>
                    <a:pt x="13083" y="235598"/>
                    <a:pt x="20518" y="234647"/>
                    <a:pt x="27898" y="234368"/>
                  </a:cubicBezTo>
                  <a:cubicBezTo>
                    <a:pt x="48025" y="233697"/>
                    <a:pt x="68096" y="234088"/>
                    <a:pt x="88000" y="237499"/>
                  </a:cubicBezTo>
                  <a:cubicBezTo>
                    <a:pt x="98958" y="239399"/>
                    <a:pt x="110028" y="240853"/>
                    <a:pt x="120818" y="243537"/>
                  </a:cubicBezTo>
                  <a:cubicBezTo>
                    <a:pt x="135746" y="247227"/>
                    <a:pt x="150617" y="251364"/>
                    <a:pt x="165209" y="256284"/>
                  </a:cubicBezTo>
                  <a:cubicBezTo>
                    <a:pt x="184274" y="262713"/>
                    <a:pt x="203115" y="269814"/>
                    <a:pt x="221845" y="277193"/>
                  </a:cubicBezTo>
                  <a:cubicBezTo>
                    <a:pt x="239791" y="284294"/>
                    <a:pt x="257402" y="292177"/>
                    <a:pt x="275181" y="299725"/>
                  </a:cubicBezTo>
                  <a:cubicBezTo>
                    <a:pt x="277250" y="300619"/>
                    <a:pt x="279374" y="301346"/>
                    <a:pt x="282114" y="302408"/>
                  </a:cubicBezTo>
                  <a:cubicBezTo>
                    <a:pt x="282114" y="201270"/>
                    <a:pt x="282114" y="100803"/>
                    <a:pt x="282114" y="0"/>
                  </a:cubicBezTo>
                  <a:cubicBezTo>
                    <a:pt x="281443" y="224"/>
                    <a:pt x="281052" y="280"/>
                    <a:pt x="280716" y="391"/>
                  </a:cubicBezTo>
                  <a:close/>
                  <a:moveTo>
                    <a:pt x="176503" y="207532"/>
                  </a:moveTo>
                  <a:cubicBezTo>
                    <a:pt x="169962" y="209321"/>
                    <a:pt x="169906" y="209209"/>
                    <a:pt x="169906" y="216086"/>
                  </a:cubicBezTo>
                  <a:cubicBezTo>
                    <a:pt x="169906" y="219161"/>
                    <a:pt x="169738" y="222236"/>
                    <a:pt x="169962" y="225311"/>
                  </a:cubicBezTo>
                  <a:cubicBezTo>
                    <a:pt x="170129" y="227994"/>
                    <a:pt x="168955" y="228777"/>
                    <a:pt x="166551" y="228609"/>
                  </a:cubicBezTo>
                  <a:cubicBezTo>
                    <a:pt x="164483" y="228497"/>
                    <a:pt x="162470" y="228609"/>
                    <a:pt x="160401" y="228609"/>
                  </a:cubicBezTo>
                  <a:cubicBezTo>
                    <a:pt x="158556" y="228609"/>
                    <a:pt x="156655" y="228497"/>
                    <a:pt x="154810" y="228665"/>
                  </a:cubicBezTo>
                  <a:cubicBezTo>
                    <a:pt x="152071" y="228889"/>
                    <a:pt x="150897" y="227994"/>
                    <a:pt x="151064" y="225087"/>
                  </a:cubicBezTo>
                  <a:cubicBezTo>
                    <a:pt x="151288" y="221173"/>
                    <a:pt x="151009" y="217260"/>
                    <a:pt x="151176" y="213346"/>
                  </a:cubicBezTo>
                  <a:cubicBezTo>
                    <a:pt x="151232" y="211222"/>
                    <a:pt x="150561" y="210439"/>
                    <a:pt x="148381" y="210271"/>
                  </a:cubicBezTo>
                  <a:cubicBezTo>
                    <a:pt x="139436" y="209656"/>
                    <a:pt x="130770" y="207699"/>
                    <a:pt x="122495" y="204009"/>
                  </a:cubicBezTo>
                  <a:cubicBezTo>
                    <a:pt x="119085" y="202500"/>
                    <a:pt x="118973" y="202276"/>
                    <a:pt x="119979" y="198530"/>
                  </a:cubicBezTo>
                  <a:cubicBezTo>
                    <a:pt x="121433" y="193051"/>
                    <a:pt x="122943" y="187628"/>
                    <a:pt x="124284" y="182093"/>
                  </a:cubicBezTo>
                  <a:cubicBezTo>
                    <a:pt x="124732" y="180193"/>
                    <a:pt x="125514" y="180137"/>
                    <a:pt x="127024" y="180696"/>
                  </a:cubicBezTo>
                  <a:cubicBezTo>
                    <a:pt x="132615" y="182764"/>
                    <a:pt x="138038" y="185280"/>
                    <a:pt x="143796" y="186566"/>
                  </a:cubicBezTo>
                  <a:cubicBezTo>
                    <a:pt x="151679" y="188355"/>
                    <a:pt x="159842" y="189250"/>
                    <a:pt x="167669" y="185895"/>
                  </a:cubicBezTo>
                  <a:cubicBezTo>
                    <a:pt x="175217" y="182652"/>
                    <a:pt x="176615" y="173260"/>
                    <a:pt x="169906" y="168620"/>
                  </a:cubicBezTo>
                  <a:cubicBezTo>
                    <a:pt x="165153" y="165321"/>
                    <a:pt x="159730" y="162805"/>
                    <a:pt x="154363" y="160681"/>
                  </a:cubicBezTo>
                  <a:cubicBezTo>
                    <a:pt x="146033" y="157438"/>
                    <a:pt x="137702" y="154307"/>
                    <a:pt x="130770" y="148381"/>
                  </a:cubicBezTo>
                  <a:cubicBezTo>
                    <a:pt x="122328" y="141113"/>
                    <a:pt x="119029" y="131944"/>
                    <a:pt x="120762" y="120930"/>
                  </a:cubicBezTo>
                  <a:cubicBezTo>
                    <a:pt x="123222" y="105611"/>
                    <a:pt x="133397" y="97560"/>
                    <a:pt x="147319" y="93311"/>
                  </a:cubicBezTo>
                  <a:cubicBezTo>
                    <a:pt x="151847" y="91913"/>
                    <a:pt x="151903" y="92193"/>
                    <a:pt x="151903" y="87385"/>
                  </a:cubicBezTo>
                  <a:cubicBezTo>
                    <a:pt x="151903" y="83918"/>
                    <a:pt x="151959" y="80508"/>
                    <a:pt x="151903" y="77042"/>
                  </a:cubicBezTo>
                  <a:cubicBezTo>
                    <a:pt x="151847" y="74973"/>
                    <a:pt x="152630" y="73911"/>
                    <a:pt x="154810" y="73911"/>
                  </a:cubicBezTo>
                  <a:cubicBezTo>
                    <a:pt x="159395" y="73967"/>
                    <a:pt x="163923" y="73911"/>
                    <a:pt x="168508" y="73911"/>
                  </a:cubicBezTo>
                  <a:cubicBezTo>
                    <a:pt x="170521" y="73911"/>
                    <a:pt x="171359" y="74917"/>
                    <a:pt x="171303" y="76874"/>
                  </a:cubicBezTo>
                  <a:cubicBezTo>
                    <a:pt x="171303" y="80620"/>
                    <a:pt x="171359" y="84310"/>
                    <a:pt x="171303" y="88056"/>
                  </a:cubicBezTo>
                  <a:cubicBezTo>
                    <a:pt x="171303" y="89733"/>
                    <a:pt x="171918" y="90404"/>
                    <a:pt x="173651" y="90739"/>
                  </a:cubicBezTo>
                  <a:cubicBezTo>
                    <a:pt x="180360" y="92025"/>
                    <a:pt x="187125" y="93367"/>
                    <a:pt x="193778" y="95044"/>
                  </a:cubicBezTo>
                  <a:cubicBezTo>
                    <a:pt x="198531" y="96218"/>
                    <a:pt x="198698" y="97057"/>
                    <a:pt x="197357" y="101753"/>
                  </a:cubicBezTo>
                  <a:cubicBezTo>
                    <a:pt x="195903" y="106673"/>
                    <a:pt x="194561" y="111593"/>
                    <a:pt x="193443" y="116569"/>
                  </a:cubicBezTo>
                  <a:cubicBezTo>
                    <a:pt x="192940" y="118637"/>
                    <a:pt x="192101" y="118693"/>
                    <a:pt x="190536" y="117911"/>
                  </a:cubicBezTo>
                  <a:cubicBezTo>
                    <a:pt x="183491" y="114556"/>
                    <a:pt x="176000" y="112767"/>
                    <a:pt x="168228" y="112543"/>
                  </a:cubicBezTo>
                  <a:cubicBezTo>
                    <a:pt x="164538" y="112432"/>
                    <a:pt x="160793" y="112935"/>
                    <a:pt x="157159" y="113662"/>
                  </a:cubicBezTo>
                  <a:cubicBezTo>
                    <a:pt x="153469" y="114388"/>
                    <a:pt x="150841" y="116904"/>
                    <a:pt x="149890" y="120650"/>
                  </a:cubicBezTo>
                  <a:cubicBezTo>
                    <a:pt x="148940" y="124396"/>
                    <a:pt x="150449" y="127639"/>
                    <a:pt x="153636" y="129540"/>
                  </a:cubicBezTo>
                  <a:cubicBezTo>
                    <a:pt x="158221" y="132279"/>
                    <a:pt x="163029" y="134795"/>
                    <a:pt x="167949" y="136919"/>
                  </a:cubicBezTo>
                  <a:cubicBezTo>
                    <a:pt x="175217" y="140050"/>
                    <a:pt x="182765" y="142343"/>
                    <a:pt x="189362" y="146871"/>
                  </a:cubicBezTo>
                  <a:cubicBezTo>
                    <a:pt x="198643" y="153245"/>
                    <a:pt x="203227" y="161687"/>
                    <a:pt x="203618" y="173092"/>
                  </a:cubicBezTo>
                  <a:cubicBezTo>
                    <a:pt x="204233" y="190759"/>
                    <a:pt x="191039" y="203562"/>
                    <a:pt x="176503" y="207532"/>
                  </a:cubicBezTo>
                  <a:close/>
                </a:path>
              </a:pathLst>
            </a:custGeom>
            <a:solidFill>
              <a:srgbClr val="3F3F3F"/>
            </a:solidFill>
            <a:ln w="556" cap="flat">
              <a:noFill/>
              <a:prstDash val="solid"/>
              <a:miter/>
            </a:ln>
          </p:spPr>
          <p:txBody>
            <a:bodyPr rtlCol="0" anchor="ctr"/>
            <a:lstStyle/>
            <a:p>
              <a:pPr defTabSz="1219170"/>
              <a:endParaRPr lang="en-US" sz="2400">
                <a:solidFill>
                  <a:srgbClr val="102B62"/>
                </a:solidFill>
                <a:latin typeface="Arial"/>
              </a:endParaRPr>
            </a:p>
          </p:txBody>
        </p:sp>
      </p:grpSp>
      <p:grpSp>
        <p:nvGrpSpPr>
          <p:cNvPr id="97" name="Group 96">
            <a:extLst>
              <a:ext uri="{FF2B5EF4-FFF2-40B4-BE49-F238E27FC236}">
                <a16:creationId xmlns:a16="http://schemas.microsoft.com/office/drawing/2014/main" id="{F7D297DE-66DC-402C-9708-6BBE807DF813}"/>
              </a:ext>
            </a:extLst>
          </p:cNvPr>
          <p:cNvGrpSpPr/>
          <p:nvPr/>
        </p:nvGrpSpPr>
        <p:grpSpPr>
          <a:xfrm>
            <a:off x="5722756" y="3616902"/>
            <a:ext cx="794013" cy="740207"/>
            <a:chOff x="4292067" y="2712676"/>
            <a:chExt cx="595510" cy="555155"/>
          </a:xfrm>
        </p:grpSpPr>
        <p:grpSp>
          <p:nvGrpSpPr>
            <p:cNvPr id="53" name="Graphic 24">
              <a:extLst>
                <a:ext uri="{FF2B5EF4-FFF2-40B4-BE49-F238E27FC236}">
                  <a16:creationId xmlns:a16="http://schemas.microsoft.com/office/drawing/2014/main" id="{8D54930A-3BB9-454F-9D56-F42A72749681}"/>
                </a:ext>
              </a:extLst>
            </p:cNvPr>
            <p:cNvGrpSpPr/>
            <p:nvPr/>
          </p:nvGrpSpPr>
          <p:grpSpPr>
            <a:xfrm>
              <a:off x="4292067" y="2712676"/>
              <a:ext cx="595510" cy="555155"/>
              <a:chOff x="4292067" y="2712676"/>
              <a:chExt cx="595510" cy="555155"/>
            </a:xfrm>
            <a:solidFill>
              <a:srgbClr val="3F3F3F"/>
            </a:solidFill>
          </p:grpSpPr>
          <p:sp>
            <p:nvSpPr>
              <p:cNvPr id="54" name="Freeform: Shape 53">
                <a:extLst>
                  <a:ext uri="{FF2B5EF4-FFF2-40B4-BE49-F238E27FC236}">
                    <a16:creationId xmlns:a16="http://schemas.microsoft.com/office/drawing/2014/main" id="{F1EBD104-D075-480C-AA1A-7CBD52138B2E}"/>
                  </a:ext>
                </a:extLst>
              </p:cNvPr>
              <p:cNvSpPr/>
              <p:nvPr/>
            </p:nvSpPr>
            <p:spPr>
              <a:xfrm>
                <a:off x="4292067" y="2712676"/>
                <a:ext cx="474510" cy="299074"/>
              </a:xfrm>
              <a:custGeom>
                <a:avLst/>
                <a:gdLst>
                  <a:gd name="connsiteX0" fmla="*/ 288 w 474510"/>
                  <a:gd name="connsiteY0" fmla="*/ 226776 h 299074"/>
                  <a:gd name="connsiteX1" fmla="*/ 29 w 474510"/>
                  <a:gd name="connsiteY1" fmla="*/ 223467 h 299074"/>
                  <a:gd name="connsiteX2" fmla="*/ 29 w 474510"/>
                  <a:gd name="connsiteY2" fmla="*/ 36582 h 299074"/>
                  <a:gd name="connsiteX3" fmla="*/ 25206 w 474510"/>
                  <a:gd name="connsiteY3" fmla="*/ 2320 h 299074"/>
                  <a:gd name="connsiteX4" fmla="*/ 38963 w 474510"/>
                  <a:gd name="connsiteY4" fmla="*/ 178 h 299074"/>
                  <a:gd name="connsiteX5" fmla="*/ 176207 w 474510"/>
                  <a:gd name="connsiteY5" fmla="*/ 114 h 299074"/>
                  <a:gd name="connsiteX6" fmla="*/ 194376 w 474510"/>
                  <a:gd name="connsiteY6" fmla="*/ 892 h 299074"/>
                  <a:gd name="connsiteX7" fmla="*/ 353358 w 474510"/>
                  <a:gd name="connsiteY7" fmla="*/ 114 h 299074"/>
                  <a:gd name="connsiteX8" fmla="*/ 436094 w 474510"/>
                  <a:gd name="connsiteY8" fmla="*/ 178 h 299074"/>
                  <a:gd name="connsiteX9" fmla="*/ 465814 w 474510"/>
                  <a:gd name="connsiteY9" fmla="*/ 13546 h 299074"/>
                  <a:gd name="connsiteX10" fmla="*/ 474509 w 474510"/>
                  <a:gd name="connsiteY10" fmla="*/ 38983 h 299074"/>
                  <a:gd name="connsiteX11" fmla="*/ 474314 w 474510"/>
                  <a:gd name="connsiteY11" fmla="*/ 123341 h 299074"/>
                  <a:gd name="connsiteX12" fmla="*/ 474444 w 474510"/>
                  <a:gd name="connsiteY12" fmla="*/ 241377 h 299074"/>
                  <a:gd name="connsiteX13" fmla="*/ 474250 w 474510"/>
                  <a:gd name="connsiteY13" fmla="*/ 264737 h 299074"/>
                  <a:gd name="connsiteX14" fmla="*/ 451797 w 474510"/>
                  <a:gd name="connsiteY14" fmla="*/ 295625 h 299074"/>
                  <a:gd name="connsiteX15" fmla="*/ 433563 w 474510"/>
                  <a:gd name="connsiteY15" fmla="*/ 298935 h 299074"/>
                  <a:gd name="connsiteX16" fmla="*/ 220397 w 474510"/>
                  <a:gd name="connsiteY16" fmla="*/ 299064 h 299074"/>
                  <a:gd name="connsiteX17" fmla="*/ 216504 w 474510"/>
                  <a:gd name="connsiteY17" fmla="*/ 299064 h 299074"/>
                  <a:gd name="connsiteX18" fmla="*/ 212870 w 474510"/>
                  <a:gd name="connsiteY18" fmla="*/ 295560 h 299074"/>
                  <a:gd name="connsiteX19" fmla="*/ 211962 w 474510"/>
                  <a:gd name="connsiteY19" fmla="*/ 272264 h 299074"/>
                  <a:gd name="connsiteX20" fmla="*/ 216180 w 474510"/>
                  <a:gd name="connsiteY20" fmla="*/ 267917 h 299074"/>
                  <a:gd name="connsiteX21" fmla="*/ 320978 w 474510"/>
                  <a:gd name="connsiteY21" fmla="*/ 267917 h 299074"/>
                  <a:gd name="connsiteX22" fmla="*/ 435834 w 474510"/>
                  <a:gd name="connsiteY22" fmla="*/ 267917 h 299074"/>
                  <a:gd name="connsiteX23" fmla="*/ 443686 w 474510"/>
                  <a:gd name="connsiteY23" fmla="*/ 260130 h 299074"/>
                  <a:gd name="connsiteX24" fmla="*/ 443751 w 474510"/>
                  <a:gd name="connsiteY24" fmla="*/ 39178 h 299074"/>
                  <a:gd name="connsiteX25" fmla="*/ 435769 w 474510"/>
                  <a:gd name="connsiteY25" fmla="*/ 31066 h 299074"/>
                  <a:gd name="connsiteX26" fmla="*/ 38704 w 474510"/>
                  <a:gd name="connsiteY26" fmla="*/ 31131 h 299074"/>
                  <a:gd name="connsiteX27" fmla="*/ 31111 w 474510"/>
                  <a:gd name="connsiteY27" fmla="*/ 38918 h 299074"/>
                  <a:gd name="connsiteX28" fmla="*/ 31111 w 474510"/>
                  <a:gd name="connsiteY28" fmla="*/ 201144 h 299074"/>
                  <a:gd name="connsiteX29" fmla="*/ 25985 w 474510"/>
                  <a:gd name="connsiteY29" fmla="*/ 208088 h 299074"/>
                  <a:gd name="connsiteX30" fmla="*/ 3403 w 474510"/>
                  <a:gd name="connsiteY30" fmla="*/ 224116 h 299074"/>
                  <a:gd name="connsiteX31" fmla="*/ 1132 w 474510"/>
                  <a:gd name="connsiteY31" fmla="*/ 226971 h 299074"/>
                  <a:gd name="connsiteX32" fmla="*/ 288 w 474510"/>
                  <a:gd name="connsiteY32" fmla="*/ 226776 h 29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74510" h="299074">
                    <a:moveTo>
                      <a:pt x="288" y="226776"/>
                    </a:moveTo>
                    <a:cubicBezTo>
                      <a:pt x="224" y="225673"/>
                      <a:pt x="29" y="224570"/>
                      <a:pt x="29" y="223467"/>
                    </a:cubicBezTo>
                    <a:cubicBezTo>
                      <a:pt x="29" y="161172"/>
                      <a:pt x="-36" y="98877"/>
                      <a:pt x="29" y="36582"/>
                    </a:cubicBezTo>
                    <a:cubicBezTo>
                      <a:pt x="29" y="21463"/>
                      <a:pt x="10736" y="6732"/>
                      <a:pt x="25206" y="2320"/>
                    </a:cubicBezTo>
                    <a:cubicBezTo>
                      <a:pt x="29619" y="957"/>
                      <a:pt x="34356" y="178"/>
                      <a:pt x="38963" y="178"/>
                    </a:cubicBezTo>
                    <a:cubicBezTo>
                      <a:pt x="84711" y="49"/>
                      <a:pt x="130459" y="49"/>
                      <a:pt x="176207" y="114"/>
                    </a:cubicBezTo>
                    <a:cubicBezTo>
                      <a:pt x="182242" y="114"/>
                      <a:pt x="188277" y="892"/>
                      <a:pt x="194376" y="892"/>
                    </a:cubicBezTo>
                    <a:cubicBezTo>
                      <a:pt x="247327" y="633"/>
                      <a:pt x="300343" y="308"/>
                      <a:pt x="353358" y="114"/>
                    </a:cubicBezTo>
                    <a:cubicBezTo>
                      <a:pt x="380937" y="-16"/>
                      <a:pt x="408515" y="-81"/>
                      <a:pt x="436094" y="178"/>
                    </a:cubicBezTo>
                    <a:cubicBezTo>
                      <a:pt x="447774" y="308"/>
                      <a:pt x="458092" y="4267"/>
                      <a:pt x="465814" y="13546"/>
                    </a:cubicBezTo>
                    <a:cubicBezTo>
                      <a:pt x="471913" y="20879"/>
                      <a:pt x="474574" y="29379"/>
                      <a:pt x="474509" y="38983"/>
                    </a:cubicBezTo>
                    <a:cubicBezTo>
                      <a:pt x="474379" y="67081"/>
                      <a:pt x="474314" y="95178"/>
                      <a:pt x="474314" y="123341"/>
                    </a:cubicBezTo>
                    <a:cubicBezTo>
                      <a:pt x="474314" y="162664"/>
                      <a:pt x="474444" y="202053"/>
                      <a:pt x="474444" y="241377"/>
                    </a:cubicBezTo>
                    <a:cubicBezTo>
                      <a:pt x="474444" y="249163"/>
                      <a:pt x="474639" y="256950"/>
                      <a:pt x="474250" y="264737"/>
                    </a:cubicBezTo>
                    <a:cubicBezTo>
                      <a:pt x="473471" y="278040"/>
                      <a:pt x="465295" y="290693"/>
                      <a:pt x="451797" y="295625"/>
                    </a:cubicBezTo>
                    <a:cubicBezTo>
                      <a:pt x="446087" y="297766"/>
                      <a:pt x="439663" y="298935"/>
                      <a:pt x="433563" y="298935"/>
                    </a:cubicBezTo>
                    <a:cubicBezTo>
                      <a:pt x="362508" y="299129"/>
                      <a:pt x="291453" y="299064"/>
                      <a:pt x="220397" y="299064"/>
                    </a:cubicBezTo>
                    <a:cubicBezTo>
                      <a:pt x="219100" y="299064"/>
                      <a:pt x="217802" y="299064"/>
                      <a:pt x="216504" y="299064"/>
                    </a:cubicBezTo>
                    <a:cubicBezTo>
                      <a:pt x="214103" y="299064"/>
                      <a:pt x="212935" y="298091"/>
                      <a:pt x="212870" y="295560"/>
                    </a:cubicBezTo>
                    <a:cubicBezTo>
                      <a:pt x="212611" y="287773"/>
                      <a:pt x="212221" y="279986"/>
                      <a:pt x="211962" y="272264"/>
                    </a:cubicBezTo>
                    <a:cubicBezTo>
                      <a:pt x="211832" y="267982"/>
                      <a:pt x="211897" y="267917"/>
                      <a:pt x="216180" y="267917"/>
                    </a:cubicBezTo>
                    <a:cubicBezTo>
                      <a:pt x="251091" y="267917"/>
                      <a:pt x="286067" y="267917"/>
                      <a:pt x="320978" y="267917"/>
                    </a:cubicBezTo>
                    <a:cubicBezTo>
                      <a:pt x="359263" y="267917"/>
                      <a:pt x="397549" y="267917"/>
                      <a:pt x="435834" y="267917"/>
                    </a:cubicBezTo>
                    <a:cubicBezTo>
                      <a:pt x="441415" y="267917"/>
                      <a:pt x="443686" y="265646"/>
                      <a:pt x="443686" y="260130"/>
                    </a:cubicBezTo>
                    <a:cubicBezTo>
                      <a:pt x="443686" y="186479"/>
                      <a:pt x="443621" y="112828"/>
                      <a:pt x="443751" y="39178"/>
                    </a:cubicBezTo>
                    <a:cubicBezTo>
                      <a:pt x="443751" y="33792"/>
                      <a:pt x="440636" y="31066"/>
                      <a:pt x="435769" y="31066"/>
                    </a:cubicBezTo>
                    <a:cubicBezTo>
                      <a:pt x="303393" y="31131"/>
                      <a:pt x="171081" y="31131"/>
                      <a:pt x="38704" y="31131"/>
                    </a:cubicBezTo>
                    <a:cubicBezTo>
                      <a:pt x="32734" y="31131"/>
                      <a:pt x="31111" y="32818"/>
                      <a:pt x="31111" y="38918"/>
                    </a:cubicBezTo>
                    <a:cubicBezTo>
                      <a:pt x="31111" y="92972"/>
                      <a:pt x="31111" y="147026"/>
                      <a:pt x="31111" y="201144"/>
                    </a:cubicBezTo>
                    <a:cubicBezTo>
                      <a:pt x="31111" y="206530"/>
                      <a:pt x="31047" y="206336"/>
                      <a:pt x="25985" y="208088"/>
                    </a:cubicBezTo>
                    <a:cubicBezTo>
                      <a:pt x="16965" y="211267"/>
                      <a:pt x="9178" y="216329"/>
                      <a:pt x="3403" y="224116"/>
                    </a:cubicBezTo>
                    <a:cubicBezTo>
                      <a:pt x="2689" y="225089"/>
                      <a:pt x="1911" y="225998"/>
                      <a:pt x="1132" y="226971"/>
                    </a:cubicBezTo>
                    <a:cubicBezTo>
                      <a:pt x="872" y="226971"/>
                      <a:pt x="548" y="226841"/>
                      <a:pt x="288" y="226776"/>
                    </a:cubicBezTo>
                    <a:close/>
                  </a:path>
                </a:pathLst>
              </a:custGeom>
              <a:solidFill>
                <a:srgbClr val="3F3F3F"/>
              </a:solidFill>
              <a:ln w="644" cap="flat">
                <a:noFill/>
                <a:prstDash val="solid"/>
                <a:miter/>
              </a:ln>
            </p:spPr>
            <p:txBody>
              <a:bodyPr rtlCol="0" anchor="ctr"/>
              <a:lstStyle/>
              <a:p>
                <a:pPr defTabSz="1219170"/>
                <a:endParaRPr lang="en-US" sz="2400">
                  <a:solidFill>
                    <a:srgbClr val="102B62"/>
                  </a:solidFill>
                  <a:latin typeface="Arial"/>
                </a:endParaRPr>
              </a:p>
            </p:txBody>
          </p:sp>
          <p:sp>
            <p:nvSpPr>
              <p:cNvPr id="55" name="Freeform: Shape 54">
                <a:extLst>
                  <a:ext uri="{FF2B5EF4-FFF2-40B4-BE49-F238E27FC236}">
                    <a16:creationId xmlns:a16="http://schemas.microsoft.com/office/drawing/2014/main" id="{0D4E082A-44E9-4D6A-8942-F6FD8B211586}"/>
                  </a:ext>
                </a:extLst>
              </p:cNvPr>
              <p:cNvSpPr/>
              <p:nvPr/>
            </p:nvSpPr>
            <p:spPr>
              <a:xfrm>
                <a:off x="4302737" y="2929969"/>
                <a:ext cx="181496" cy="124842"/>
              </a:xfrm>
              <a:custGeom>
                <a:avLst/>
                <a:gdLst>
                  <a:gd name="connsiteX0" fmla="*/ 100257 w 181496"/>
                  <a:gd name="connsiteY0" fmla="*/ 53933 h 124842"/>
                  <a:gd name="connsiteX1" fmla="*/ 106227 w 181496"/>
                  <a:gd name="connsiteY1" fmla="*/ 38165 h 124842"/>
                  <a:gd name="connsiteX2" fmla="*/ 119854 w 181496"/>
                  <a:gd name="connsiteY2" fmla="*/ 2215 h 124842"/>
                  <a:gd name="connsiteX3" fmla="*/ 123553 w 181496"/>
                  <a:gd name="connsiteY3" fmla="*/ 788 h 124842"/>
                  <a:gd name="connsiteX4" fmla="*/ 158464 w 181496"/>
                  <a:gd name="connsiteY4" fmla="*/ 12403 h 124842"/>
                  <a:gd name="connsiteX5" fmla="*/ 176633 w 181496"/>
                  <a:gd name="connsiteY5" fmla="*/ 35829 h 124842"/>
                  <a:gd name="connsiteX6" fmla="*/ 178255 w 181496"/>
                  <a:gd name="connsiteY6" fmla="*/ 53544 h 124842"/>
                  <a:gd name="connsiteX7" fmla="*/ 181435 w 181496"/>
                  <a:gd name="connsiteY7" fmla="*/ 109804 h 124842"/>
                  <a:gd name="connsiteX8" fmla="*/ 173973 w 181496"/>
                  <a:gd name="connsiteY8" fmla="*/ 124015 h 124842"/>
                  <a:gd name="connsiteX9" fmla="*/ 169236 w 181496"/>
                  <a:gd name="connsiteY9" fmla="*/ 124794 h 124842"/>
                  <a:gd name="connsiteX10" fmla="*/ 13174 w 181496"/>
                  <a:gd name="connsiteY10" fmla="*/ 124794 h 124842"/>
                  <a:gd name="connsiteX11" fmla="*/ 1 w 181496"/>
                  <a:gd name="connsiteY11" fmla="*/ 111621 h 124842"/>
                  <a:gd name="connsiteX12" fmla="*/ 1818 w 181496"/>
                  <a:gd name="connsiteY12" fmla="*/ 77034 h 124842"/>
                  <a:gd name="connsiteX13" fmla="*/ 5127 w 181496"/>
                  <a:gd name="connsiteY13" fmla="*/ 34077 h 124842"/>
                  <a:gd name="connsiteX14" fmla="*/ 23167 w 181496"/>
                  <a:gd name="connsiteY14" fmla="*/ 12403 h 124842"/>
                  <a:gd name="connsiteX15" fmla="*/ 56131 w 181496"/>
                  <a:gd name="connsiteY15" fmla="*/ 917 h 124842"/>
                  <a:gd name="connsiteX16" fmla="*/ 62620 w 181496"/>
                  <a:gd name="connsiteY16" fmla="*/ 3643 h 124842"/>
                  <a:gd name="connsiteX17" fmla="*/ 81763 w 181496"/>
                  <a:gd name="connsiteY17" fmla="*/ 53349 h 124842"/>
                  <a:gd name="connsiteX18" fmla="*/ 83450 w 181496"/>
                  <a:gd name="connsiteY18" fmla="*/ 38619 h 124842"/>
                  <a:gd name="connsiteX19" fmla="*/ 85332 w 181496"/>
                  <a:gd name="connsiteY19" fmla="*/ 22526 h 124842"/>
                  <a:gd name="connsiteX20" fmla="*/ 82477 w 181496"/>
                  <a:gd name="connsiteY20" fmla="*/ 15453 h 124842"/>
                  <a:gd name="connsiteX21" fmla="*/ 80530 w 181496"/>
                  <a:gd name="connsiteY21" fmla="*/ 8704 h 124842"/>
                  <a:gd name="connsiteX22" fmla="*/ 87214 w 181496"/>
                  <a:gd name="connsiteY22" fmla="*/ 4551 h 124842"/>
                  <a:gd name="connsiteX23" fmla="*/ 94676 w 181496"/>
                  <a:gd name="connsiteY23" fmla="*/ 4551 h 124842"/>
                  <a:gd name="connsiteX24" fmla="*/ 101165 w 181496"/>
                  <a:gd name="connsiteY24" fmla="*/ 8964 h 124842"/>
                  <a:gd name="connsiteX25" fmla="*/ 99413 w 181496"/>
                  <a:gd name="connsiteY25" fmla="*/ 15258 h 124842"/>
                  <a:gd name="connsiteX26" fmla="*/ 96947 w 181496"/>
                  <a:gd name="connsiteY26" fmla="*/ 25965 h 124842"/>
                  <a:gd name="connsiteX27" fmla="*/ 98635 w 181496"/>
                  <a:gd name="connsiteY27" fmla="*/ 43356 h 124842"/>
                  <a:gd name="connsiteX28" fmla="*/ 99803 w 181496"/>
                  <a:gd name="connsiteY28" fmla="*/ 53673 h 124842"/>
                  <a:gd name="connsiteX29" fmla="*/ 100257 w 181496"/>
                  <a:gd name="connsiteY29" fmla="*/ 53933 h 124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81496" h="124842">
                    <a:moveTo>
                      <a:pt x="100257" y="53933"/>
                    </a:moveTo>
                    <a:cubicBezTo>
                      <a:pt x="102268" y="48677"/>
                      <a:pt x="104215" y="43421"/>
                      <a:pt x="106227" y="38165"/>
                    </a:cubicBezTo>
                    <a:cubicBezTo>
                      <a:pt x="110769" y="26160"/>
                      <a:pt x="115376" y="14220"/>
                      <a:pt x="119854" y="2215"/>
                    </a:cubicBezTo>
                    <a:cubicBezTo>
                      <a:pt x="120568" y="269"/>
                      <a:pt x="121995" y="269"/>
                      <a:pt x="123553" y="788"/>
                    </a:cubicBezTo>
                    <a:cubicBezTo>
                      <a:pt x="135233" y="4616"/>
                      <a:pt x="147043" y="7991"/>
                      <a:pt x="158464" y="12403"/>
                    </a:cubicBezTo>
                    <a:cubicBezTo>
                      <a:pt x="168846" y="16426"/>
                      <a:pt x="175725" y="23954"/>
                      <a:pt x="176633" y="35829"/>
                    </a:cubicBezTo>
                    <a:cubicBezTo>
                      <a:pt x="177087" y="41734"/>
                      <a:pt x="177866" y="47639"/>
                      <a:pt x="178255" y="53544"/>
                    </a:cubicBezTo>
                    <a:cubicBezTo>
                      <a:pt x="179359" y="72297"/>
                      <a:pt x="180397" y="91050"/>
                      <a:pt x="181435" y="109804"/>
                    </a:cubicBezTo>
                    <a:cubicBezTo>
                      <a:pt x="181889" y="117591"/>
                      <a:pt x="179878" y="121614"/>
                      <a:pt x="173973" y="124015"/>
                    </a:cubicBezTo>
                    <a:cubicBezTo>
                      <a:pt x="172545" y="124599"/>
                      <a:pt x="170858" y="124794"/>
                      <a:pt x="169236" y="124794"/>
                    </a:cubicBezTo>
                    <a:cubicBezTo>
                      <a:pt x="117193" y="124858"/>
                      <a:pt x="65216" y="124858"/>
                      <a:pt x="13174" y="124794"/>
                    </a:cubicBezTo>
                    <a:cubicBezTo>
                      <a:pt x="3635" y="124794"/>
                      <a:pt x="-64" y="119927"/>
                      <a:pt x="1" y="111621"/>
                    </a:cubicBezTo>
                    <a:cubicBezTo>
                      <a:pt x="131" y="100070"/>
                      <a:pt x="1039" y="88520"/>
                      <a:pt x="1818" y="77034"/>
                    </a:cubicBezTo>
                    <a:cubicBezTo>
                      <a:pt x="2791" y="62693"/>
                      <a:pt x="3310" y="48288"/>
                      <a:pt x="5127" y="34077"/>
                    </a:cubicBezTo>
                    <a:cubicBezTo>
                      <a:pt x="6490" y="23564"/>
                      <a:pt x="12849" y="15972"/>
                      <a:pt x="23167" y="12403"/>
                    </a:cubicBezTo>
                    <a:cubicBezTo>
                      <a:pt x="34133" y="8575"/>
                      <a:pt x="45100" y="4746"/>
                      <a:pt x="56131" y="917"/>
                    </a:cubicBezTo>
                    <a:cubicBezTo>
                      <a:pt x="60544" y="-640"/>
                      <a:pt x="61128" y="-510"/>
                      <a:pt x="62620" y="3643"/>
                    </a:cubicBezTo>
                    <a:cubicBezTo>
                      <a:pt x="68850" y="20190"/>
                      <a:pt x="74950" y="36737"/>
                      <a:pt x="81763" y="53349"/>
                    </a:cubicBezTo>
                    <a:cubicBezTo>
                      <a:pt x="82347" y="48417"/>
                      <a:pt x="82931" y="43486"/>
                      <a:pt x="83450" y="38619"/>
                    </a:cubicBezTo>
                    <a:cubicBezTo>
                      <a:pt x="84034" y="33233"/>
                      <a:pt x="84424" y="27847"/>
                      <a:pt x="85332" y="22526"/>
                    </a:cubicBezTo>
                    <a:cubicBezTo>
                      <a:pt x="85851" y="19346"/>
                      <a:pt x="84488" y="17335"/>
                      <a:pt x="82477" y="15453"/>
                    </a:cubicBezTo>
                    <a:cubicBezTo>
                      <a:pt x="80465" y="13571"/>
                      <a:pt x="78973" y="11689"/>
                      <a:pt x="80530" y="8704"/>
                    </a:cubicBezTo>
                    <a:cubicBezTo>
                      <a:pt x="81958" y="5849"/>
                      <a:pt x="84034" y="4486"/>
                      <a:pt x="87214" y="4551"/>
                    </a:cubicBezTo>
                    <a:cubicBezTo>
                      <a:pt x="89680" y="4616"/>
                      <a:pt x="92210" y="4616"/>
                      <a:pt x="94676" y="4551"/>
                    </a:cubicBezTo>
                    <a:cubicBezTo>
                      <a:pt x="97921" y="4486"/>
                      <a:pt x="99868" y="6239"/>
                      <a:pt x="101165" y="8964"/>
                    </a:cubicBezTo>
                    <a:cubicBezTo>
                      <a:pt x="102398" y="11560"/>
                      <a:pt x="101425" y="13766"/>
                      <a:pt x="99413" y="15258"/>
                    </a:cubicBezTo>
                    <a:cubicBezTo>
                      <a:pt x="95585" y="18243"/>
                      <a:pt x="96623" y="22202"/>
                      <a:pt x="96947" y="25965"/>
                    </a:cubicBezTo>
                    <a:cubicBezTo>
                      <a:pt x="97467" y="31740"/>
                      <a:pt x="98051" y="37581"/>
                      <a:pt x="98635" y="43356"/>
                    </a:cubicBezTo>
                    <a:cubicBezTo>
                      <a:pt x="98959" y="46795"/>
                      <a:pt x="99413" y="50234"/>
                      <a:pt x="99803" y="53673"/>
                    </a:cubicBezTo>
                    <a:cubicBezTo>
                      <a:pt x="99868" y="53803"/>
                      <a:pt x="100062" y="53868"/>
                      <a:pt x="100257" y="53933"/>
                    </a:cubicBezTo>
                    <a:close/>
                  </a:path>
                </a:pathLst>
              </a:custGeom>
              <a:solidFill>
                <a:srgbClr val="3F3F3F"/>
              </a:solidFill>
              <a:ln w="644" cap="flat">
                <a:noFill/>
                <a:prstDash val="solid"/>
                <a:miter/>
              </a:ln>
            </p:spPr>
            <p:txBody>
              <a:bodyPr rtlCol="0" anchor="ctr"/>
              <a:lstStyle/>
              <a:p>
                <a:pPr defTabSz="1219170"/>
                <a:endParaRPr lang="en-US" sz="2400">
                  <a:solidFill>
                    <a:srgbClr val="102B62"/>
                  </a:solidFill>
                  <a:latin typeface="Arial"/>
                </a:endParaRPr>
              </a:p>
            </p:txBody>
          </p:sp>
          <p:sp>
            <p:nvSpPr>
              <p:cNvPr id="56" name="Freeform: Shape 55">
                <a:extLst>
                  <a:ext uri="{FF2B5EF4-FFF2-40B4-BE49-F238E27FC236}">
                    <a16:creationId xmlns:a16="http://schemas.microsoft.com/office/drawing/2014/main" id="{79D26917-0941-4803-87B8-5B7CE84C77C4}"/>
                  </a:ext>
                </a:extLst>
              </p:cNvPr>
              <p:cNvSpPr/>
              <p:nvPr/>
            </p:nvSpPr>
            <p:spPr>
              <a:xfrm>
                <a:off x="4468989" y="3175203"/>
                <a:ext cx="133459" cy="92628"/>
              </a:xfrm>
              <a:custGeom>
                <a:avLst/>
                <a:gdLst>
                  <a:gd name="connsiteX0" fmla="*/ 14209 w 133459"/>
                  <a:gd name="connsiteY0" fmla="*/ 92400 h 92628"/>
                  <a:gd name="connsiteX1" fmla="*/ 5774 w 133459"/>
                  <a:gd name="connsiteY1" fmla="*/ 89999 h 92628"/>
                  <a:gd name="connsiteX2" fmla="*/ 388 w 133459"/>
                  <a:gd name="connsiteY2" fmla="*/ 80590 h 92628"/>
                  <a:gd name="connsiteX3" fmla="*/ 582 w 133459"/>
                  <a:gd name="connsiteY3" fmla="*/ 47236 h 92628"/>
                  <a:gd name="connsiteX4" fmla="*/ 31860 w 133459"/>
                  <a:gd name="connsiteY4" fmla="*/ 4084 h 92628"/>
                  <a:gd name="connsiteX5" fmla="*/ 52625 w 133459"/>
                  <a:gd name="connsiteY5" fmla="*/ 61 h 92628"/>
                  <a:gd name="connsiteX6" fmla="*/ 85070 w 133459"/>
                  <a:gd name="connsiteY6" fmla="*/ 256 h 92628"/>
                  <a:gd name="connsiteX7" fmla="*/ 125043 w 133459"/>
                  <a:gd name="connsiteY7" fmla="*/ 23746 h 92628"/>
                  <a:gd name="connsiteX8" fmla="*/ 133414 w 133459"/>
                  <a:gd name="connsiteY8" fmla="*/ 54504 h 92628"/>
                  <a:gd name="connsiteX9" fmla="*/ 133414 w 133459"/>
                  <a:gd name="connsiteY9" fmla="*/ 78189 h 92628"/>
                  <a:gd name="connsiteX10" fmla="*/ 115114 w 133459"/>
                  <a:gd name="connsiteY10" fmla="*/ 92335 h 92628"/>
                  <a:gd name="connsiteX11" fmla="*/ 14209 w 133459"/>
                  <a:gd name="connsiteY11" fmla="*/ 92400 h 92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459" h="92628">
                    <a:moveTo>
                      <a:pt x="14209" y="92400"/>
                    </a:moveTo>
                    <a:cubicBezTo>
                      <a:pt x="11354" y="92270"/>
                      <a:pt x="8304" y="91362"/>
                      <a:pt x="5774" y="89999"/>
                    </a:cubicBezTo>
                    <a:cubicBezTo>
                      <a:pt x="2270" y="88117"/>
                      <a:pt x="388" y="84613"/>
                      <a:pt x="388" y="80590"/>
                    </a:cubicBezTo>
                    <a:cubicBezTo>
                      <a:pt x="258" y="69429"/>
                      <a:pt x="-521" y="58203"/>
                      <a:pt x="582" y="47236"/>
                    </a:cubicBezTo>
                    <a:cubicBezTo>
                      <a:pt x="2659" y="27185"/>
                      <a:pt x="13301" y="12585"/>
                      <a:pt x="31860" y="4084"/>
                    </a:cubicBezTo>
                    <a:cubicBezTo>
                      <a:pt x="38479" y="1034"/>
                      <a:pt x="45357" y="-69"/>
                      <a:pt x="52625" y="61"/>
                    </a:cubicBezTo>
                    <a:cubicBezTo>
                      <a:pt x="63461" y="191"/>
                      <a:pt x="74233" y="-263"/>
                      <a:pt x="85070" y="256"/>
                    </a:cubicBezTo>
                    <a:cubicBezTo>
                      <a:pt x="102331" y="1099"/>
                      <a:pt x="115439" y="9600"/>
                      <a:pt x="125043" y="23746"/>
                    </a:cubicBezTo>
                    <a:cubicBezTo>
                      <a:pt x="131337" y="33025"/>
                      <a:pt x="133414" y="43473"/>
                      <a:pt x="133414" y="54504"/>
                    </a:cubicBezTo>
                    <a:cubicBezTo>
                      <a:pt x="133349" y="62421"/>
                      <a:pt x="133543" y="70273"/>
                      <a:pt x="133414" y="78189"/>
                    </a:cubicBezTo>
                    <a:cubicBezTo>
                      <a:pt x="133154" y="90129"/>
                      <a:pt x="125562" y="93763"/>
                      <a:pt x="115114" y="92335"/>
                    </a:cubicBezTo>
                    <a:lnTo>
                      <a:pt x="14209" y="92400"/>
                    </a:lnTo>
                    <a:close/>
                  </a:path>
                </a:pathLst>
              </a:custGeom>
              <a:solidFill>
                <a:srgbClr val="3F3F3F"/>
              </a:solidFill>
              <a:ln w="644" cap="flat">
                <a:noFill/>
                <a:prstDash val="solid"/>
                <a:miter/>
              </a:ln>
            </p:spPr>
            <p:txBody>
              <a:bodyPr rtlCol="0" anchor="ctr"/>
              <a:lstStyle/>
              <a:p>
                <a:pPr defTabSz="1219170"/>
                <a:endParaRPr lang="en-US" sz="2400">
                  <a:solidFill>
                    <a:srgbClr val="102B62"/>
                  </a:solidFill>
                  <a:latin typeface="Arial"/>
                </a:endParaRPr>
              </a:p>
            </p:txBody>
          </p:sp>
          <p:sp>
            <p:nvSpPr>
              <p:cNvPr id="58" name="Freeform: Shape 57">
                <a:extLst>
                  <a:ext uri="{FF2B5EF4-FFF2-40B4-BE49-F238E27FC236}">
                    <a16:creationId xmlns:a16="http://schemas.microsoft.com/office/drawing/2014/main" id="{3EA19061-70EB-4A5B-BBD4-AE81CABAFFE1}"/>
                  </a:ext>
                </a:extLst>
              </p:cNvPr>
              <p:cNvSpPr/>
              <p:nvPr/>
            </p:nvSpPr>
            <p:spPr>
              <a:xfrm>
                <a:off x="4497734" y="3079899"/>
                <a:ext cx="75160" cy="84552"/>
              </a:xfrm>
              <a:custGeom>
                <a:avLst/>
                <a:gdLst>
                  <a:gd name="connsiteX0" fmla="*/ 0 w 75160"/>
                  <a:gd name="connsiteY0" fmla="*/ 37353 h 84552"/>
                  <a:gd name="connsiteX1" fmla="*/ 2401 w 75160"/>
                  <a:gd name="connsiteY1" fmla="*/ 18211 h 84552"/>
                  <a:gd name="connsiteX2" fmla="*/ 25632 w 75160"/>
                  <a:gd name="connsiteY2" fmla="*/ 171 h 84552"/>
                  <a:gd name="connsiteX3" fmla="*/ 50290 w 75160"/>
                  <a:gd name="connsiteY3" fmla="*/ 171 h 84552"/>
                  <a:gd name="connsiteX4" fmla="*/ 74689 w 75160"/>
                  <a:gd name="connsiteY4" fmla="*/ 23532 h 84552"/>
                  <a:gd name="connsiteX5" fmla="*/ 74365 w 75160"/>
                  <a:gd name="connsiteY5" fmla="*/ 54225 h 84552"/>
                  <a:gd name="connsiteX6" fmla="*/ 55741 w 75160"/>
                  <a:gd name="connsiteY6" fmla="*/ 79987 h 84552"/>
                  <a:gd name="connsiteX7" fmla="*/ 5321 w 75160"/>
                  <a:gd name="connsiteY7" fmla="*/ 65062 h 84552"/>
                  <a:gd name="connsiteX8" fmla="*/ 779 w 75160"/>
                  <a:gd name="connsiteY8" fmla="*/ 48385 h 84552"/>
                  <a:gd name="connsiteX9" fmla="*/ 649 w 75160"/>
                  <a:gd name="connsiteY9" fmla="*/ 37353 h 84552"/>
                  <a:gd name="connsiteX10" fmla="*/ 0 w 75160"/>
                  <a:gd name="connsiteY10" fmla="*/ 37353 h 8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160" h="84552">
                    <a:moveTo>
                      <a:pt x="0" y="37353"/>
                    </a:moveTo>
                    <a:cubicBezTo>
                      <a:pt x="779" y="30994"/>
                      <a:pt x="908" y="24440"/>
                      <a:pt x="2401" y="18211"/>
                    </a:cubicBezTo>
                    <a:cubicBezTo>
                      <a:pt x="4867" y="8153"/>
                      <a:pt x="15184" y="431"/>
                      <a:pt x="25632" y="171"/>
                    </a:cubicBezTo>
                    <a:cubicBezTo>
                      <a:pt x="33873" y="-23"/>
                      <a:pt x="42049" y="-88"/>
                      <a:pt x="50290" y="171"/>
                    </a:cubicBezTo>
                    <a:cubicBezTo>
                      <a:pt x="62944" y="561"/>
                      <a:pt x="74105" y="11008"/>
                      <a:pt x="74689" y="23532"/>
                    </a:cubicBezTo>
                    <a:cubicBezTo>
                      <a:pt x="75143" y="33784"/>
                      <a:pt x="75598" y="44167"/>
                      <a:pt x="74365" y="54225"/>
                    </a:cubicBezTo>
                    <a:cubicBezTo>
                      <a:pt x="73002" y="65776"/>
                      <a:pt x="66059" y="74341"/>
                      <a:pt x="55741" y="79987"/>
                    </a:cubicBezTo>
                    <a:cubicBezTo>
                      <a:pt x="37961" y="89785"/>
                      <a:pt x="14665" y="83361"/>
                      <a:pt x="5321" y="65062"/>
                    </a:cubicBezTo>
                    <a:cubicBezTo>
                      <a:pt x="2725" y="60000"/>
                      <a:pt x="1817" y="54030"/>
                      <a:pt x="779" y="48385"/>
                    </a:cubicBezTo>
                    <a:cubicBezTo>
                      <a:pt x="130" y="44816"/>
                      <a:pt x="649" y="41052"/>
                      <a:pt x="649" y="37353"/>
                    </a:cubicBezTo>
                    <a:cubicBezTo>
                      <a:pt x="519" y="37418"/>
                      <a:pt x="260" y="37353"/>
                      <a:pt x="0" y="37353"/>
                    </a:cubicBezTo>
                    <a:close/>
                  </a:path>
                </a:pathLst>
              </a:custGeom>
              <a:solidFill>
                <a:srgbClr val="3F3F3F"/>
              </a:solidFill>
              <a:ln w="644" cap="flat">
                <a:noFill/>
                <a:prstDash val="solid"/>
                <a:miter/>
              </a:ln>
            </p:spPr>
            <p:txBody>
              <a:bodyPr rtlCol="0" anchor="ctr"/>
              <a:lstStyle/>
              <a:p>
                <a:pPr defTabSz="1219170"/>
                <a:endParaRPr lang="en-US" sz="2400">
                  <a:solidFill>
                    <a:srgbClr val="102B62"/>
                  </a:solidFill>
                  <a:latin typeface="Arial"/>
                </a:endParaRPr>
              </a:p>
            </p:txBody>
          </p:sp>
          <p:sp>
            <p:nvSpPr>
              <p:cNvPr id="59" name="Freeform: Shape 58">
                <a:extLst>
                  <a:ext uri="{FF2B5EF4-FFF2-40B4-BE49-F238E27FC236}">
                    <a16:creationId xmlns:a16="http://schemas.microsoft.com/office/drawing/2014/main" id="{8145044F-DCD5-4F0D-82A9-3071C1508AE4}"/>
                  </a:ext>
                </a:extLst>
              </p:cNvPr>
              <p:cNvSpPr/>
              <p:nvPr/>
            </p:nvSpPr>
            <p:spPr>
              <a:xfrm>
                <a:off x="4611554" y="3175203"/>
                <a:ext cx="133459" cy="92628"/>
              </a:xfrm>
              <a:custGeom>
                <a:avLst/>
                <a:gdLst>
                  <a:gd name="connsiteX0" fmla="*/ 14209 w 133459"/>
                  <a:gd name="connsiteY0" fmla="*/ 92400 h 92628"/>
                  <a:gd name="connsiteX1" fmla="*/ 5774 w 133459"/>
                  <a:gd name="connsiteY1" fmla="*/ 89999 h 92628"/>
                  <a:gd name="connsiteX2" fmla="*/ 388 w 133459"/>
                  <a:gd name="connsiteY2" fmla="*/ 80590 h 92628"/>
                  <a:gd name="connsiteX3" fmla="*/ 582 w 133459"/>
                  <a:gd name="connsiteY3" fmla="*/ 47236 h 92628"/>
                  <a:gd name="connsiteX4" fmla="*/ 31860 w 133459"/>
                  <a:gd name="connsiteY4" fmla="*/ 4084 h 92628"/>
                  <a:gd name="connsiteX5" fmla="*/ 52625 w 133459"/>
                  <a:gd name="connsiteY5" fmla="*/ 61 h 92628"/>
                  <a:gd name="connsiteX6" fmla="*/ 85070 w 133459"/>
                  <a:gd name="connsiteY6" fmla="*/ 256 h 92628"/>
                  <a:gd name="connsiteX7" fmla="*/ 125043 w 133459"/>
                  <a:gd name="connsiteY7" fmla="*/ 23746 h 92628"/>
                  <a:gd name="connsiteX8" fmla="*/ 133414 w 133459"/>
                  <a:gd name="connsiteY8" fmla="*/ 54504 h 92628"/>
                  <a:gd name="connsiteX9" fmla="*/ 133414 w 133459"/>
                  <a:gd name="connsiteY9" fmla="*/ 78189 h 92628"/>
                  <a:gd name="connsiteX10" fmla="*/ 115114 w 133459"/>
                  <a:gd name="connsiteY10" fmla="*/ 92335 h 92628"/>
                  <a:gd name="connsiteX11" fmla="*/ 14209 w 133459"/>
                  <a:gd name="connsiteY11" fmla="*/ 92400 h 92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459" h="92628">
                    <a:moveTo>
                      <a:pt x="14209" y="92400"/>
                    </a:moveTo>
                    <a:cubicBezTo>
                      <a:pt x="11354" y="92270"/>
                      <a:pt x="8304" y="91362"/>
                      <a:pt x="5774" y="89999"/>
                    </a:cubicBezTo>
                    <a:cubicBezTo>
                      <a:pt x="2270" y="88117"/>
                      <a:pt x="388" y="84613"/>
                      <a:pt x="388" y="80590"/>
                    </a:cubicBezTo>
                    <a:cubicBezTo>
                      <a:pt x="258" y="69429"/>
                      <a:pt x="-521" y="58203"/>
                      <a:pt x="582" y="47236"/>
                    </a:cubicBezTo>
                    <a:cubicBezTo>
                      <a:pt x="2659" y="27185"/>
                      <a:pt x="13301" y="12585"/>
                      <a:pt x="31860" y="4084"/>
                    </a:cubicBezTo>
                    <a:cubicBezTo>
                      <a:pt x="38479" y="1034"/>
                      <a:pt x="45357" y="-69"/>
                      <a:pt x="52625" y="61"/>
                    </a:cubicBezTo>
                    <a:cubicBezTo>
                      <a:pt x="63461" y="191"/>
                      <a:pt x="74233" y="-263"/>
                      <a:pt x="85070" y="256"/>
                    </a:cubicBezTo>
                    <a:cubicBezTo>
                      <a:pt x="102331" y="1099"/>
                      <a:pt x="115439" y="9600"/>
                      <a:pt x="125043" y="23746"/>
                    </a:cubicBezTo>
                    <a:cubicBezTo>
                      <a:pt x="131337" y="33025"/>
                      <a:pt x="133414" y="43473"/>
                      <a:pt x="133414" y="54504"/>
                    </a:cubicBezTo>
                    <a:cubicBezTo>
                      <a:pt x="133349" y="62421"/>
                      <a:pt x="133543" y="70273"/>
                      <a:pt x="133414" y="78189"/>
                    </a:cubicBezTo>
                    <a:cubicBezTo>
                      <a:pt x="133154" y="90129"/>
                      <a:pt x="125562" y="93763"/>
                      <a:pt x="115114" y="92335"/>
                    </a:cubicBezTo>
                    <a:lnTo>
                      <a:pt x="14209" y="92400"/>
                    </a:lnTo>
                    <a:close/>
                  </a:path>
                </a:pathLst>
              </a:custGeom>
              <a:solidFill>
                <a:srgbClr val="3F3F3F"/>
              </a:solidFill>
              <a:ln w="644" cap="flat">
                <a:noFill/>
                <a:prstDash val="solid"/>
                <a:miter/>
              </a:ln>
            </p:spPr>
            <p:txBody>
              <a:bodyPr rtlCol="0" anchor="ctr"/>
              <a:lstStyle/>
              <a:p>
                <a:pPr defTabSz="1219170"/>
                <a:endParaRPr lang="en-US" sz="2400">
                  <a:solidFill>
                    <a:srgbClr val="102B62"/>
                  </a:solidFill>
                  <a:latin typeface="Arial"/>
                </a:endParaRPr>
              </a:p>
            </p:txBody>
          </p:sp>
          <p:sp>
            <p:nvSpPr>
              <p:cNvPr id="60" name="Freeform: Shape 59">
                <a:extLst>
                  <a:ext uri="{FF2B5EF4-FFF2-40B4-BE49-F238E27FC236}">
                    <a16:creationId xmlns:a16="http://schemas.microsoft.com/office/drawing/2014/main" id="{928D0CD5-DF07-43D1-8ED4-8AB3A18B64A3}"/>
                  </a:ext>
                </a:extLst>
              </p:cNvPr>
              <p:cNvSpPr/>
              <p:nvPr/>
            </p:nvSpPr>
            <p:spPr>
              <a:xfrm>
                <a:off x="4640299" y="3079899"/>
                <a:ext cx="75160" cy="84552"/>
              </a:xfrm>
              <a:custGeom>
                <a:avLst/>
                <a:gdLst>
                  <a:gd name="connsiteX0" fmla="*/ 0 w 75160"/>
                  <a:gd name="connsiteY0" fmla="*/ 37353 h 84552"/>
                  <a:gd name="connsiteX1" fmla="*/ 2401 w 75160"/>
                  <a:gd name="connsiteY1" fmla="*/ 18211 h 84552"/>
                  <a:gd name="connsiteX2" fmla="*/ 25632 w 75160"/>
                  <a:gd name="connsiteY2" fmla="*/ 171 h 84552"/>
                  <a:gd name="connsiteX3" fmla="*/ 50290 w 75160"/>
                  <a:gd name="connsiteY3" fmla="*/ 171 h 84552"/>
                  <a:gd name="connsiteX4" fmla="*/ 74689 w 75160"/>
                  <a:gd name="connsiteY4" fmla="*/ 23532 h 84552"/>
                  <a:gd name="connsiteX5" fmla="*/ 74365 w 75160"/>
                  <a:gd name="connsiteY5" fmla="*/ 54225 h 84552"/>
                  <a:gd name="connsiteX6" fmla="*/ 55741 w 75160"/>
                  <a:gd name="connsiteY6" fmla="*/ 79987 h 84552"/>
                  <a:gd name="connsiteX7" fmla="*/ 5321 w 75160"/>
                  <a:gd name="connsiteY7" fmla="*/ 65062 h 84552"/>
                  <a:gd name="connsiteX8" fmla="*/ 779 w 75160"/>
                  <a:gd name="connsiteY8" fmla="*/ 48385 h 84552"/>
                  <a:gd name="connsiteX9" fmla="*/ 649 w 75160"/>
                  <a:gd name="connsiteY9" fmla="*/ 37353 h 84552"/>
                  <a:gd name="connsiteX10" fmla="*/ 0 w 75160"/>
                  <a:gd name="connsiteY10" fmla="*/ 37353 h 8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160" h="84552">
                    <a:moveTo>
                      <a:pt x="0" y="37353"/>
                    </a:moveTo>
                    <a:cubicBezTo>
                      <a:pt x="779" y="30994"/>
                      <a:pt x="908" y="24440"/>
                      <a:pt x="2401" y="18211"/>
                    </a:cubicBezTo>
                    <a:cubicBezTo>
                      <a:pt x="4867" y="8153"/>
                      <a:pt x="15184" y="431"/>
                      <a:pt x="25632" y="171"/>
                    </a:cubicBezTo>
                    <a:cubicBezTo>
                      <a:pt x="33873" y="-23"/>
                      <a:pt x="42049" y="-88"/>
                      <a:pt x="50290" y="171"/>
                    </a:cubicBezTo>
                    <a:cubicBezTo>
                      <a:pt x="62944" y="561"/>
                      <a:pt x="74105" y="11008"/>
                      <a:pt x="74689" y="23532"/>
                    </a:cubicBezTo>
                    <a:cubicBezTo>
                      <a:pt x="75143" y="33784"/>
                      <a:pt x="75598" y="44167"/>
                      <a:pt x="74365" y="54225"/>
                    </a:cubicBezTo>
                    <a:cubicBezTo>
                      <a:pt x="73002" y="65776"/>
                      <a:pt x="66059" y="74341"/>
                      <a:pt x="55741" y="79987"/>
                    </a:cubicBezTo>
                    <a:cubicBezTo>
                      <a:pt x="37961" y="89785"/>
                      <a:pt x="14665" y="83361"/>
                      <a:pt x="5321" y="65062"/>
                    </a:cubicBezTo>
                    <a:cubicBezTo>
                      <a:pt x="2725" y="60000"/>
                      <a:pt x="1817" y="54030"/>
                      <a:pt x="779" y="48385"/>
                    </a:cubicBezTo>
                    <a:cubicBezTo>
                      <a:pt x="130" y="44816"/>
                      <a:pt x="649" y="41052"/>
                      <a:pt x="649" y="37353"/>
                    </a:cubicBezTo>
                    <a:cubicBezTo>
                      <a:pt x="454" y="37418"/>
                      <a:pt x="260" y="37353"/>
                      <a:pt x="0" y="37353"/>
                    </a:cubicBezTo>
                    <a:close/>
                  </a:path>
                </a:pathLst>
              </a:custGeom>
              <a:solidFill>
                <a:srgbClr val="3F3F3F"/>
              </a:solidFill>
              <a:ln w="644" cap="flat">
                <a:noFill/>
                <a:prstDash val="solid"/>
                <a:miter/>
              </a:ln>
            </p:spPr>
            <p:txBody>
              <a:bodyPr rtlCol="0" anchor="ctr"/>
              <a:lstStyle/>
              <a:p>
                <a:pPr defTabSz="1219170"/>
                <a:endParaRPr lang="en-US" sz="2400">
                  <a:solidFill>
                    <a:srgbClr val="102B62"/>
                  </a:solidFill>
                  <a:latin typeface="Arial"/>
                </a:endParaRPr>
              </a:p>
            </p:txBody>
          </p:sp>
          <p:sp>
            <p:nvSpPr>
              <p:cNvPr id="61" name="Freeform: Shape 60">
                <a:extLst>
                  <a:ext uri="{FF2B5EF4-FFF2-40B4-BE49-F238E27FC236}">
                    <a16:creationId xmlns:a16="http://schemas.microsoft.com/office/drawing/2014/main" id="{C84EC1C4-848B-4224-8BE9-80247CEA30C1}"/>
                  </a:ext>
                </a:extLst>
              </p:cNvPr>
              <p:cNvSpPr/>
              <p:nvPr/>
            </p:nvSpPr>
            <p:spPr>
              <a:xfrm>
                <a:off x="4754118" y="3175203"/>
                <a:ext cx="133459" cy="92628"/>
              </a:xfrm>
              <a:custGeom>
                <a:avLst/>
                <a:gdLst>
                  <a:gd name="connsiteX0" fmla="*/ 14210 w 133459"/>
                  <a:gd name="connsiteY0" fmla="*/ 92400 h 92628"/>
                  <a:gd name="connsiteX1" fmla="*/ 5774 w 133459"/>
                  <a:gd name="connsiteY1" fmla="*/ 89999 h 92628"/>
                  <a:gd name="connsiteX2" fmla="*/ 388 w 133459"/>
                  <a:gd name="connsiteY2" fmla="*/ 80590 h 92628"/>
                  <a:gd name="connsiteX3" fmla="*/ 582 w 133459"/>
                  <a:gd name="connsiteY3" fmla="*/ 47236 h 92628"/>
                  <a:gd name="connsiteX4" fmla="*/ 31860 w 133459"/>
                  <a:gd name="connsiteY4" fmla="*/ 4084 h 92628"/>
                  <a:gd name="connsiteX5" fmla="*/ 52625 w 133459"/>
                  <a:gd name="connsiteY5" fmla="*/ 61 h 92628"/>
                  <a:gd name="connsiteX6" fmla="*/ 85070 w 133459"/>
                  <a:gd name="connsiteY6" fmla="*/ 256 h 92628"/>
                  <a:gd name="connsiteX7" fmla="*/ 125043 w 133459"/>
                  <a:gd name="connsiteY7" fmla="*/ 23746 h 92628"/>
                  <a:gd name="connsiteX8" fmla="*/ 133414 w 133459"/>
                  <a:gd name="connsiteY8" fmla="*/ 54504 h 92628"/>
                  <a:gd name="connsiteX9" fmla="*/ 133414 w 133459"/>
                  <a:gd name="connsiteY9" fmla="*/ 78189 h 92628"/>
                  <a:gd name="connsiteX10" fmla="*/ 115114 w 133459"/>
                  <a:gd name="connsiteY10" fmla="*/ 92335 h 92628"/>
                  <a:gd name="connsiteX11" fmla="*/ 14210 w 133459"/>
                  <a:gd name="connsiteY11" fmla="*/ 92400 h 92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459" h="92628">
                    <a:moveTo>
                      <a:pt x="14210" y="92400"/>
                    </a:moveTo>
                    <a:cubicBezTo>
                      <a:pt x="11354" y="92270"/>
                      <a:pt x="8304" y="91362"/>
                      <a:pt x="5774" y="89999"/>
                    </a:cubicBezTo>
                    <a:cubicBezTo>
                      <a:pt x="2270" y="88117"/>
                      <a:pt x="388" y="84613"/>
                      <a:pt x="388" y="80590"/>
                    </a:cubicBezTo>
                    <a:cubicBezTo>
                      <a:pt x="258" y="69429"/>
                      <a:pt x="-521" y="58203"/>
                      <a:pt x="582" y="47236"/>
                    </a:cubicBezTo>
                    <a:cubicBezTo>
                      <a:pt x="2659" y="27185"/>
                      <a:pt x="13301" y="12585"/>
                      <a:pt x="31860" y="4084"/>
                    </a:cubicBezTo>
                    <a:cubicBezTo>
                      <a:pt x="38479" y="1034"/>
                      <a:pt x="45357" y="-69"/>
                      <a:pt x="52625" y="61"/>
                    </a:cubicBezTo>
                    <a:cubicBezTo>
                      <a:pt x="63461" y="191"/>
                      <a:pt x="74233" y="-263"/>
                      <a:pt x="85070" y="256"/>
                    </a:cubicBezTo>
                    <a:cubicBezTo>
                      <a:pt x="102331" y="1099"/>
                      <a:pt x="115439" y="9600"/>
                      <a:pt x="125043" y="23746"/>
                    </a:cubicBezTo>
                    <a:cubicBezTo>
                      <a:pt x="131337" y="33025"/>
                      <a:pt x="133414" y="43473"/>
                      <a:pt x="133414" y="54504"/>
                    </a:cubicBezTo>
                    <a:cubicBezTo>
                      <a:pt x="133349" y="62421"/>
                      <a:pt x="133543" y="70273"/>
                      <a:pt x="133414" y="78189"/>
                    </a:cubicBezTo>
                    <a:cubicBezTo>
                      <a:pt x="133154" y="90129"/>
                      <a:pt x="125562" y="93763"/>
                      <a:pt x="115114" y="92335"/>
                    </a:cubicBezTo>
                    <a:lnTo>
                      <a:pt x="14210" y="92400"/>
                    </a:lnTo>
                    <a:close/>
                  </a:path>
                </a:pathLst>
              </a:custGeom>
              <a:solidFill>
                <a:srgbClr val="3F3F3F"/>
              </a:solidFill>
              <a:ln w="644" cap="flat">
                <a:noFill/>
                <a:prstDash val="solid"/>
                <a:miter/>
              </a:ln>
            </p:spPr>
            <p:txBody>
              <a:bodyPr rtlCol="0" anchor="ctr"/>
              <a:lstStyle/>
              <a:p>
                <a:pPr defTabSz="1219170"/>
                <a:endParaRPr lang="en-US" sz="2400">
                  <a:solidFill>
                    <a:srgbClr val="102B62"/>
                  </a:solidFill>
                  <a:latin typeface="Arial"/>
                </a:endParaRPr>
              </a:p>
            </p:txBody>
          </p:sp>
          <p:sp>
            <p:nvSpPr>
              <p:cNvPr id="62" name="Freeform: Shape 61">
                <a:extLst>
                  <a:ext uri="{FF2B5EF4-FFF2-40B4-BE49-F238E27FC236}">
                    <a16:creationId xmlns:a16="http://schemas.microsoft.com/office/drawing/2014/main" id="{1F382127-745E-45B7-9A12-4E5DACD481DB}"/>
                  </a:ext>
                </a:extLst>
              </p:cNvPr>
              <p:cNvSpPr/>
              <p:nvPr/>
            </p:nvSpPr>
            <p:spPr>
              <a:xfrm>
                <a:off x="4782863" y="3079899"/>
                <a:ext cx="75160" cy="84552"/>
              </a:xfrm>
              <a:custGeom>
                <a:avLst/>
                <a:gdLst>
                  <a:gd name="connsiteX0" fmla="*/ 0 w 75160"/>
                  <a:gd name="connsiteY0" fmla="*/ 37353 h 84552"/>
                  <a:gd name="connsiteX1" fmla="*/ 2401 w 75160"/>
                  <a:gd name="connsiteY1" fmla="*/ 18211 h 84552"/>
                  <a:gd name="connsiteX2" fmla="*/ 25632 w 75160"/>
                  <a:gd name="connsiteY2" fmla="*/ 171 h 84552"/>
                  <a:gd name="connsiteX3" fmla="*/ 50290 w 75160"/>
                  <a:gd name="connsiteY3" fmla="*/ 171 h 84552"/>
                  <a:gd name="connsiteX4" fmla="*/ 74689 w 75160"/>
                  <a:gd name="connsiteY4" fmla="*/ 23532 h 84552"/>
                  <a:gd name="connsiteX5" fmla="*/ 74365 w 75160"/>
                  <a:gd name="connsiteY5" fmla="*/ 54225 h 84552"/>
                  <a:gd name="connsiteX6" fmla="*/ 55741 w 75160"/>
                  <a:gd name="connsiteY6" fmla="*/ 79987 h 84552"/>
                  <a:gd name="connsiteX7" fmla="*/ 5321 w 75160"/>
                  <a:gd name="connsiteY7" fmla="*/ 65062 h 84552"/>
                  <a:gd name="connsiteX8" fmla="*/ 779 w 75160"/>
                  <a:gd name="connsiteY8" fmla="*/ 48385 h 84552"/>
                  <a:gd name="connsiteX9" fmla="*/ 649 w 75160"/>
                  <a:gd name="connsiteY9" fmla="*/ 37353 h 84552"/>
                  <a:gd name="connsiteX10" fmla="*/ 0 w 75160"/>
                  <a:gd name="connsiteY10" fmla="*/ 37353 h 8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160" h="84552">
                    <a:moveTo>
                      <a:pt x="0" y="37353"/>
                    </a:moveTo>
                    <a:cubicBezTo>
                      <a:pt x="779" y="30994"/>
                      <a:pt x="908" y="24440"/>
                      <a:pt x="2401" y="18211"/>
                    </a:cubicBezTo>
                    <a:cubicBezTo>
                      <a:pt x="4867" y="8153"/>
                      <a:pt x="15184" y="431"/>
                      <a:pt x="25632" y="171"/>
                    </a:cubicBezTo>
                    <a:cubicBezTo>
                      <a:pt x="33873" y="-23"/>
                      <a:pt x="42049" y="-88"/>
                      <a:pt x="50290" y="171"/>
                    </a:cubicBezTo>
                    <a:cubicBezTo>
                      <a:pt x="62944" y="561"/>
                      <a:pt x="74105" y="11008"/>
                      <a:pt x="74689" y="23532"/>
                    </a:cubicBezTo>
                    <a:cubicBezTo>
                      <a:pt x="75143" y="33784"/>
                      <a:pt x="75598" y="44167"/>
                      <a:pt x="74365" y="54225"/>
                    </a:cubicBezTo>
                    <a:cubicBezTo>
                      <a:pt x="73002" y="65776"/>
                      <a:pt x="66059" y="74341"/>
                      <a:pt x="55741" y="79987"/>
                    </a:cubicBezTo>
                    <a:cubicBezTo>
                      <a:pt x="37961" y="89785"/>
                      <a:pt x="14665" y="83361"/>
                      <a:pt x="5321" y="65062"/>
                    </a:cubicBezTo>
                    <a:cubicBezTo>
                      <a:pt x="2725" y="60000"/>
                      <a:pt x="1817" y="54030"/>
                      <a:pt x="779" y="48385"/>
                    </a:cubicBezTo>
                    <a:cubicBezTo>
                      <a:pt x="130" y="44816"/>
                      <a:pt x="649" y="41052"/>
                      <a:pt x="649" y="37353"/>
                    </a:cubicBezTo>
                    <a:cubicBezTo>
                      <a:pt x="454" y="37418"/>
                      <a:pt x="260" y="37353"/>
                      <a:pt x="0" y="37353"/>
                    </a:cubicBezTo>
                    <a:close/>
                  </a:path>
                </a:pathLst>
              </a:custGeom>
              <a:solidFill>
                <a:srgbClr val="3F3F3F"/>
              </a:solidFill>
              <a:ln w="644" cap="flat">
                <a:noFill/>
                <a:prstDash val="solid"/>
                <a:miter/>
              </a:ln>
            </p:spPr>
            <p:txBody>
              <a:bodyPr rtlCol="0" anchor="ctr"/>
              <a:lstStyle/>
              <a:p>
                <a:pPr defTabSz="1219170"/>
                <a:endParaRPr lang="en-US" sz="2400">
                  <a:solidFill>
                    <a:srgbClr val="102B62"/>
                  </a:solidFill>
                  <a:latin typeface="Arial"/>
                </a:endParaRPr>
              </a:p>
            </p:txBody>
          </p:sp>
          <p:sp>
            <p:nvSpPr>
              <p:cNvPr id="63" name="Freeform: Shape 62">
                <a:extLst>
                  <a:ext uri="{FF2B5EF4-FFF2-40B4-BE49-F238E27FC236}">
                    <a16:creationId xmlns:a16="http://schemas.microsoft.com/office/drawing/2014/main" id="{AA702057-E2AC-4174-A37D-779752B43800}"/>
                  </a:ext>
                </a:extLst>
              </p:cNvPr>
              <p:cNvSpPr/>
              <p:nvPr/>
            </p:nvSpPr>
            <p:spPr>
              <a:xfrm>
                <a:off x="4351166" y="2804217"/>
                <a:ext cx="83461" cy="118938"/>
              </a:xfrm>
              <a:custGeom>
                <a:avLst/>
                <a:gdLst>
                  <a:gd name="connsiteX0" fmla="*/ 3290 w 83461"/>
                  <a:gd name="connsiteY0" fmla="*/ 23689 h 118938"/>
                  <a:gd name="connsiteX1" fmla="*/ 1278 w 83461"/>
                  <a:gd name="connsiteY1" fmla="*/ 23559 h 118938"/>
                  <a:gd name="connsiteX2" fmla="*/ 6469 w 83461"/>
                  <a:gd name="connsiteY2" fmla="*/ 17264 h 118938"/>
                  <a:gd name="connsiteX3" fmla="*/ 11206 w 83461"/>
                  <a:gd name="connsiteY3" fmla="*/ 13176 h 118938"/>
                  <a:gd name="connsiteX4" fmla="*/ 27948 w 83461"/>
                  <a:gd name="connsiteY4" fmla="*/ 1561 h 118938"/>
                  <a:gd name="connsiteX5" fmla="*/ 39953 w 83461"/>
                  <a:gd name="connsiteY5" fmla="*/ 4 h 118938"/>
                  <a:gd name="connsiteX6" fmla="*/ 43327 w 83461"/>
                  <a:gd name="connsiteY6" fmla="*/ 1107 h 118938"/>
                  <a:gd name="connsiteX7" fmla="*/ 49297 w 83461"/>
                  <a:gd name="connsiteY7" fmla="*/ 2404 h 118938"/>
                  <a:gd name="connsiteX8" fmla="*/ 46701 w 83461"/>
                  <a:gd name="connsiteY8" fmla="*/ 3508 h 118938"/>
                  <a:gd name="connsiteX9" fmla="*/ 58252 w 83461"/>
                  <a:gd name="connsiteY9" fmla="*/ 4221 h 118938"/>
                  <a:gd name="connsiteX10" fmla="*/ 58252 w 83461"/>
                  <a:gd name="connsiteY10" fmla="*/ 5389 h 118938"/>
                  <a:gd name="connsiteX11" fmla="*/ 55527 w 83461"/>
                  <a:gd name="connsiteY11" fmla="*/ 6103 h 118938"/>
                  <a:gd name="connsiteX12" fmla="*/ 74604 w 83461"/>
                  <a:gd name="connsiteY12" fmla="*/ 12657 h 118938"/>
                  <a:gd name="connsiteX13" fmla="*/ 68959 w 83461"/>
                  <a:gd name="connsiteY13" fmla="*/ 11035 h 118938"/>
                  <a:gd name="connsiteX14" fmla="*/ 75643 w 83461"/>
                  <a:gd name="connsiteY14" fmla="*/ 17913 h 118938"/>
                  <a:gd name="connsiteX15" fmla="*/ 83235 w 83461"/>
                  <a:gd name="connsiteY15" fmla="*/ 36926 h 118938"/>
                  <a:gd name="connsiteX16" fmla="*/ 83105 w 83461"/>
                  <a:gd name="connsiteY16" fmla="*/ 53084 h 118938"/>
                  <a:gd name="connsiteX17" fmla="*/ 82521 w 83461"/>
                  <a:gd name="connsiteY17" fmla="*/ 71188 h 118938"/>
                  <a:gd name="connsiteX18" fmla="*/ 75253 w 83461"/>
                  <a:gd name="connsiteY18" fmla="*/ 92408 h 118938"/>
                  <a:gd name="connsiteX19" fmla="*/ 69413 w 83461"/>
                  <a:gd name="connsiteY19" fmla="*/ 102466 h 118938"/>
                  <a:gd name="connsiteX20" fmla="*/ 44171 w 83461"/>
                  <a:gd name="connsiteY20" fmla="*/ 118883 h 118938"/>
                  <a:gd name="connsiteX21" fmla="*/ 14126 w 83461"/>
                  <a:gd name="connsiteY21" fmla="*/ 101233 h 118938"/>
                  <a:gd name="connsiteX22" fmla="*/ 4652 w 83461"/>
                  <a:gd name="connsiteY22" fmla="*/ 85140 h 118938"/>
                  <a:gd name="connsiteX23" fmla="*/ 1927 w 83461"/>
                  <a:gd name="connsiteY23" fmla="*/ 74303 h 118938"/>
                  <a:gd name="connsiteX24" fmla="*/ 305 w 83461"/>
                  <a:gd name="connsiteY24" fmla="*/ 45557 h 118938"/>
                  <a:gd name="connsiteX25" fmla="*/ 1278 w 83461"/>
                  <a:gd name="connsiteY25" fmla="*/ 27517 h 118938"/>
                  <a:gd name="connsiteX26" fmla="*/ 3290 w 83461"/>
                  <a:gd name="connsiteY26" fmla="*/ 23689 h 118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461" h="118938">
                    <a:moveTo>
                      <a:pt x="3290" y="23689"/>
                    </a:moveTo>
                    <a:cubicBezTo>
                      <a:pt x="2511" y="23624"/>
                      <a:pt x="1992" y="23624"/>
                      <a:pt x="1278" y="23559"/>
                    </a:cubicBezTo>
                    <a:cubicBezTo>
                      <a:pt x="1992" y="20574"/>
                      <a:pt x="4068" y="18887"/>
                      <a:pt x="6469" y="17264"/>
                    </a:cubicBezTo>
                    <a:cubicBezTo>
                      <a:pt x="8156" y="16096"/>
                      <a:pt x="9649" y="14539"/>
                      <a:pt x="11206" y="13176"/>
                    </a:cubicBezTo>
                    <a:cubicBezTo>
                      <a:pt x="16398" y="8699"/>
                      <a:pt x="20745" y="2989"/>
                      <a:pt x="27948" y="1561"/>
                    </a:cubicBezTo>
                    <a:cubicBezTo>
                      <a:pt x="31906" y="782"/>
                      <a:pt x="35930" y="328"/>
                      <a:pt x="39953" y="4"/>
                    </a:cubicBezTo>
                    <a:cubicBezTo>
                      <a:pt x="41056" y="-61"/>
                      <a:pt x="42224" y="782"/>
                      <a:pt x="43327" y="1107"/>
                    </a:cubicBezTo>
                    <a:cubicBezTo>
                      <a:pt x="45144" y="1561"/>
                      <a:pt x="46961" y="1885"/>
                      <a:pt x="49297" y="2404"/>
                    </a:cubicBezTo>
                    <a:cubicBezTo>
                      <a:pt x="48259" y="2859"/>
                      <a:pt x="47480" y="3183"/>
                      <a:pt x="46701" y="3508"/>
                    </a:cubicBezTo>
                    <a:cubicBezTo>
                      <a:pt x="50595" y="3767"/>
                      <a:pt x="54423" y="3962"/>
                      <a:pt x="58252" y="4221"/>
                    </a:cubicBezTo>
                    <a:cubicBezTo>
                      <a:pt x="58252" y="4611"/>
                      <a:pt x="58252" y="5000"/>
                      <a:pt x="58252" y="5389"/>
                    </a:cubicBezTo>
                    <a:cubicBezTo>
                      <a:pt x="57344" y="5649"/>
                      <a:pt x="56435" y="5909"/>
                      <a:pt x="55527" y="6103"/>
                    </a:cubicBezTo>
                    <a:cubicBezTo>
                      <a:pt x="62081" y="7790"/>
                      <a:pt x="69219" y="7531"/>
                      <a:pt x="74604" y="12657"/>
                    </a:cubicBezTo>
                    <a:cubicBezTo>
                      <a:pt x="72658" y="12073"/>
                      <a:pt x="70711" y="11554"/>
                      <a:pt x="68959" y="11035"/>
                    </a:cubicBezTo>
                    <a:cubicBezTo>
                      <a:pt x="71165" y="13306"/>
                      <a:pt x="73177" y="15837"/>
                      <a:pt x="75643" y="17913"/>
                    </a:cubicBezTo>
                    <a:cubicBezTo>
                      <a:pt x="81483" y="22975"/>
                      <a:pt x="82586" y="29983"/>
                      <a:pt x="83235" y="36926"/>
                    </a:cubicBezTo>
                    <a:cubicBezTo>
                      <a:pt x="83754" y="42247"/>
                      <a:pt x="83235" y="47698"/>
                      <a:pt x="83105" y="53084"/>
                    </a:cubicBezTo>
                    <a:cubicBezTo>
                      <a:pt x="82975" y="59119"/>
                      <a:pt x="82456" y="65154"/>
                      <a:pt x="82521" y="71188"/>
                    </a:cubicBezTo>
                    <a:cubicBezTo>
                      <a:pt x="82651" y="79235"/>
                      <a:pt x="80250" y="86113"/>
                      <a:pt x="75253" y="92408"/>
                    </a:cubicBezTo>
                    <a:cubicBezTo>
                      <a:pt x="72852" y="95393"/>
                      <a:pt x="71295" y="99027"/>
                      <a:pt x="69413" y="102466"/>
                    </a:cubicBezTo>
                    <a:cubicBezTo>
                      <a:pt x="63962" y="112524"/>
                      <a:pt x="55786" y="118299"/>
                      <a:pt x="44171" y="118883"/>
                    </a:cubicBezTo>
                    <a:cubicBezTo>
                      <a:pt x="30219" y="119597"/>
                      <a:pt x="20486" y="113432"/>
                      <a:pt x="14126" y="101233"/>
                    </a:cubicBezTo>
                    <a:cubicBezTo>
                      <a:pt x="11206" y="95717"/>
                      <a:pt x="7378" y="90721"/>
                      <a:pt x="4652" y="85140"/>
                    </a:cubicBezTo>
                    <a:cubicBezTo>
                      <a:pt x="3030" y="81895"/>
                      <a:pt x="2122" y="78002"/>
                      <a:pt x="1927" y="74303"/>
                    </a:cubicBezTo>
                    <a:cubicBezTo>
                      <a:pt x="1473" y="64699"/>
                      <a:pt x="1797" y="55161"/>
                      <a:pt x="305" y="45557"/>
                    </a:cubicBezTo>
                    <a:cubicBezTo>
                      <a:pt x="-604" y="39717"/>
                      <a:pt x="759" y="33552"/>
                      <a:pt x="1278" y="27517"/>
                    </a:cubicBezTo>
                    <a:cubicBezTo>
                      <a:pt x="1473" y="26414"/>
                      <a:pt x="2511" y="25246"/>
                      <a:pt x="3290" y="23689"/>
                    </a:cubicBezTo>
                    <a:close/>
                  </a:path>
                </a:pathLst>
              </a:custGeom>
              <a:solidFill>
                <a:srgbClr val="3F3F3F"/>
              </a:solidFill>
              <a:ln w="644" cap="flat">
                <a:noFill/>
                <a:prstDash val="solid"/>
                <a:miter/>
              </a:ln>
            </p:spPr>
            <p:txBody>
              <a:bodyPr rtlCol="0" anchor="ctr"/>
              <a:lstStyle/>
              <a:p>
                <a:pPr defTabSz="1219170"/>
                <a:endParaRPr lang="en-US" sz="2400">
                  <a:solidFill>
                    <a:srgbClr val="102B62"/>
                  </a:solidFill>
                  <a:latin typeface="Arial"/>
                </a:endParaRPr>
              </a:p>
            </p:txBody>
          </p:sp>
        </p:grpSp>
        <p:grpSp>
          <p:nvGrpSpPr>
            <p:cNvPr id="85" name="Graphic 51">
              <a:extLst>
                <a:ext uri="{FF2B5EF4-FFF2-40B4-BE49-F238E27FC236}">
                  <a16:creationId xmlns:a16="http://schemas.microsoft.com/office/drawing/2014/main" id="{EF960F65-1F4A-4DEC-A3BE-B47084994451}"/>
                </a:ext>
              </a:extLst>
            </p:cNvPr>
            <p:cNvGrpSpPr/>
            <p:nvPr/>
          </p:nvGrpSpPr>
          <p:grpSpPr>
            <a:xfrm>
              <a:off x="4454701" y="2803568"/>
              <a:ext cx="136901" cy="136972"/>
              <a:chOff x="3179681" y="3141409"/>
              <a:chExt cx="584190" cy="584491"/>
            </a:xfrm>
            <a:solidFill>
              <a:srgbClr val="000000"/>
            </a:solidFill>
          </p:grpSpPr>
          <p:sp>
            <p:nvSpPr>
              <p:cNvPr id="86" name="Freeform: Shape 85">
                <a:extLst>
                  <a:ext uri="{FF2B5EF4-FFF2-40B4-BE49-F238E27FC236}">
                    <a16:creationId xmlns:a16="http://schemas.microsoft.com/office/drawing/2014/main" id="{92D4A644-37F2-4FCD-8775-1BDD45BAE3B6}"/>
                  </a:ext>
                </a:extLst>
              </p:cNvPr>
              <p:cNvSpPr/>
              <p:nvPr/>
            </p:nvSpPr>
            <p:spPr>
              <a:xfrm>
                <a:off x="3179681" y="3141409"/>
                <a:ext cx="584190" cy="584491"/>
              </a:xfrm>
              <a:custGeom>
                <a:avLst/>
                <a:gdLst>
                  <a:gd name="connsiteX0" fmla="*/ 310313 w 584190"/>
                  <a:gd name="connsiteY0" fmla="*/ 36324 h 584491"/>
                  <a:gd name="connsiteX1" fmla="*/ 310313 w 584190"/>
                  <a:gd name="connsiteY1" fmla="*/ 94154 h 584491"/>
                  <a:gd name="connsiteX2" fmla="*/ 375537 w 584190"/>
                  <a:gd name="connsiteY2" fmla="*/ 111591 h 584491"/>
                  <a:gd name="connsiteX3" fmla="*/ 403458 w 584190"/>
                  <a:gd name="connsiteY3" fmla="*/ 63253 h 584491"/>
                  <a:gd name="connsiteX4" fmla="*/ 395181 w 584190"/>
                  <a:gd name="connsiteY4" fmla="*/ 48795 h 584491"/>
                  <a:gd name="connsiteX5" fmla="*/ 401913 w 584190"/>
                  <a:gd name="connsiteY5" fmla="*/ 30806 h 584491"/>
                  <a:gd name="connsiteX6" fmla="*/ 421668 w 584190"/>
                  <a:gd name="connsiteY6" fmla="*/ 29703 h 584491"/>
                  <a:gd name="connsiteX7" fmla="*/ 454114 w 584190"/>
                  <a:gd name="connsiteY7" fmla="*/ 48354 h 584491"/>
                  <a:gd name="connsiteX8" fmla="*/ 462060 w 584190"/>
                  <a:gd name="connsiteY8" fmla="*/ 72082 h 584491"/>
                  <a:gd name="connsiteX9" fmla="*/ 438664 w 584190"/>
                  <a:gd name="connsiteY9" fmla="*/ 80910 h 584491"/>
                  <a:gd name="connsiteX10" fmla="*/ 435573 w 584190"/>
                  <a:gd name="connsiteY10" fmla="*/ 79697 h 584491"/>
                  <a:gd name="connsiteX11" fmla="*/ 406659 w 584190"/>
                  <a:gd name="connsiteY11" fmla="*/ 129580 h 584491"/>
                  <a:gd name="connsiteX12" fmla="*/ 454445 w 584190"/>
                  <a:gd name="connsiteY12" fmla="*/ 177477 h 584491"/>
                  <a:gd name="connsiteX13" fmla="*/ 504329 w 584190"/>
                  <a:gd name="connsiteY13" fmla="*/ 148783 h 584491"/>
                  <a:gd name="connsiteX14" fmla="*/ 502784 w 584190"/>
                  <a:gd name="connsiteY14" fmla="*/ 144037 h 584491"/>
                  <a:gd name="connsiteX15" fmla="*/ 511502 w 584190"/>
                  <a:gd name="connsiteY15" fmla="*/ 122517 h 584491"/>
                  <a:gd name="connsiteX16" fmla="*/ 534127 w 584190"/>
                  <a:gd name="connsiteY16" fmla="*/ 127814 h 584491"/>
                  <a:gd name="connsiteX17" fmla="*/ 555316 w 584190"/>
                  <a:gd name="connsiteY17" fmla="*/ 164565 h 584491"/>
                  <a:gd name="connsiteX18" fmla="*/ 549136 w 584190"/>
                  <a:gd name="connsiteY18" fmla="*/ 186527 h 584491"/>
                  <a:gd name="connsiteX19" fmla="*/ 526291 w 584190"/>
                  <a:gd name="connsiteY19" fmla="*/ 184430 h 584491"/>
                  <a:gd name="connsiteX20" fmla="*/ 522318 w 584190"/>
                  <a:gd name="connsiteY20" fmla="*/ 179905 h 584491"/>
                  <a:gd name="connsiteX21" fmla="*/ 472765 w 584190"/>
                  <a:gd name="connsiteY21" fmla="*/ 208489 h 584491"/>
                  <a:gd name="connsiteX22" fmla="*/ 480711 w 584190"/>
                  <a:gd name="connsiteY22" fmla="*/ 230451 h 584491"/>
                  <a:gd name="connsiteX23" fmla="*/ 489430 w 584190"/>
                  <a:gd name="connsiteY23" fmla="*/ 270181 h 584491"/>
                  <a:gd name="connsiteX24" fmla="*/ 493293 w 584190"/>
                  <a:gd name="connsiteY24" fmla="*/ 274264 h 584491"/>
                  <a:gd name="connsiteX25" fmla="*/ 547591 w 584190"/>
                  <a:gd name="connsiteY25" fmla="*/ 274264 h 584491"/>
                  <a:gd name="connsiteX26" fmla="*/ 548143 w 584190"/>
                  <a:gd name="connsiteY26" fmla="*/ 270843 h 584491"/>
                  <a:gd name="connsiteX27" fmla="*/ 565800 w 584190"/>
                  <a:gd name="connsiteY27" fmla="*/ 254951 h 584491"/>
                  <a:gd name="connsiteX28" fmla="*/ 583679 w 584190"/>
                  <a:gd name="connsiteY28" fmla="*/ 270954 h 584491"/>
                  <a:gd name="connsiteX29" fmla="*/ 583789 w 584190"/>
                  <a:gd name="connsiteY29" fmla="*/ 312891 h 584491"/>
                  <a:gd name="connsiteX30" fmla="*/ 566242 w 584190"/>
                  <a:gd name="connsiteY30" fmla="*/ 329335 h 584491"/>
                  <a:gd name="connsiteX31" fmla="*/ 548143 w 584190"/>
                  <a:gd name="connsiteY31" fmla="*/ 313332 h 584491"/>
                  <a:gd name="connsiteX32" fmla="*/ 547701 w 584190"/>
                  <a:gd name="connsiteY32" fmla="*/ 310132 h 584491"/>
                  <a:gd name="connsiteX33" fmla="*/ 522207 w 584190"/>
                  <a:gd name="connsiteY33" fmla="*/ 310132 h 584491"/>
                  <a:gd name="connsiteX34" fmla="*/ 494065 w 584190"/>
                  <a:gd name="connsiteY34" fmla="*/ 310242 h 584491"/>
                  <a:gd name="connsiteX35" fmla="*/ 489651 w 584190"/>
                  <a:gd name="connsiteY35" fmla="*/ 313332 h 584491"/>
                  <a:gd name="connsiteX36" fmla="*/ 472324 w 584190"/>
                  <a:gd name="connsiteY36" fmla="*/ 375466 h 584491"/>
                  <a:gd name="connsiteX37" fmla="*/ 522097 w 584190"/>
                  <a:gd name="connsiteY37" fmla="*/ 404271 h 584491"/>
                  <a:gd name="connsiteX38" fmla="*/ 524967 w 584190"/>
                  <a:gd name="connsiteY38" fmla="*/ 401070 h 584491"/>
                  <a:gd name="connsiteX39" fmla="*/ 548363 w 584190"/>
                  <a:gd name="connsiteY39" fmla="*/ 397318 h 584491"/>
                  <a:gd name="connsiteX40" fmla="*/ 555095 w 584190"/>
                  <a:gd name="connsiteY40" fmla="*/ 419942 h 584491"/>
                  <a:gd name="connsiteX41" fmla="*/ 543397 w 584190"/>
                  <a:gd name="connsiteY41" fmla="*/ 440580 h 584491"/>
                  <a:gd name="connsiteX42" fmla="*/ 535892 w 584190"/>
                  <a:gd name="connsiteY42" fmla="*/ 453492 h 584491"/>
                  <a:gd name="connsiteX43" fmla="*/ 511502 w 584190"/>
                  <a:gd name="connsiteY43" fmla="*/ 461769 h 584491"/>
                  <a:gd name="connsiteX44" fmla="*/ 503446 w 584190"/>
                  <a:gd name="connsiteY44" fmla="*/ 437821 h 584491"/>
                  <a:gd name="connsiteX45" fmla="*/ 504108 w 584190"/>
                  <a:gd name="connsiteY45" fmla="*/ 435503 h 584491"/>
                  <a:gd name="connsiteX46" fmla="*/ 454335 w 584190"/>
                  <a:gd name="connsiteY46" fmla="*/ 406699 h 584491"/>
                  <a:gd name="connsiteX47" fmla="*/ 406438 w 584190"/>
                  <a:gd name="connsiteY47" fmla="*/ 454485 h 584491"/>
                  <a:gd name="connsiteX48" fmla="*/ 435242 w 584190"/>
                  <a:gd name="connsiteY48" fmla="*/ 504369 h 584491"/>
                  <a:gd name="connsiteX49" fmla="*/ 439878 w 584190"/>
                  <a:gd name="connsiteY49" fmla="*/ 502824 h 584491"/>
                  <a:gd name="connsiteX50" fmla="*/ 461508 w 584190"/>
                  <a:gd name="connsiteY50" fmla="*/ 511542 h 584491"/>
                  <a:gd name="connsiteX51" fmla="*/ 455770 w 584190"/>
                  <a:gd name="connsiteY51" fmla="*/ 534608 h 584491"/>
                  <a:gd name="connsiteX52" fmla="*/ 420012 w 584190"/>
                  <a:gd name="connsiteY52" fmla="*/ 555246 h 584491"/>
                  <a:gd name="connsiteX53" fmla="*/ 397168 w 584190"/>
                  <a:gd name="connsiteY53" fmla="*/ 548845 h 584491"/>
                  <a:gd name="connsiteX54" fmla="*/ 400258 w 584190"/>
                  <a:gd name="connsiteY54" fmla="*/ 525669 h 584491"/>
                  <a:gd name="connsiteX55" fmla="*/ 404120 w 584190"/>
                  <a:gd name="connsiteY55" fmla="*/ 522578 h 584491"/>
                  <a:gd name="connsiteX56" fmla="*/ 375757 w 584190"/>
                  <a:gd name="connsiteY56" fmla="*/ 473467 h 584491"/>
                  <a:gd name="connsiteX57" fmla="*/ 337683 w 584190"/>
                  <a:gd name="connsiteY57" fmla="*/ 485387 h 584491"/>
                  <a:gd name="connsiteX58" fmla="*/ 314396 w 584190"/>
                  <a:gd name="connsiteY58" fmla="*/ 489691 h 584491"/>
                  <a:gd name="connsiteX59" fmla="*/ 309982 w 584190"/>
                  <a:gd name="connsiteY59" fmla="*/ 492891 h 584491"/>
                  <a:gd name="connsiteX60" fmla="*/ 309761 w 584190"/>
                  <a:gd name="connsiteY60" fmla="*/ 547189 h 584491"/>
                  <a:gd name="connsiteX61" fmla="*/ 320466 w 584190"/>
                  <a:gd name="connsiteY61" fmla="*/ 551052 h 584491"/>
                  <a:gd name="connsiteX62" fmla="*/ 328522 w 584190"/>
                  <a:gd name="connsiteY62" fmla="*/ 570476 h 584491"/>
                  <a:gd name="connsiteX63" fmla="*/ 312520 w 584190"/>
                  <a:gd name="connsiteY63" fmla="*/ 584160 h 584491"/>
                  <a:gd name="connsiteX64" fmla="*/ 271686 w 584190"/>
                  <a:gd name="connsiteY64" fmla="*/ 584160 h 584491"/>
                  <a:gd name="connsiteX65" fmla="*/ 254690 w 584190"/>
                  <a:gd name="connsiteY65" fmla="*/ 566944 h 584491"/>
                  <a:gd name="connsiteX66" fmla="*/ 269148 w 584190"/>
                  <a:gd name="connsiteY66" fmla="*/ 548624 h 584491"/>
                  <a:gd name="connsiteX67" fmla="*/ 274004 w 584190"/>
                  <a:gd name="connsiteY67" fmla="*/ 547741 h 584491"/>
                  <a:gd name="connsiteX68" fmla="*/ 274004 w 584190"/>
                  <a:gd name="connsiteY68" fmla="*/ 523020 h 584491"/>
                  <a:gd name="connsiteX69" fmla="*/ 274004 w 584190"/>
                  <a:gd name="connsiteY69" fmla="*/ 494326 h 584491"/>
                  <a:gd name="connsiteX70" fmla="*/ 270251 w 584190"/>
                  <a:gd name="connsiteY70" fmla="*/ 489580 h 584491"/>
                  <a:gd name="connsiteX71" fmla="*/ 210435 w 584190"/>
                  <a:gd name="connsiteY71" fmla="*/ 473467 h 584491"/>
                  <a:gd name="connsiteX72" fmla="*/ 208338 w 584190"/>
                  <a:gd name="connsiteY72" fmla="*/ 473026 h 584491"/>
                  <a:gd name="connsiteX73" fmla="*/ 179755 w 584190"/>
                  <a:gd name="connsiteY73" fmla="*/ 522578 h 584491"/>
                  <a:gd name="connsiteX74" fmla="*/ 189467 w 584190"/>
                  <a:gd name="connsiteY74" fmla="*/ 538691 h 584491"/>
                  <a:gd name="connsiteX75" fmla="*/ 164635 w 584190"/>
                  <a:gd name="connsiteY75" fmla="*/ 555466 h 584491"/>
                  <a:gd name="connsiteX76" fmla="*/ 127885 w 584190"/>
                  <a:gd name="connsiteY76" fmla="*/ 534387 h 584491"/>
                  <a:gd name="connsiteX77" fmla="*/ 122477 w 584190"/>
                  <a:gd name="connsiteY77" fmla="*/ 511322 h 584491"/>
                  <a:gd name="connsiteX78" fmla="*/ 144218 w 584190"/>
                  <a:gd name="connsiteY78" fmla="*/ 502934 h 584491"/>
                  <a:gd name="connsiteX79" fmla="*/ 148522 w 584190"/>
                  <a:gd name="connsiteY79" fmla="*/ 504590 h 584491"/>
                  <a:gd name="connsiteX80" fmla="*/ 177327 w 584190"/>
                  <a:gd name="connsiteY80" fmla="*/ 454706 h 584491"/>
                  <a:gd name="connsiteX81" fmla="*/ 129540 w 584190"/>
                  <a:gd name="connsiteY81" fmla="*/ 406809 h 584491"/>
                  <a:gd name="connsiteX82" fmla="*/ 79767 w 584190"/>
                  <a:gd name="connsiteY82" fmla="*/ 435503 h 584491"/>
                  <a:gd name="connsiteX83" fmla="*/ 81312 w 584190"/>
                  <a:gd name="connsiteY83" fmla="*/ 440249 h 584491"/>
                  <a:gd name="connsiteX84" fmla="*/ 72483 w 584190"/>
                  <a:gd name="connsiteY84" fmla="*/ 461769 h 584491"/>
                  <a:gd name="connsiteX85" fmla="*/ 49528 w 584190"/>
                  <a:gd name="connsiteY85" fmla="*/ 456030 h 584491"/>
                  <a:gd name="connsiteX86" fmla="*/ 29111 w 584190"/>
                  <a:gd name="connsiteY86" fmla="*/ 420715 h 584491"/>
                  <a:gd name="connsiteX87" fmla="*/ 35291 w 584190"/>
                  <a:gd name="connsiteY87" fmla="*/ 397428 h 584491"/>
                  <a:gd name="connsiteX88" fmla="*/ 59129 w 584190"/>
                  <a:gd name="connsiteY88" fmla="*/ 401401 h 584491"/>
                  <a:gd name="connsiteX89" fmla="*/ 61557 w 584190"/>
                  <a:gd name="connsiteY89" fmla="*/ 404381 h 584491"/>
                  <a:gd name="connsiteX90" fmla="*/ 111220 w 584190"/>
                  <a:gd name="connsiteY90" fmla="*/ 375797 h 584491"/>
                  <a:gd name="connsiteX91" fmla="*/ 110448 w 584190"/>
                  <a:gd name="connsiteY91" fmla="*/ 373038 h 584491"/>
                  <a:gd name="connsiteX92" fmla="*/ 94445 w 584190"/>
                  <a:gd name="connsiteY92" fmla="*/ 314215 h 584491"/>
                  <a:gd name="connsiteX93" fmla="*/ 91245 w 584190"/>
                  <a:gd name="connsiteY93" fmla="*/ 310463 h 584491"/>
                  <a:gd name="connsiteX94" fmla="*/ 36615 w 584190"/>
                  <a:gd name="connsiteY94" fmla="*/ 310242 h 584491"/>
                  <a:gd name="connsiteX95" fmla="*/ 35181 w 584190"/>
                  <a:gd name="connsiteY95" fmla="*/ 316533 h 584491"/>
                  <a:gd name="connsiteX96" fmla="*/ 16750 w 584190"/>
                  <a:gd name="connsiteY96" fmla="*/ 329445 h 584491"/>
                  <a:gd name="connsiteX97" fmla="*/ 638 w 584190"/>
                  <a:gd name="connsiteY97" fmla="*/ 314657 h 584491"/>
                  <a:gd name="connsiteX98" fmla="*/ 527 w 584190"/>
                  <a:gd name="connsiteY98" fmla="*/ 270071 h 584491"/>
                  <a:gd name="connsiteX99" fmla="*/ 17523 w 584190"/>
                  <a:gd name="connsiteY99" fmla="*/ 255061 h 584491"/>
                  <a:gd name="connsiteX100" fmla="*/ 35512 w 584190"/>
                  <a:gd name="connsiteY100" fmla="*/ 269188 h 584491"/>
                  <a:gd name="connsiteX101" fmla="*/ 36174 w 584190"/>
                  <a:gd name="connsiteY101" fmla="*/ 273933 h 584491"/>
                  <a:gd name="connsiteX102" fmla="*/ 40368 w 584190"/>
                  <a:gd name="connsiteY102" fmla="*/ 274375 h 584491"/>
                  <a:gd name="connsiteX103" fmla="*/ 88927 w 584190"/>
                  <a:gd name="connsiteY103" fmla="*/ 274485 h 584491"/>
                  <a:gd name="connsiteX104" fmla="*/ 94666 w 584190"/>
                  <a:gd name="connsiteY104" fmla="*/ 269298 h 584491"/>
                  <a:gd name="connsiteX105" fmla="*/ 109013 w 584190"/>
                  <a:gd name="connsiteY105" fmla="*/ 214559 h 584491"/>
                  <a:gd name="connsiteX106" fmla="*/ 111441 w 584190"/>
                  <a:gd name="connsiteY106" fmla="*/ 208820 h 584491"/>
                  <a:gd name="connsiteX107" fmla="*/ 61668 w 584190"/>
                  <a:gd name="connsiteY107" fmla="*/ 180015 h 584491"/>
                  <a:gd name="connsiteX108" fmla="*/ 58467 w 584190"/>
                  <a:gd name="connsiteY108" fmla="*/ 183768 h 584491"/>
                  <a:gd name="connsiteX109" fmla="*/ 34850 w 584190"/>
                  <a:gd name="connsiteY109" fmla="*/ 186637 h 584491"/>
                  <a:gd name="connsiteX110" fmla="*/ 28890 w 584190"/>
                  <a:gd name="connsiteY110" fmla="*/ 164123 h 584491"/>
                  <a:gd name="connsiteX111" fmla="*/ 49528 w 584190"/>
                  <a:gd name="connsiteY111" fmla="*/ 128366 h 584491"/>
                  <a:gd name="connsiteX112" fmla="*/ 72042 w 584190"/>
                  <a:gd name="connsiteY112" fmla="*/ 122296 h 584491"/>
                  <a:gd name="connsiteX113" fmla="*/ 81422 w 584190"/>
                  <a:gd name="connsiteY113" fmla="*/ 143596 h 584491"/>
                  <a:gd name="connsiteX114" fmla="*/ 79657 w 584190"/>
                  <a:gd name="connsiteY114" fmla="*/ 148783 h 584491"/>
                  <a:gd name="connsiteX115" fmla="*/ 129540 w 584190"/>
                  <a:gd name="connsiteY115" fmla="*/ 177587 h 584491"/>
                  <a:gd name="connsiteX116" fmla="*/ 177437 w 584190"/>
                  <a:gd name="connsiteY116" fmla="*/ 129801 h 584491"/>
                  <a:gd name="connsiteX117" fmla="*/ 148853 w 584190"/>
                  <a:gd name="connsiteY117" fmla="*/ 80248 h 584491"/>
                  <a:gd name="connsiteX118" fmla="*/ 139031 w 584190"/>
                  <a:gd name="connsiteY118" fmla="*/ 82235 h 584491"/>
                  <a:gd name="connsiteX119" fmla="*/ 121263 w 584190"/>
                  <a:gd name="connsiteY119" fmla="*/ 70095 h 584491"/>
                  <a:gd name="connsiteX120" fmla="*/ 128657 w 584190"/>
                  <a:gd name="connsiteY120" fmla="*/ 49347 h 584491"/>
                  <a:gd name="connsiteX121" fmla="*/ 161987 w 584190"/>
                  <a:gd name="connsiteY121" fmla="*/ 30034 h 584491"/>
                  <a:gd name="connsiteX122" fmla="*/ 186376 w 584190"/>
                  <a:gd name="connsiteY122" fmla="*/ 35110 h 584491"/>
                  <a:gd name="connsiteX123" fmla="*/ 181741 w 584190"/>
                  <a:gd name="connsiteY123" fmla="*/ 60052 h 584491"/>
                  <a:gd name="connsiteX124" fmla="*/ 179755 w 584190"/>
                  <a:gd name="connsiteY124" fmla="*/ 61708 h 584491"/>
                  <a:gd name="connsiteX125" fmla="*/ 208559 w 584190"/>
                  <a:gd name="connsiteY125" fmla="*/ 111701 h 584491"/>
                  <a:gd name="connsiteX126" fmla="*/ 274004 w 584190"/>
                  <a:gd name="connsiteY126" fmla="*/ 94154 h 584491"/>
                  <a:gd name="connsiteX127" fmla="*/ 274004 w 584190"/>
                  <a:gd name="connsiteY127" fmla="*/ 79697 h 584491"/>
                  <a:gd name="connsiteX128" fmla="*/ 274004 w 584190"/>
                  <a:gd name="connsiteY128" fmla="*/ 41622 h 584491"/>
                  <a:gd name="connsiteX129" fmla="*/ 269258 w 584190"/>
                  <a:gd name="connsiteY129" fmla="*/ 35552 h 584491"/>
                  <a:gd name="connsiteX130" fmla="*/ 254690 w 584190"/>
                  <a:gd name="connsiteY130" fmla="*/ 17452 h 584491"/>
                  <a:gd name="connsiteX131" fmla="*/ 271024 w 584190"/>
                  <a:gd name="connsiteY131" fmla="*/ 346 h 584491"/>
                  <a:gd name="connsiteX132" fmla="*/ 311858 w 584190"/>
                  <a:gd name="connsiteY132" fmla="*/ 236 h 584491"/>
                  <a:gd name="connsiteX133" fmla="*/ 329185 w 584190"/>
                  <a:gd name="connsiteY133" fmla="*/ 17452 h 584491"/>
                  <a:gd name="connsiteX134" fmla="*/ 312961 w 584190"/>
                  <a:gd name="connsiteY134" fmla="*/ 35773 h 584491"/>
                  <a:gd name="connsiteX135" fmla="*/ 310313 w 584190"/>
                  <a:gd name="connsiteY135" fmla="*/ 36324 h 584491"/>
                  <a:gd name="connsiteX136" fmla="*/ 291993 w 584190"/>
                  <a:gd name="connsiteY136" fmla="*/ 454816 h 584491"/>
                  <a:gd name="connsiteX137" fmla="*/ 454776 w 584190"/>
                  <a:gd name="connsiteY137" fmla="*/ 292695 h 584491"/>
                  <a:gd name="connsiteX138" fmla="*/ 292655 w 584190"/>
                  <a:gd name="connsiteY138" fmla="*/ 129470 h 584491"/>
                  <a:gd name="connsiteX139" fmla="*/ 129650 w 584190"/>
                  <a:gd name="connsiteY139" fmla="*/ 291150 h 584491"/>
                  <a:gd name="connsiteX140" fmla="*/ 291993 w 584190"/>
                  <a:gd name="connsiteY140" fmla="*/ 454816 h 584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584190" h="584491">
                    <a:moveTo>
                      <a:pt x="310313" y="36324"/>
                    </a:moveTo>
                    <a:cubicBezTo>
                      <a:pt x="310313" y="55748"/>
                      <a:pt x="310313" y="74730"/>
                      <a:pt x="310313" y="94154"/>
                    </a:cubicBezTo>
                    <a:cubicBezTo>
                      <a:pt x="333047" y="96472"/>
                      <a:pt x="354568" y="102210"/>
                      <a:pt x="375537" y="111591"/>
                    </a:cubicBezTo>
                    <a:cubicBezTo>
                      <a:pt x="385248" y="94816"/>
                      <a:pt x="394740" y="78372"/>
                      <a:pt x="403458" y="63253"/>
                    </a:cubicBezTo>
                    <a:cubicBezTo>
                      <a:pt x="400147" y="57735"/>
                      <a:pt x="396505" y="53541"/>
                      <a:pt x="395181" y="48795"/>
                    </a:cubicBezTo>
                    <a:cubicBezTo>
                      <a:pt x="393195" y="41732"/>
                      <a:pt x="395733" y="35221"/>
                      <a:pt x="401913" y="30806"/>
                    </a:cubicBezTo>
                    <a:cubicBezTo>
                      <a:pt x="408204" y="26281"/>
                      <a:pt x="414936" y="25950"/>
                      <a:pt x="421668" y="29703"/>
                    </a:cubicBezTo>
                    <a:cubicBezTo>
                      <a:pt x="432594" y="35883"/>
                      <a:pt x="443409" y="42063"/>
                      <a:pt x="454114" y="48354"/>
                    </a:cubicBezTo>
                    <a:cubicBezTo>
                      <a:pt x="462943" y="53541"/>
                      <a:pt x="466144" y="63253"/>
                      <a:pt x="462060" y="72082"/>
                    </a:cubicBezTo>
                    <a:cubicBezTo>
                      <a:pt x="457977" y="80690"/>
                      <a:pt x="448375" y="84442"/>
                      <a:pt x="438664" y="80910"/>
                    </a:cubicBezTo>
                    <a:cubicBezTo>
                      <a:pt x="437781" y="80579"/>
                      <a:pt x="437008" y="80248"/>
                      <a:pt x="435573" y="79697"/>
                    </a:cubicBezTo>
                    <a:cubicBezTo>
                      <a:pt x="425972" y="96251"/>
                      <a:pt x="416481" y="112695"/>
                      <a:pt x="406659" y="129580"/>
                    </a:cubicBezTo>
                    <a:cubicBezTo>
                      <a:pt x="424979" y="142934"/>
                      <a:pt x="441092" y="158495"/>
                      <a:pt x="454445" y="177477"/>
                    </a:cubicBezTo>
                    <a:cubicBezTo>
                      <a:pt x="471110" y="167876"/>
                      <a:pt x="487554" y="158384"/>
                      <a:pt x="504329" y="148783"/>
                    </a:cubicBezTo>
                    <a:cubicBezTo>
                      <a:pt x="503777" y="147017"/>
                      <a:pt x="503336" y="145583"/>
                      <a:pt x="502784" y="144037"/>
                    </a:cubicBezTo>
                    <a:cubicBezTo>
                      <a:pt x="500025" y="135540"/>
                      <a:pt x="503667" y="126600"/>
                      <a:pt x="511502" y="122517"/>
                    </a:cubicBezTo>
                    <a:cubicBezTo>
                      <a:pt x="519117" y="118544"/>
                      <a:pt x="529602" y="120530"/>
                      <a:pt x="534127" y="127814"/>
                    </a:cubicBezTo>
                    <a:cubicBezTo>
                      <a:pt x="541631" y="139844"/>
                      <a:pt x="548694" y="152094"/>
                      <a:pt x="555316" y="164565"/>
                    </a:cubicBezTo>
                    <a:cubicBezTo>
                      <a:pt x="559289" y="172069"/>
                      <a:pt x="556089" y="181781"/>
                      <a:pt x="549136" y="186527"/>
                    </a:cubicBezTo>
                    <a:cubicBezTo>
                      <a:pt x="542183" y="191272"/>
                      <a:pt x="532361" y="190389"/>
                      <a:pt x="526291" y="184430"/>
                    </a:cubicBezTo>
                    <a:cubicBezTo>
                      <a:pt x="524967" y="183106"/>
                      <a:pt x="523863" y="181671"/>
                      <a:pt x="522318" y="179905"/>
                    </a:cubicBezTo>
                    <a:cubicBezTo>
                      <a:pt x="505764" y="189396"/>
                      <a:pt x="489320" y="198887"/>
                      <a:pt x="472765" y="208489"/>
                    </a:cubicBezTo>
                    <a:cubicBezTo>
                      <a:pt x="475524" y="216104"/>
                      <a:pt x="478835" y="223057"/>
                      <a:pt x="480711" y="230451"/>
                    </a:cubicBezTo>
                    <a:cubicBezTo>
                      <a:pt x="484133" y="243584"/>
                      <a:pt x="486671" y="256938"/>
                      <a:pt x="489430" y="270181"/>
                    </a:cubicBezTo>
                    <a:cubicBezTo>
                      <a:pt x="489982" y="272719"/>
                      <a:pt x="490203" y="274264"/>
                      <a:pt x="493293" y="274264"/>
                    </a:cubicBezTo>
                    <a:cubicBezTo>
                      <a:pt x="511282" y="274154"/>
                      <a:pt x="529271" y="274264"/>
                      <a:pt x="547591" y="274264"/>
                    </a:cubicBezTo>
                    <a:cubicBezTo>
                      <a:pt x="547811" y="272830"/>
                      <a:pt x="548032" y="271836"/>
                      <a:pt x="548143" y="270843"/>
                    </a:cubicBezTo>
                    <a:cubicBezTo>
                      <a:pt x="549688" y="261573"/>
                      <a:pt x="556751" y="255061"/>
                      <a:pt x="565800" y="254951"/>
                    </a:cubicBezTo>
                    <a:cubicBezTo>
                      <a:pt x="575071" y="254841"/>
                      <a:pt x="583127" y="261352"/>
                      <a:pt x="583679" y="270954"/>
                    </a:cubicBezTo>
                    <a:cubicBezTo>
                      <a:pt x="584341" y="284859"/>
                      <a:pt x="584341" y="298875"/>
                      <a:pt x="583789" y="312891"/>
                    </a:cubicBezTo>
                    <a:cubicBezTo>
                      <a:pt x="583348" y="322603"/>
                      <a:pt x="575512" y="329225"/>
                      <a:pt x="566242" y="329335"/>
                    </a:cubicBezTo>
                    <a:cubicBezTo>
                      <a:pt x="556971" y="329445"/>
                      <a:pt x="549577" y="322824"/>
                      <a:pt x="548143" y="313332"/>
                    </a:cubicBezTo>
                    <a:cubicBezTo>
                      <a:pt x="548032" y="312450"/>
                      <a:pt x="547922" y="311567"/>
                      <a:pt x="547701" y="310132"/>
                    </a:cubicBezTo>
                    <a:cubicBezTo>
                      <a:pt x="539093" y="310132"/>
                      <a:pt x="530705" y="310132"/>
                      <a:pt x="522207" y="310132"/>
                    </a:cubicBezTo>
                    <a:cubicBezTo>
                      <a:pt x="512827" y="310132"/>
                      <a:pt x="503446" y="310022"/>
                      <a:pt x="494065" y="310242"/>
                    </a:cubicBezTo>
                    <a:cubicBezTo>
                      <a:pt x="492520" y="310242"/>
                      <a:pt x="489871" y="312119"/>
                      <a:pt x="489651" y="313332"/>
                    </a:cubicBezTo>
                    <a:cubicBezTo>
                      <a:pt x="487112" y="334632"/>
                      <a:pt x="481484" y="355049"/>
                      <a:pt x="472324" y="375466"/>
                    </a:cubicBezTo>
                    <a:cubicBezTo>
                      <a:pt x="488878" y="385068"/>
                      <a:pt x="505322" y="394559"/>
                      <a:pt x="522097" y="404271"/>
                    </a:cubicBezTo>
                    <a:cubicBezTo>
                      <a:pt x="523090" y="403167"/>
                      <a:pt x="523973" y="402063"/>
                      <a:pt x="524967" y="401070"/>
                    </a:cubicBezTo>
                    <a:cubicBezTo>
                      <a:pt x="530926" y="394117"/>
                      <a:pt x="540638" y="392572"/>
                      <a:pt x="548363" y="397318"/>
                    </a:cubicBezTo>
                    <a:cubicBezTo>
                      <a:pt x="556089" y="402063"/>
                      <a:pt x="559179" y="411554"/>
                      <a:pt x="555095" y="419942"/>
                    </a:cubicBezTo>
                    <a:cubicBezTo>
                      <a:pt x="551674" y="427005"/>
                      <a:pt x="547370" y="433737"/>
                      <a:pt x="543397" y="440580"/>
                    </a:cubicBezTo>
                    <a:cubicBezTo>
                      <a:pt x="540969" y="444884"/>
                      <a:pt x="538431" y="449188"/>
                      <a:pt x="535892" y="453492"/>
                    </a:cubicBezTo>
                    <a:cubicBezTo>
                      <a:pt x="530264" y="463093"/>
                      <a:pt x="520662" y="466294"/>
                      <a:pt x="511502" y="461769"/>
                    </a:cubicBezTo>
                    <a:cubicBezTo>
                      <a:pt x="502784" y="457465"/>
                      <a:pt x="499473" y="447864"/>
                      <a:pt x="503446" y="437821"/>
                    </a:cubicBezTo>
                    <a:cubicBezTo>
                      <a:pt x="503667" y="437269"/>
                      <a:pt x="503777" y="436827"/>
                      <a:pt x="504108" y="435503"/>
                    </a:cubicBezTo>
                    <a:cubicBezTo>
                      <a:pt x="487775" y="426012"/>
                      <a:pt x="471220" y="416521"/>
                      <a:pt x="454335" y="406699"/>
                    </a:cubicBezTo>
                    <a:cubicBezTo>
                      <a:pt x="440981" y="425129"/>
                      <a:pt x="425199" y="441242"/>
                      <a:pt x="406438" y="454485"/>
                    </a:cubicBezTo>
                    <a:cubicBezTo>
                      <a:pt x="416150" y="471371"/>
                      <a:pt x="425751" y="487815"/>
                      <a:pt x="435242" y="504369"/>
                    </a:cubicBezTo>
                    <a:cubicBezTo>
                      <a:pt x="437119" y="503707"/>
                      <a:pt x="438443" y="503155"/>
                      <a:pt x="439878" y="502824"/>
                    </a:cubicBezTo>
                    <a:cubicBezTo>
                      <a:pt x="448486" y="500175"/>
                      <a:pt x="457535" y="503817"/>
                      <a:pt x="461508" y="511542"/>
                    </a:cubicBezTo>
                    <a:cubicBezTo>
                      <a:pt x="465592" y="519488"/>
                      <a:pt x="463385" y="529862"/>
                      <a:pt x="455770" y="534608"/>
                    </a:cubicBezTo>
                    <a:cubicBezTo>
                      <a:pt x="444071" y="541892"/>
                      <a:pt x="432152" y="548734"/>
                      <a:pt x="420012" y="555246"/>
                    </a:cubicBezTo>
                    <a:cubicBezTo>
                      <a:pt x="411956" y="559550"/>
                      <a:pt x="402134" y="556349"/>
                      <a:pt x="397168" y="548845"/>
                    </a:cubicBezTo>
                    <a:cubicBezTo>
                      <a:pt x="392422" y="541671"/>
                      <a:pt x="393857" y="531628"/>
                      <a:pt x="400258" y="525669"/>
                    </a:cubicBezTo>
                    <a:cubicBezTo>
                      <a:pt x="401361" y="524675"/>
                      <a:pt x="402465" y="523792"/>
                      <a:pt x="404120" y="522578"/>
                    </a:cubicBezTo>
                    <a:cubicBezTo>
                      <a:pt x="394519" y="506024"/>
                      <a:pt x="385028" y="489580"/>
                      <a:pt x="375757" y="473467"/>
                    </a:cubicBezTo>
                    <a:cubicBezTo>
                      <a:pt x="362735" y="477551"/>
                      <a:pt x="350264" y="481855"/>
                      <a:pt x="337683" y="485387"/>
                    </a:cubicBezTo>
                    <a:cubicBezTo>
                      <a:pt x="330068" y="487483"/>
                      <a:pt x="322122" y="488035"/>
                      <a:pt x="314396" y="489691"/>
                    </a:cubicBezTo>
                    <a:cubicBezTo>
                      <a:pt x="312741" y="490022"/>
                      <a:pt x="309982" y="491788"/>
                      <a:pt x="309982" y="492891"/>
                    </a:cubicBezTo>
                    <a:cubicBezTo>
                      <a:pt x="309651" y="511101"/>
                      <a:pt x="309761" y="529200"/>
                      <a:pt x="309761" y="547189"/>
                    </a:cubicBezTo>
                    <a:cubicBezTo>
                      <a:pt x="313624" y="548514"/>
                      <a:pt x="317266" y="549286"/>
                      <a:pt x="320466" y="551052"/>
                    </a:cubicBezTo>
                    <a:cubicBezTo>
                      <a:pt x="327198" y="554804"/>
                      <a:pt x="330288" y="562750"/>
                      <a:pt x="328522" y="570476"/>
                    </a:cubicBezTo>
                    <a:cubicBezTo>
                      <a:pt x="326757" y="578091"/>
                      <a:pt x="320576" y="583940"/>
                      <a:pt x="312520" y="584160"/>
                    </a:cubicBezTo>
                    <a:cubicBezTo>
                      <a:pt x="298946" y="584602"/>
                      <a:pt x="285261" y="584602"/>
                      <a:pt x="271686" y="584160"/>
                    </a:cubicBezTo>
                    <a:cubicBezTo>
                      <a:pt x="262195" y="583829"/>
                      <a:pt x="255242" y="576325"/>
                      <a:pt x="254690" y="566944"/>
                    </a:cubicBezTo>
                    <a:cubicBezTo>
                      <a:pt x="254249" y="558336"/>
                      <a:pt x="260319" y="550610"/>
                      <a:pt x="269148" y="548624"/>
                    </a:cubicBezTo>
                    <a:cubicBezTo>
                      <a:pt x="270583" y="548293"/>
                      <a:pt x="272017" y="548182"/>
                      <a:pt x="274004" y="547741"/>
                    </a:cubicBezTo>
                    <a:cubicBezTo>
                      <a:pt x="274004" y="539464"/>
                      <a:pt x="274004" y="531187"/>
                      <a:pt x="274004" y="523020"/>
                    </a:cubicBezTo>
                    <a:cubicBezTo>
                      <a:pt x="274004" y="513418"/>
                      <a:pt x="274004" y="503927"/>
                      <a:pt x="274004" y="494326"/>
                    </a:cubicBezTo>
                    <a:cubicBezTo>
                      <a:pt x="274004" y="491567"/>
                      <a:pt x="273452" y="489911"/>
                      <a:pt x="270251" y="489580"/>
                    </a:cubicBezTo>
                    <a:cubicBezTo>
                      <a:pt x="249393" y="487594"/>
                      <a:pt x="229528" y="481965"/>
                      <a:pt x="210435" y="473467"/>
                    </a:cubicBezTo>
                    <a:cubicBezTo>
                      <a:pt x="209994" y="473247"/>
                      <a:pt x="209332" y="473247"/>
                      <a:pt x="208338" y="473026"/>
                    </a:cubicBezTo>
                    <a:cubicBezTo>
                      <a:pt x="198847" y="489470"/>
                      <a:pt x="189356" y="505914"/>
                      <a:pt x="179755" y="522578"/>
                    </a:cubicBezTo>
                    <a:cubicBezTo>
                      <a:pt x="185273" y="526883"/>
                      <a:pt x="189356" y="531518"/>
                      <a:pt x="189467" y="538691"/>
                    </a:cubicBezTo>
                    <a:cubicBezTo>
                      <a:pt x="189577" y="551935"/>
                      <a:pt x="176444" y="561315"/>
                      <a:pt x="164635" y="555466"/>
                    </a:cubicBezTo>
                    <a:cubicBezTo>
                      <a:pt x="151944" y="549176"/>
                      <a:pt x="139804" y="541892"/>
                      <a:pt x="127885" y="534387"/>
                    </a:cubicBezTo>
                    <a:cubicBezTo>
                      <a:pt x="120159" y="529531"/>
                      <a:pt x="118283" y="519268"/>
                      <a:pt x="122477" y="511322"/>
                    </a:cubicBezTo>
                    <a:cubicBezTo>
                      <a:pt x="126560" y="503707"/>
                      <a:pt x="135610" y="500175"/>
                      <a:pt x="144218" y="502934"/>
                    </a:cubicBezTo>
                    <a:cubicBezTo>
                      <a:pt x="145432" y="503376"/>
                      <a:pt x="146646" y="503817"/>
                      <a:pt x="148522" y="504590"/>
                    </a:cubicBezTo>
                    <a:cubicBezTo>
                      <a:pt x="158013" y="488146"/>
                      <a:pt x="167615" y="471702"/>
                      <a:pt x="177327" y="454706"/>
                    </a:cubicBezTo>
                    <a:cubicBezTo>
                      <a:pt x="158786" y="441242"/>
                      <a:pt x="142894" y="425460"/>
                      <a:pt x="129540" y="406809"/>
                    </a:cubicBezTo>
                    <a:cubicBezTo>
                      <a:pt x="112765" y="416521"/>
                      <a:pt x="96432" y="425902"/>
                      <a:pt x="79767" y="435503"/>
                    </a:cubicBezTo>
                    <a:cubicBezTo>
                      <a:pt x="80319" y="437269"/>
                      <a:pt x="80760" y="438814"/>
                      <a:pt x="81312" y="440249"/>
                    </a:cubicBezTo>
                    <a:cubicBezTo>
                      <a:pt x="84071" y="448746"/>
                      <a:pt x="80319" y="457796"/>
                      <a:pt x="72483" y="461769"/>
                    </a:cubicBezTo>
                    <a:cubicBezTo>
                      <a:pt x="64316" y="465853"/>
                      <a:pt x="54384" y="463756"/>
                      <a:pt x="49528" y="456030"/>
                    </a:cubicBezTo>
                    <a:cubicBezTo>
                      <a:pt x="42354" y="444442"/>
                      <a:pt x="35622" y="432634"/>
                      <a:pt x="29111" y="420715"/>
                    </a:cubicBezTo>
                    <a:cubicBezTo>
                      <a:pt x="24586" y="412217"/>
                      <a:pt x="27566" y="402394"/>
                      <a:pt x="35291" y="397428"/>
                    </a:cubicBezTo>
                    <a:cubicBezTo>
                      <a:pt x="43127" y="392462"/>
                      <a:pt x="52839" y="394117"/>
                      <a:pt x="59129" y="401401"/>
                    </a:cubicBezTo>
                    <a:cubicBezTo>
                      <a:pt x="59791" y="402284"/>
                      <a:pt x="60454" y="403057"/>
                      <a:pt x="61557" y="404381"/>
                    </a:cubicBezTo>
                    <a:cubicBezTo>
                      <a:pt x="78001" y="394890"/>
                      <a:pt x="94445" y="385399"/>
                      <a:pt x="111220" y="375797"/>
                    </a:cubicBezTo>
                    <a:cubicBezTo>
                      <a:pt x="110889" y="374694"/>
                      <a:pt x="110779" y="373811"/>
                      <a:pt x="110448" y="373038"/>
                    </a:cubicBezTo>
                    <a:cubicBezTo>
                      <a:pt x="102170" y="354277"/>
                      <a:pt x="96873" y="334632"/>
                      <a:pt x="94445" y="314215"/>
                    </a:cubicBezTo>
                    <a:cubicBezTo>
                      <a:pt x="94224" y="312781"/>
                      <a:pt x="92348" y="310463"/>
                      <a:pt x="91245" y="310463"/>
                    </a:cubicBezTo>
                    <a:cubicBezTo>
                      <a:pt x="73035" y="310242"/>
                      <a:pt x="54936" y="310242"/>
                      <a:pt x="36615" y="310242"/>
                    </a:cubicBezTo>
                    <a:cubicBezTo>
                      <a:pt x="36064" y="312670"/>
                      <a:pt x="35733" y="314657"/>
                      <a:pt x="35181" y="316533"/>
                    </a:cubicBezTo>
                    <a:cubicBezTo>
                      <a:pt x="32642" y="324700"/>
                      <a:pt x="25027" y="329997"/>
                      <a:pt x="16750" y="329445"/>
                    </a:cubicBezTo>
                    <a:cubicBezTo>
                      <a:pt x="8584" y="328893"/>
                      <a:pt x="1079" y="323044"/>
                      <a:pt x="638" y="314657"/>
                    </a:cubicBezTo>
                    <a:cubicBezTo>
                      <a:pt x="-135" y="299868"/>
                      <a:pt x="-245" y="284859"/>
                      <a:pt x="527" y="270071"/>
                    </a:cubicBezTo>
                    <a:cubicBezTo>
                      <a:pt x="969" y="261131"/>
                      <a:pt x="8804" y="255393"/>
                      <a:pt x="17523" y="255061"/>
                    </a:cubicBezTo>
                    <a:cubicBezTo>
                      <a:pt x="26021" y="254730"/>
                      <a:pt x="33525" y="260690"/>
                      <a:pt x="35512" y="269188"/>
                    </a:cubicBezTo>
                    <a:cubicBezTo>
                      <a:pt x="35843" y="270622"/>
                      <a:pt x="35953" y="272057"/>
                      <a:pt x="36174" y="273933"/>
                    </a:cubicBezTo>
                    <a:cubicBezTo>
                      <a:pt x="37609" y="274044"/>
                      <a:pt x="38933" y="274375"/>
                      <a:pt x="40368" y="274375"/>
                    </a:cubicBezTo>
                    <a:cubicBezTo>
                      <a:pt x="56591" y="274375"/>
                      <a:pt x="72704" y="274264"/>
                      <a:pt x="88927" y="274485"/>
                    </a:cubicBezTo>
                    <a:cubicBezTo>
                      <a:pt x="92900" y="274485"/>
                      <a:pt x="94224" y="273382"/>
                      <a:pt x="94666" y="269298"/>
                    </a:cubicBezTo>
                    <a:cubicBezTo>
                      <a:pt x="96763" y="250426"/>
                      <a:pt x="101508" y="232106"/>
                      <a:pt x="109013" y="214559"/>
                    </a:cubicBezTo>
                    <a:cubicBezTo>
                      <a:pt x="109785" y="212683"/>
                      <a:pt x="110558" y="210917"/>
                      <a:pt x="111441" y="208820"/>
                    </a:cubicBezTo>
                    <a:cubicBezTo>
                      <a:pt x="94666" y="199108"/>
                      <a:pt x="78332" y="189727"/>
                      <a:pt x="61668" y="180015"/>
                    </a:cubicBezTo>
                    <a:cubicBezTo>
                      <a:pt x="60564" y="181340"/>
                      <a:pt x="59571" y="182554"/>
                      <a:pt x="58467" y="183768"/>
                    </a:cubicBezTo>
                    <a:cubicBezTo>
                      <a:pt x="52508" y="190389"/>
                      <a:pt x="42244" y="191603"/>
                      <a:pt x="34850" y="186637"/>
                    </a:cubicBezTo>
                    <a:cubicBezTo>
                      <a:pt x="27787" y="181892"/>
                      <a:pt x="24696" y="171849"/>
                      <a:pt x="28890" y="164123"/>
                    </a:cubicBezTo>
                    <a:cubicBezTo>
                      <a:pt x="35401" y="151984"/>
                      <a:pt x="42354" y="140064"/>
                      <a:pt x="49528" y="128366"/>
                    </a:cubicBezTo>
                    <a:cubicBezTo>
                      <a:pt x="54053" y="120972"/>
                      <a:pt x="64316" y="118544"/>
                      <a:pt x="72042" y="122296"/>
                    </a:cubicBezTo>
                    <a:cubicBezTo>
                      <a:pt x="79988" y="126159"/>
                      <a:pt x="83961" y="135098"/>
                      <a:pt x="81422" y="143596"/>
                    </a:cubicBezTo>
                    <a:cubicBezTo>
                      <a:pt x="80981" y="145141"/>
                      <a:pt x="80429" y="146686"/>
                      <a:pt x="79657" y="148783"/>
                    </a:cubicBezTo>
                    <a:cubicBezTo>
                      <a:pt x="96211" y="158274"/>
                      <a:pt x="112655" y="167876"/>
                      <a:pt x="129540" y="177587"/>
                    </a:cubicBezTo>
                    <a:cubicBezTo>
                      <a:pt x="142784" y="158936"/>
                      <a:pt x="158565" y="143155"/>
                      <a:pt x="177437" y="129801"/>
                    </a:cubicBezTo>
                    <a:cubicBezTo>
                      <a:pt x="167836" y="113136"/>
                      <a:pt x="158345" y="96582"/>
                      <a:pt x="148853" y="80248"/>
                    </a:cubicBezTo>
                    <a:cubicBezTo>
                      <a:pt x="145322" y="81021"/>
                      <a:pt x="142232" y="82124"/>
                      <a:pt x="139031" y="82235"/>
                    </a:cubicBezTo>
                    <a:cubicBezTo>
                      <a:pt x="130864" y="82676"/>
                      <a:pt x="123691" y="77600"/>
                      <a:pt x="121263" y="70095"/>
                    </a:cubicBezTo>
                    <a:cubicBezTo>
                      <a:pt x="118725" y="62149"/>
                      <a:pt x="121594" y="53651"/>
                      <a:pt x="128657" y="49347"/>
                    </a:cubicBezTo>
                    <a:cubicBezTo>
                      <a:pt x="139693" y="42725"/>
                      <a:pt x="150840" y="36324"/>
                      <a:pt x="161987" y="30034"/>
                    </a:cubicBezTo>
                    <a:cubicBezTo>
                      <a:pt x="170926" y="24957"/>
                      <a:pt x="181079" y="27275"/>
                      <a:pt x="186376" y="35110"/>
                    </a:cubicBezTo>
                    <a:cubicBezTo>
                      <a:pt x="191895" y="43498"/>
                      <a:pt x="190018" y="53430"/>
                      <a:pt x="181741" y="60052"/>
                    </a:cubicBezTo>
                    <a:cubicBezTo>
                      <a:pt x="181189" y="60494"/>
                      <a:pt x="180638" y="60935"/>
                      <a:pt x="179755" y="61708"/>
                    </a:cubicBezTo>
                    <a:cubicBezTo>
                      <a:pt x="189356" y="78262"/>
                      <a:pt x="198847" y="94706"/>
                      <a:pt x="208559" y="111701"/>
                    </a:cubicBezTo>
                    <a:cubicBezTo>
                      <a:pt x="229418" y="102210"/>
                      <a:pt x="250938" y="96582"/>
                      <a:pt x="274004" y="94154"/>
                    </a:cubicBezTo>
                    <a:cubicBezTo>
                      <a:pt x="274004" y="89188"/>
                      <a:pt x="274004" y="84442"/>
                      <a:pt x="274004" y="79697"/>
                    </a:cubicBezTo>
                    <a:cubicBezTo>
                      <a:pt x="274004" y="67005"/>
                      <a:pt x="273893" y="54313"/>
                      <a:pt x="274004" y="41622"/>
                    </a:cubicBezTo>
                    <a:cubicBezTo>
                      <a:pt x="274004" y="38090"/>
                      <a:pt x="273673" y="36104"/>
                      <a:pt x="269258" y="35552"/>
                    </a:cubicBezTo>
                    <a:cubicBezTo>
                      <a:pt x="260540" y="34448"/>
                      <a:pt x="254359" y="26171"/>
                      <a:pt x="254690" y="17452"/>
                    </a:cubicBezTo>
                    <a:cubicBezTo>
                      <a:pt x="255022" y="8403"/>
                      <a:pt x="261864" y="677"/>
                      <a:pt x="271024" y="346"/>
                    </a:cubicBezTo>
                    <a:cubicBezTo>
                      <a:pt x="284599" y="-95"/>
                      <a:pt x="298283" y="-95"/>
                      <a:pt x="311858" y="236"/>
                    </a:cubicBezTo>
                    <a:cubicBezTo>
                      <a:pt x="321790" y="457"/>
                      <a:pt x="328743" y="7851"/>
                      <a:pt x="329185" y="17452"/>
                    </a:cubicBezTo>
                    <a:cubicBezTo>
                      <a:pt x="329516" y="26723"/>
                      <a:pt x="322673" y="34448"/>
                      <a:pt x="312961" y="35773"/>
                    </a:cubicBezTo>
                    <a:cubicBezTo>
                      <a:pt x="312410" y="35993"/>
                      <a:pt x="311747" y="36104"/>
                      <a:pt x="310313" y="36324"/>
                    </a:cubicBezTo>
                    <a:close/>
                    <a:moveTo>
                      <a:pt x="291993" y="454816"/>
                    </a:moveTo>
                    <a:cubicBezTo>
                      <a:pt x="381607" y="455037"/>
                      <a:pt x="454556" y="382419"/>
                      <a:pt x="454776" y="292695"/>
                    </a:cubicBezTo>
                    <a:cubicBezTo>
                      <a:pt x="454997" y="202529"/>
                      <a:pt x="382600" y="129690"/>
                      <a:pt x="292655" y="129470"/>
                    </a:cubicBezTo>
                    <a:cubicBezTo>
                      <a:pt x="202710" y="129359"/>
                      <a:pt x="129871" y="201536"/>
                      <a:pt x="129650" y="291150"/>
                    </a:cubicBezTo>
                    <a:cubicBezTo>
                      <a:pt x="129319" y="381646"/>
                      <a:pt x="201827" y="454596"/>
                      <a:pt x="291993" y="454816"/>
                    </a:cubicBezTo>
                    <a:close/>
                  </a:path>
                </a:pathLst>
              </a:custGeom>
              <a:solidFill>
                <a:srgbClr val="3F3F3F"/>
              </a:solidFill>
              <a:ln w="644" cap="flat">
                <a:noFill/>
                <a:prstDash val="solid"/>
                <a:miter/>
              </a:ln>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defTabSz="1219170"/>
                <a:endParaRPr lang="en-US" sz="2400">
                  <a:solidFill>
                    <a:srgbClr val="102B62"/>
                  </a:solidFill>
                  <a:latin typeface="Arial"/>
                </a:endParaRPr>
              </a:p>
            </p:txBody>
          </p:sp>
          <p:sp>
            <p:nvSpPr>
              <p:cNvPr id="87" name="Freeform: Shape 86">
                <a:extLst>
                  <a:ext uri="{FF2B5EF4-FFF2-40B4-BE49-F238E27FC236}">
                    <a16:creationId xmlns:a16="http://schemas.microsoft.com/office/drawing/2014/main" id="{81830352-1C27-49EB-8BBF-C000A915BC11}"/>
                  </a:ext>
                </a:extLst>
              </p:cNvPr>
              <p:cNvSpPr/>
              <p:nvPr/>
            </p:nvSpPr>
            <p:spPr>
              <a:xfrm>
                <a:off x="3447836" y="3465336"/>
                <a:ext cx="106720" cy="106609"/>
              </a:xfrm>
              <a:custGeom>
                <a:avLst/>
                <a:gdLst>
                  <a:gd name="connsiteX0" fmla="*/ 106720 w 106720"/>
                  <a:gd name="connsiteY0" fmla="*/ 53194 h 106609"/>
                  <a:gd name="connsiteX1" fmla="*/ 53416 w 106720"/>
                  <a:gd name="connsiteY1" fmla="*/ 106610 h 106609"/>
                  <a:gd name="connsiteX2" fmla="*/ 0 w 106720"/>
                  <a:gd name="connsiteY2" fmla="*/ 52753 h 106609"/>
                  <a:gd name="connsiteX3" fmla="*/ 53857 w 106720"/>
                  <a:gd name="connsiteY3" fmla="*/ 0 h 106609"/>
                  <a:gd name="connsiteX4" fmla="*/ 106720 w 106720"/>
                  <a:gd name="connsiteY4" fmla="*/ 53194 h 106609"/>
                  <a:gd name="connsiteX5" fmla="*/ 70632 w 106720"/>
                  <a:gd name="connsiteY5" fmla="*/ 53525 h 106609"/>
                  <a:gd name="connsiteX6" fmla="*/ 53857 w 106720"/>
                  <a:gd name="connsiteY6" fmla="*/ 36088 h 106609"/>
                  <a:gd name="connsiteX7" fmla="*/ 36089 w 106720"/>
                  <a:gd name="connsiteY7" fmla="*/ 53084 h 106609"/>
                  <a:gd name="connsiteX8" fmla="*/ 53416 w 106720"/>
                  <a:gd name="connsiteY8" fmla="*/ 70632 h 106609"/>
                  <a:gd name="connsiteX9" fmla="*/ 70632 w 106720"/>
                  <a:gd name="connsiteY9" fmla="*/ 53525 h 106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720" h="106609">
                    <a:moveTo>
                      <a:pt x="106720" y="53194"/>
                    </a:moveTo>
                    <a:cubicBezTo>
                      <a:pt x="106720" y="82551"/>
                      <a:pt x="82551" y="106720"/>
                      <a:pt x="53416" y="106610"/>
                    </a:cubicBezTo>
                    <a:cubicBezTo>
                      <a:pt x="23618" y="106389"/>
                      <a:pt x="-110" y="82551"/>
                      <a:pt x="0" y="52753"/>
                    </a:cubicBezTo>
                    <a:cubicBezTo>
                      <a:pt x="111" y="23507"/>
                      <a:pt x="24170" y="0"/>
                      <a:pt x="53857" y="0"/>
                    </a:cubicBezTo>
                    <a:cubicBezTo>
                      <a:pt x="82882" y="110"/>
                      <a:pt x="106720" y="24059"/>
                      <a:pt x="106720" y="53194"/>
                    </a:cubicBezTo>
                    <a:close/>
                    <a:moveTo>
                      <a:pt x="70632" y="53525"/>
                    </a:moveTo>
                    <a:cubicBezTo>
                      <a:pt x="70742" y="43924"/>
                      <a:pt x="63348" y="36309"/>
                      <a:pt x="53857" y="36088"/>
                    </a:cubicBezTo>
                    <a:cubicBezTo>
                      <a:pt x="43924" y="35868"/>
                      <a:pt x="36199" y="43262"/>
                      <a:pt x="36089" y="53084"/>
                    </a:cubicBezTo>
                    <a:cubicBezTo>
                      <a:pt x="35978" y="62686"/>
                      <a:pt x="43814" y="70632"/>
                      <a:pt x="53416" y="70632"/>
                    </a:cubicBezTo>
                    <a:cubicBezTo>
                      <a:pt x="62686" y="70632"/>
                      <a:pt x="70522" y="62796"/>
                      <a:pt x="70632" y="53525"/>
                    </a:cubicBezTo>
                    <a:close/>
                  </a:path>
                </a:pathLst>
              </a:custGeom>
              <a:solidFill>
                <a:srgbClr val="3F3F3F"/>
              </a:solidFill>
              <a:ln w="644" cap="flat">
                <a:noFill/>
                <a:prstDash val="solid"/>
                <a:miter/>
              </a:ln>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defTabSz="1219170"/>
                <a:endParaRPr lang="en-US" sz="2400">
                  <a:solidFill>
                    <a:srgbClr val="102B62"/>
                  </a:solidFill>
                  <a:latin typeface="Arial"/>
                </a:endParaRPr>
              </a:p>
            </p:txBody>
          </p:sp>
          <p:sp>
            <p:nvSpPr>
              <p:cNvPr id="88" name="Freeform: Shape 87">
                <a:extLst>
                  <a:ext uri="{FF2B5EF4-FFF2-40B4-BE49-F238E27FC236}">
                    <a16:creationId xmlns:a16="http://schemas.microsoft.com/office/drawing/2014/main" id="{F01746C8-B069-49D7-9677-D5A4CC6AB6F5}"/>
                  </a:ext>
                </a:extLst>
              </p:cNvPr>
              <p:cNvSpPr/>
              <p:nvPr/>
            </p:nvSpPr>
            <p:spPr>
              <a:xfrm>
                <a:off x="3466039" y="3309712"/>
                <a:ext cx="106401" cy="106412"/>
              </a:xfrm>
              <a:custGeom>
                <a:avLst/>
                <a:gdLst>
                  <a:gd name="connsiteX0" fmla="*/ 53863 w 106401"/>
                  <a:gd name="connsiteY0" fmla="*/ 106403 h 106412"/>
                  <a:gd name="connsiteX1" fmla="*/ 6 w 106401"/>
                  <a:gd name="connsiteY1" fmla="*/ 53871 h 106412"/>
                  <a:gd name="connsiteX2" fmla="*/ 50331 w 106401"/>
                  <a:gd name="connsiteY2" fmla="*/ 14 h 106412"/>
                  <a:gd name="connsiteX3" fmla="*/ 106395 w 106401"/>
                  <a:gd name="connsiteY3" fmla="*/ 51332 h 106412"/>
                  <a:gd name="connsiteX4" fmla="*/ 53863 w 106401"/>
                  <a:gd name="connsiteY4" fmla="*/ 106403 h 106412"/>
                  <a:gd name="connsiteX5" fmla="*/ 70417 w 106401"/>
                  <a:gd name="connsiteY5" fmla="*/ 53209 h 106412"/>
                  <a:gd name="connsiteX6" fmla="*/ 53421 w 106401"/>
                  <a:gd name="connsiteY6" fmla="*/ 35992 h 106412"/>
                  <a:gd name="connsiteX7" fmla="*/ 35764 w 106401"/>
                  <a:gd name="connsiteY7" fmla="*/ 53209 h 106412"/>
                  <a:gd name="connsiteX8" fmla="*/ 53421 w 106401"/>
                  <a:gd name="connsiteY8" fmla="*/ 70535 h 106412"/>
                  <a:gd name="connsiteX9" fmla="*/ 70417 w 106401"/>
                  <a:gd name="connsiteY9" fmla="*/ 53209 h 10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401" h="106412">
                    <a:moveTo>
                      <a:pt x="53863" y="106403"/>
                    </a:moveTo>
                    <a:cubicBezTo>
                      <a:pt x="24507" y="106955"/>
                      <a:pt x="448" y="83558"/>
                      <a:pt x="6" y="53871"/>
                    </a:cubicBezTo>
                    <a:cubicBezTo>
                      <a:pt x="-435" y="25287"/>
                      <a:pt x="22520" y="676"/>
                      <a:pt x="50331" y="14"/>
                    </a:cubicBezTo>
                    <a:cubicBezTo>
                      <a:pt x="81233" y="-648"/>
                      <a:pt x="105843" y="21866"/>
                      <a:pt x="106395" y="51332"/>
                    </a:cubicBezTo>
                    <a:cubicBezTo>
                      <a:pt x="106837" y="82013"/>
                      <a:pt x="84102" y="105741"/>
                      <a:pt x="53863" y="106403"/>
                    </a:cubicBezTo>
                    <a:close/>
                    <a:moveTo>
                      <a:pt x="70417" y="53209"/>
                    </a:moveTo>
                    <a:cubicBezTo>
                      <a:pt x="70417" y="43718"/>
                      <a:pt x="62912" y="36103"/>
                      <a:pt x="53421" y="35992"/>
                    </a:cubicBezTo>
                    <a:cubicBezTo>
                      <a:pt x="43820" y="35882"/>
                      <a:pt x="35764" y="43718"/>
                      <a:pt x="35764" y="53209"/>
                    </a:cubicBezTo>
                    <a:cubicBezTo>
                      <a:pt x="35764" y="62589"/>
                      <a:pt x="44041" y="70756"/>
                      <a:pt x="53421" y="70535"/>
                    </a:cubicBezTo>
                    <a:cubicBezTo>
                      <a:pt x="62802" y="70425"/>
                      <a:pt x="70417" y="62589"/>
                      <a:pt x="70417" y="53209"/>
                    </a:cubicBezTo>
                    <a:close/>
                  </a:path>
                </a:pathLst>
              </a:custGeom>
              <a:solidFill>
                <a:srgbClr val="3F3F3F"/>
              </a:solidFill>
              <a:ln w="644" cap="flat">
                <a:noFill/>
                <a:prstDash val="solid"/>
                <a:miter/>
              </a:ln>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defTabSz="1219170"/>
                <a:endParaRPr lang="en-US" sz="2400">
                  <a:solidFill>
                    <a:srgbClr val="102B62"/>
                  </a:solidFill>
                  <a:latin typeface="Arial"/>
                </a:endParaRPr>
              </a:p>
            </p:txBody>
          </p:sp>
          <p:sp>
            <p:nvSpPr>
              <p:cNvPr id="89" name="Freeform: Shape 88">
                <a:extLst>
                  <a:ext uri="{FF2B5EF4-FFF2-40B4-BE49-F238E27FC236}">
                    <a16:creationId xmlns:a16="http://schemas.microsoft.com/office/drawing/2014/main" id="{B7D68F70-AB0A-4D7D-8734-C32BE5D3836B}"/>
                  </a:ext>
                </a:extLst>
              </p:cNvPr>
              <p:cNvSpPr/>
              <p:nvPr/>
            </p:nvSpPr>
            <p:spPr>
              <a:xfrm>
                <a:off x="3321894" y="3383324"/>
                <a:ext cx="106646" cy="106416"/>
              </a:xfrm>
              <a:custGeom>
                <a:avLst/>
                <a:gdLst>
                  <a:gd name="connsiteX0" fmla="*/ 53986 w 106646"/>
                  <a:gd name="connsiteY0" fmla="*/ 14 h 106416"/>
                  <a:gd name="connsiteX1" fmla="*/ 106628 w 106646"/>
                  <a:gd name="connsiteY1" fmla="*/ 54422 h 106416"/>
                  <a:gd name="connsiteX2" fmla="*/ 51006 w 106646"/>
                  <a:gd name="connsiteY2" fmla="*/ 106403 h 106416"/>
                  <a:gd name="connsiteX3" fmla="*/ 19 w 106646"/>
                  <a:gd name="connsiteY3" fmla="*/ 51553 h 106416"/>
                  <a:gd name="connsiteX4" fmla="*/ 53986 w 106646"/>
                  <a:gd name="connsiteY4" fmla="*/ 14 h 106416"/>
                  <a:gd name="connsiteX5" fmla="*/ 53434 w 106646"/>
                  <a:gd name="connsiteY5" fmla="*/ 70425 h 106416"/>
                  <a:gd name="connsiteX6" fmla="*/ 70650 w 106646"/>
                  <a:gd name="connsiteY6" fmla="*/ 52877 h 106416"/>
                  <a:gd name="connsiteX7" fmla="*/ 53324 w 106646"/>
                  <a:gd name="connsiteY7" fmla="*/ 35771 h 106416"/>
                  <a:gd name="connsiteX8" fmla="*/ 36107 w 106646"/>
                  <a:gd name="connsiteY8" fmla="*/ 53539 h 106416"/>
                  <a:gd name="connsiteX9" fmla="*/ 53434 w 106646"/>
                  <a:gd name="connsiteY9" fmla="*/ 70425 h 10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646" h="106416">
                    <a:moveTo>
                      <a:pt x="53986" y="14"/>
                    </a:moveTo>
                    <a:cubicBezTo>
                      <a:pt x="83894" y="676"/>
                      <a:pt x="107401" y="24955"/>
                      <a:pt x="106628" y="54422"/>
                    </a:cubicBezTo>
                    <a:cubicBezTo>
                      <a:pt x="105856" y="84330"/>
                      <a:pt x="81576" y="107065"/>
                      <a:pt x="51006" y="106403"/>
                    </a:cubicBezTo>
                    <a:cubicBezTo>
                      <a:pt x="22422" y="105740"/>
                      <a:pt x="-754" y="80909"/>
                      <a:pt x="19" y="51553"/>
                    </a:cubicBezTo>
                    <a:cubicBezTo>
                      <a:pt x="791" y="22748"/>
                      <a:pt x="25292" y="-648"/>
                      <a:pt x="53986" y="14"/>
                    </a:cubicBezTo>
                    <a:close/>
                    <a:moveTo>
                      <a:pt x="53434" y="70425"/>
                    </a:moveTo>
                    <a:cubicBezTo>
                      <a:pt x="63256" y="70314"/>
                      <a:pt x="70761" y="62699"/>
                      <a:pt x="70650" y="52877"/>
                    </a:cubicBezTo>
                    <a:cubicBezTo>
                      <a:pt x="70540" y="43607"/>
                      <a:pt x="62594" y="35771"/>
                      <a:pt x="53324" y="35771"/>
                    </a:cubicBezTo>
                    <a:cubicBezTo>
                      <a:pt x="43832" y="35771"/>
                      <a:pt x="36107" y="43827"/>
                      <a:pt x="36107" y="53539"/>
                    </a:cubicBezTo>
                    <a:cubicBezTo>
                      <a:pt x="36328" y="62920"/>
                      <a:pt x="43943" y="70425"/>
                      <a:pt x="53434" y="70425"/>
                    </a:cubicBezTo>
                    <a:close/>
                  </a:path>
                </a:pathLst>
              </a:custGeom>
              <a:solidFill>
                <a:srgbClr val="3F3F3F"/>
              </a:solidFill>
              <a:ln w="644" cap="flat">
                <a:noFill/>
                <a:prstDash val="solid"/>
                <a:miter/>
              </a:ln>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defTabSz="1219170"/>
                <a:endParaRPr lang="en-US" sz="2400">
                  <a:solidFill>
                    <a:srgbClr val="102B62"/>
                  </a:solidFill>
                  <a:latin typeface="Arial"/>
                </a:endParaRPr>
              </a:p>
            </p:txBody>
          </p:sp>
        </p:grpSp>
        <p:grpSp>
          <p:nvGrpSpPr>
            <p:cNvPr id="91" name="Graphic 51">
              <a:extLst>
                <a:ext uri="{FF2B5EF4-FFF2-40B4-BE49-F238E27FC236}">
                  <a16:creationId xmlns:a16="http://schemas.microsoft.com/office/drawing/2014/main" id="{7FA0A4E7-65AE-4DEF-B0D1-85FE3CA27BC5}"/>
                </a:ext>
              </a:extLst>
            </p:cNvPr>
            <p:cNvGrpSpPr/>
            <p:nvPr/>
          </p:nvGrpSpPr>
          <p:grpSpPr>
            <a:xfrm>
              <a:off x="4595813" y="2867509"/>
              <a:ext cx="99884" cy="99936"/>
              <a:chOff x="3179681" y="3141409"/>
              <a:chExt cx="584190" cy="584491"/>
            </a:xfrm>
            <a:solidFill>
              <a:srgbClr val="000000"/>
            </a:solidFill>
          </p:grpSpPr>
          <p:sp>
            <p:nvSpPr>
              <p:cNvPr id="92" name="Freeform: Shape 91">
                <a:extLst>
                  <a:ext uri="{FF2B5EF4-FFF2-40B4-BE49-F238E27FC236}">
                    <a16:creationId xmlns:a16="http://schemas.microsoft.com/office/drawing/2014/main" id="{212AF2F9-C4EF-4BEC-85C9-34D2526F156C}"/>
                  </a:ext>
                </a:extLst>
              </p:cNvPr>
              <p:cNvSpPr/>
              <p:nvPr/>
            </p:nvSpPr>
            <p:spPr>
              <a:xfrm>
                <a:off x="3179681" y="3141409"/>
                <a:ext cx="584190" cy="584491"/>
              </a:xfrm>
              <a:custGeom>
                <a:avLst/>
                <a:gdLst>
                  <a:gd name="connsiteX0" fmla="*/ 310313 w 584190"/>
                  <a:gd name="connsiteY0" fmla="*/ 36324 h 584491"/>
                  <a:gd name="connsiteX1" fmla="*/ 310313 w 584190"/>
                  <a:gd name="connsiteY1" fmla="*/ 94154 h 584491"/>
                  <a:gd name="connsiteX2" fmla="*/ 375537 w 584190"/>
                  <a:gd name="connsiteY2" fmla="*/ 111591 h 584491"/>
                  <a:gd name="connsiteX3" fmla="*/ 403458 w 584190"/>
                  <a:gd name="connsiteY3" fmla="*/ 63253 h 584491"/>
                  <a:gd name="connsiteX4" fmla="*/ 395181 w 584190"/>
                  <a:gd name="connsiteY4" fmla="*/ 48795 h 584491"/>
                  <a:gd name="connsiteX5" fmla="*/ 401913 w 584190"/>
                  <a:gd name="connsiteY5" fmla="*/ 30806 h 584491"/>
                  <a:gd name="connsiteX6" fmla="*/ 421668 w 584190"/>
                  <a:gd name="connsiteY6" fmla="*/ 29703 h 584491"/>
                  <a:gd name="connsiteX7" fmla="*/ 454114 w 584190"/>
                  <a:gd name="connsiteY7" fmla="*/ 48354 h 584491"/>
                  <a:gd name="connsiteX8" fmla="*/ 462060 w 584190"/>
                  <a:gd name="connsiteY8" fmla="*/ 72082 h 584491"/>
                  <a:gd name="connsiteX9" fmla="*/ 438664 w 584190"/>
                  <a:gd name="connsiteY9" fmla="*/ 80910 h 584491"/>
                  <a:gd name="connsiteX10" fmla="*/ 435573 w 584190"/>
                  <a:gd name="connsiteY10" fmla="*/ 79697 h 584491"/>
                  <a:gd name="connsiteX11" fmla="*/ 406659 w 584190"/>
                  <a:gd name="connsiteY11" fmla="*/ 129580 h 584491"/>
                  <a:gd name="connsiteX12" fmla="*/ 454445 w 584190"/>
                  <a:gd name="connsiteY12" fmla="*/ 177477 h 584491"/>
                  <a:gd name="connsiteX13" fmla="*/ 504329 w 584190"/>
                  <a:gd name="connsiteY13" fmla="*/ 148783 h 584491"/>
                  <a:gd name="connsiteX14" fmla="*/ 502784 w 584190"/>
                  <a:gd name="connsiteY14" fmla="*/ 144037 h 584491"/>
                  <a:gd name="connsiteX15" fmla="*/ 511502 w 584190"/>
                  <a:gd name="connsiteY15" fmla="*/ 122517 h 584491"/>
                  <a:gd name="connsiteX16" fmla="*/ 534127 w 584190"/>
                  <a:gd name="connsiteY16" fmla="*/ 127814 h 584491"/>
                  <a:gd name="connsiteX17" fmla="*/ 555316 w 584190"/>
                  <a:gd name="connsiteY17" fmla="*/ 164565 h 584491"/>
                  <a:gd name="connsiteX18" fmla="*/ 549136 w 584190"/>
                  <a:gd name="connsiteY18" fmla="*/ 186527 h 584491"/>
                  <a:gd name="connsiteX19" fmla="*/ 526291 w 584190"/>
                  <a:gd name="connsiteY19" fmla="*/ 184430 h 584491"/>
                  <a:gd name="connsiteX20" fmla="*/ 522318 w 584190"/>
                  <a:gd name="connsiteY20" fmla="*/ 179905 h 584491"/>
                  <a:gd name="connsiteX21" fmla="*/ 472765 w 584190"/>
                  <a:gd name="connsiteY21" fmla="*/ 208489 h 584491"/>
                  <a:gd name="connsiteX22" fmla="*/ 480711 w 584190"/>
                  <a:gd name="connsiteY22" fmla="*/ 230451 h 584491"/>
                  <a:gd name="connsiteX23" fmla="*/ 489430 w 584190"/>
                  <a:gd name="connsiteY23" fmla="*/ 270181 h 584491"/>
                  <a:gd name="connsiteX24" fmla="*/ 493293 w 584190"/>
                  <a:gd name="connsiteY24" fmla="*/ 274264 h 584491"/>
                  <a:gd name="connsiteX25" fmla="*/ 547591 w 584190"/>
                  <a:gd name="connsiteY25" fmla="*/ 274264 h 584491"/>
                  <a:gd name="connsiteX26" fmla="*/ 548143 w 584190"/>
                  <a:gd name="connsiteY26" fmla="*/ 270843 h 584491"/>
                  <a:gd name="connsiteX27" fmla="*/ 565800 w 584190"/>
                  <a:gd name="connsiteY27" fmla="*/ 254951 h 584491"/>
                  <a:gd name="connsiteX28" fmla="*/ 583679 w 584190"/>
                  <a:gd name="connsiteY28" fmla="*/ 270954 h 584491"/>
                  <a:gd name="connsiteX29" fmla="*/ 583789 w 584190"/>
                  <a:gd name="connsiteY29" fmla="*/ 312891 h 584491"/>
                  <a:gd name="connsiteX30" fmla="*/ 566242 w 584190"/>
                  <a:gd name="connsiteY30" fmla="*/ 329335 h 584491"/>
                  <a:gd name="connsiteX31" fmla="*/ 548143 w 584190"/>
                  <a:gd name="connsiteY31" fmla="*/ 313332 h 584491"/>
                  <a:gd name="connsiteX32" fmla="*/ 547701 w 584190"/>
                  <a:gd name="connsiteY32" fmla="*/ 310132 h 584491"/>
                  <a:gd name="connsiteX33" fmla="*/ 522207 w 584190"/>
                  <a:gd name="connsiteY33" fmla="*/ 310132 h 584491"/>
                  <a:gd name="connsiteX34" fmla="*/ 494065 w 584190"/>
                  <a:gd name="connsiteY34" fmla="*/ 310242 h 584491"/>
                  <a:gd name="connsiteX35" fmla="*/ 489651 w 584190"/>
                  <a:gd name="connsiteY35" fmla="*/ 313332 h 584491"/>
                  <a:gd name="connsiteX36" fmla="*/ 472324 w 584190"/>
                  <a:gd name="connsiteY36" fmla="*/ 375466 h 584491"/>
                  <a:gd name="connsiteX37" fmla="*/ 522097 w 584190"/>
                  <a:gd name="connsiteY37" fmla="*/ 404271 h 584491"/>
                  <a:gd name="connsiteX38" fmla="*/ 524967 w 584190"/>
                  <a:gd name="connsiteY38" fmla="*/ 401070 h 584491"/>
                  <a:gd name="connsiteX39" fmla="*/ 548363 w 584190"/>
                  <a:gd name="connsiteY39" fmla="*/ 397318 h 584491"/>
                  <a:gd name="connsiteX40" fmla="*/ 555095 w 584190"/>
                  <a:gd name="connsiteY40" fmla="*/ 419942 h 584491"/>
                  <a:gd name="connsiteX41" fmla="*/ 543397 w 584190"/>
                  <a:gd name="connsiteY41" fmla="*/ 440580 h 584491"/>
                  <a:gd name="connsiteX42" fmla="*/ 535892 w 584190"/>
                  <a:gd name="connsiteY42" fmla="*/ 453492 h 584491"/>
                  <a:gd name="connsiteX43" fmla="*/ 511502 w 584190"/>
                  <a:gd name="connsiteY43" fmla="*/ 461769 h 584491"/>
                  <a:gd name="connsiteX44" fmla="*/ 503446 w 584190"/>
                  <a:gd name="connsiteY44" fmla="*/ 437821 h 584491"/>
                  <a:gd name="connsiteX45" fmla="*/ 504108 w 584190"/>
                  <a:gd name="connsiteY45" fmla="*/ 435503 h 584491"/>
                  <a:gd name="connsiteX46" fmla="*/ 454335 w 584190"/>
                  <a:gd name="connsiteY46" fmla="*/ 406699 h 584491"/>
                  <a:gd name="connsiteX47" fmla="*/ 406438 w 584190"/>
                  <a:gd name="connsiteY47" fmla="*/ 454485 h 584491"/>
                  <a:gd name="connsiteX48" fmla="*/ 435242 w 584190"/>
                  <a:gd name="connsiteY48" fmla="*/ 504369 h 584491"/>
                  <a:gd name="connsiteX49" fmla="*/ 439878 w 584190"/>
                  <a:gd name="connsiteY49" fmla="*/ 502824 h 584491"/>
                  <a:gd name="connsiteX50" fmla="*/ 461508 w 584190"/>
                  <a:gd name="connsiteY50" fmla="*/ 511542 h 584491"/>
                  <a:gd name="connsiteX51" fmla="*/ 455770 w 584190"/>
                  <a:gd name="connsiteY51" fmla="*/ 534608 h 584491"/>
                  <a:gd name="connsiteX52" fmla="*/ 420012 w 584190"/>
                  <a:gd name="connsiteY52" fmla="*/ 555246 h 584491"/>
                  <a:gd name="connsiteX53" fmla="*/ 397168 w 584190"/>
                  <a:gd name="connsiteY53" fmla="*/ 548845 h 584491"/>
                  <a:gd name="connsiteX54" fmla="*/ 400258 w 584190"/>
                  <a:gd name="connsiteY54" fmla="*/ 525669 h 584491"/>
                  <a:gd name="connsiteX55" fmla="*/ 404120 w 584190"/>
                  <a:gd name="connsiteY55" fmla="*/ 522578 h 584491"/>
                  <a:gd name="connsiteX56" fmla="*/ 375757 w 584190"/>
                  <a:gd name="connsiteY56" fmla="*/ 473467 h 584491"/>
                  <a:gd name="connsiteX57" fmla="*/ 337683 w 584190"/>
                  <a:gd name="connsiteY57" fmla="*/ 485387 h 584491"/>
                  <a:gd name="connsiteX58" fmla="*/ 314396 w 584190"/>
                  <a:gd name="connsiteY58" fmla="*/ 489691 h 584491"/>
                  <a:gd name="connsiteX59" fmla="*/ 309982 w 584190"/>
                  <a:gd name="connsiteY59" fmla="*/ 492891 h 584491"/>
                  <a:gd name="connsiteX60" fmla="*/ 309761 w 584190"/>
                  <a:gd name="connsiteY60" fmla="*/ 547189 h 584491"/>
                  <a:gd name="connsiteX61" fmla="*/ 320466 w 584190"/>
                  <a:gd name="connsiteY61" fmla="*/ 551052 h 584491"/>
                  <a:gd name="connsiteX62" fmla="*/ 328522 w 584190"/>
                  <a:gd name="connsiteY62" fmla="*/ 570476 h 584491"/>
                  <a:gd name="connsiteX63" fmla="*/ 312520 w 584190"/>
                  <a:gd name="connsiteY63" fmla="*/ 584160 h 584491"/>
                  <a:gd name="connsiteX64" fmla="*/ 271686 w 584190"/>
                  <a:gd name="connsiteY64" fmla="*/ 584160 h 584491"/>
                  <a:gd name="connsiteX65" fmla="*/ 254690 w 584190"/>
                  <a:gd name="connsiteY65" fmla="*/ 566944 h 584491"/>
                  <a:gd name="connsiteX66" fmla="*/ 269148 w 584190"/>
                  <a:gd name="connsiteY66" fmla="*/ 548624 h 584491"/>
                  <a:gd name="connsiteX67" fmla="*/ 274004 w 584190"/>
                  <a:gd name="connsiteY67" fmla="*/ 547741 h 584491"/>
                  <a:gd name="connsiteX68" fmla="*/ 274004 w 584190"/>
                  <a:gd name="connsiteY68" fmla="*/ 523020 h 584491"/>
                  <a:gd name="connsiteX69" fmla="*/ 274004 w 584190"/>
                  <a:gd name="connsiteY69" fmla="*/ 494326 h 584491"/>
                  <a:gd name="connsiteX70" fmla="*/ 270251 w 584190"/>
                  <a:gd name="connsiteY70" fmla="*/ 489580 h 584491"/>
                  <a:gd name="connsiteX71" fmla="*/ 210435 w 584190"/>
                  <a:gd name="connsiteY71" fmla="*/ 473467 h 584491"/>
                  <a:gd name="connsiteX72" fmla="*/ 208338 w 584190"/>
                  <a:gd name="connsiteY72" fmla="*/ 473026 h 584491"/>
                  <a:gd name="connsiteX73" fmla="*/ 179755 w 584190"/>
                  <a:gd name="connsiteY73" fmla="*/ 522578 h 584491"/>
                  <a:gd name="connsiteX74" fmla="*/ 189467 w 584190"/>
                  <a:gd name="connsiteY74" fmla="*/ 538691 h 584491"/>
                  <a:gd name="connsiteX75" fmla="*/ 164635 w 584190"/>
                  <a:gd name="connsiteY75" fmla="*/ 555466 h 584491"/>
                  <a:gd name="connsiteX76" fmla="*/ 127885 w 584190"/>
                  <a:gd name="connsiteY76" fmla="*/ 534387 h 584491"/>
                  <a:gd name="connsiteX77" fmla="*/ 122477 w 584190"/>
                  <a:gd name="connsiteY77" fmla="*/ 511322 h 584491"/>
                  <a:gd name="connsiteX78" fmla="*/ 144218 w 584190"/>
                  <a:gd name="connsiteY78" fmla="*/ 502934 h 584491"/>
                  <a:gd name="connsiteX79" fmla="*/ 148522 w 584190"/>
                  <a:gd name="connsiteY79" fmla="*/ 504590 h 584491"/>
                  <a:gd name="connsiteX80" fmla="*/ 177327 w 584190"/>
                  <a:gd name="connsiteY80" fmla="*/ 454706 h 584491"/>
                  <a:gd name="connsiteX81" fmla="*/ 129540 w 584190"/>
                  <a:gd name="connsiteY81" fmla="*/ 406809 h 584491"/>
                  <a:gd name="connsiteX82" fmla="*/ 79767 w 584190"/>
                  <a:gd name="connsiteY82" fmla="*/ 435503 h 584491"/>
                  <a:gd name="connsiteX83" fmla="*/ 81312 w 584190"/>
                  <a:gd name="connsiteY83" fmla="*/ 440249 h 584491"/>
                  <a:gd name="connsiteX84" fmla="*/ 72483 w 584190"/>
                  <a:gd name="connsiteY84" fmla="*/ 461769 h 584491"/>
                  <a:gd name="connsiteX85" fmla="*/ 49528 w 584190"/>
                  <a:gd name="connsiteY85" fmla="*/ 456030 h 584491"/>
                  <a:gd name="connsiteX86" fmla="*/ 29111 w 584190"/>
                  <a:gd name="connsiteY86" fmla="*/ 420715 h 584491"/>
                  <a:gd name="connsiteX87" fmla="*/ 35291 w 584190"/>
                  <a:gd name="connsiteY87" fmla="*/ 397428 h 584491"/>
                  <a:gd name="connsiteX88" fmla="*/ 59129 w 584190"/>
                  <a:gd name="connsiteY88" fmla="*/ 401401 h 584491"/>
                  <a:gd name="connsiteX89" fmla="*/ 61557 w 584190"/>
                  <a:gd name="connsiteY89" fmla="*/ 404381 h 584491"/>
                  <a:gd name="connsiteX90" fmla="*/ 111220 w 584190"/>
                  <a:gd name="connsiteY90" fmla="*/ 375797 h 584491"/>
                  <a:gd name="connsiteX91" fmla="*/ 110448 w 584190"/>
                  <a:gd name="connsiteY91" fmla="*/ 373038 h 584491"/>
                  <a:gd name="connsiteX92" fmla="*/ 94445 w 584190"/>
                  <a:gd name="connsiteY92" fmla="*/ 314215 h 584491"/>
                  <a:gd name="connsiteX93" fmla="*/ 91245 w 584190"/>
                  <a:gd name="connsiteY93" fmla="*/ 310463 h 584491"/>
                  <a:gd name="connsiteX94" fmla="*/ 36615 w 584190"/>
                  <a:gd name="connsiteY94" fmla="*/ 310242 h 584491"/>
                  <a:gd name="connsiteX95" fmla="*/ 35181 w 584190"/>
                  <a:gd name="connsiteY95" fmla="*/ 316533 h 584491"/>
                  <a:gd name="connsiteX96" fmla="*/ 16750 w 584190"/>
                  <a:gd name="connsiteY96" fmla="*/ 329445 h 584491"/>
                  <a:gd name="connsiteX97" fmla="*/ 638 w 584190"/>
                  <a:gd name="connsiteY97" fmla="*/ 314657 h 584491"/>
                  <a:gd name="connsiteX98" fmla="*/ 527 w 584190"/>
                  <a:gd name="connsiteY98" fmla="*/ 270071 h 584491"/>
                  <a:gd name="connsiteX99" fmla="*/ 17523 w 584190"/>
                  <a:gd name="connsiteY99" fmla="*/ 255061 h 584491"/>
                  <a:gd name="connsiteX100" fmla="*/ 35512 w 584190"/>
                  <a:gd name="connsiteY100" fmla="*/ 269188 h 584491"/>
                  <a:gd name="connsiteX101" fmla="*/ 36174 w 584190"/>
                  <a:gd name="connsiteY101" fmla="*/ 273933 h 584491"/>
                  <a:gd name="connsiteX102" fmla="*/ 40368 w 584190"/>
                  <a:gd name="connsiteY102" fmla="*/ 274375 h 584491"/>
                  <a:gd name="connsiteX103" fmla="*/ 88927 w 584190"/>
                  <a:gd name="connsiteY103" fmla="*/ 274485 h 584491"/>
                  <a:gd name="connsiteX104" fmla="*/ 94666 w 584190"/>
                  <a:gd name="connsiteY104" fmla="*/ 269298 h 584491"/>
                  <a:gd name="connsiteX105" fmla="*/ 109013 w 584190"/>
                  <a:gd name="connsiteY105" fmla="*/ 214559 h 584491"/>
                  <a:gd name="connsiteX106" fmla="*/ 111441 w 584190"/>
                  <a:gd name="connsiteY106" fmla="*/ 208820 h 584491"/>
                  <a:gd name="connsiteX107" fmla="*/ 61668 w 584190"/>
                  <a:gd name="connsiteY107" fmla="*/ 180015 h 584491"/>
                  <a:gd name="connsiteX108" fmla="*/ 58467 w 584190"/>
                  <a:gd name="connsiteY108" fmla="*/ 183768 h 584491"/>
                  <a:gd name="connsiteX109" fmla="*/ 34850 w 584190"/>
                  <a:gd name="connsiteY109" fmla="*/ 186637 h 584491"/>
                  <a:gd name="connsiteX110" fmla="*/ 28890 w 584190"/>
                  <a:gd name="connsiteY110" fmla="*/ 164123 h 584491"/>
                  <a:gd name="connsiteX111" fmla="*/ 49528 w 584190"/>
                  <a:gd name="connsiteY111" fmla="*/ 128366 h 584491"/>
                  <a:gd name="connsiteX112" fmla="*/ 72042 w 584190"/>
                  <a:gd name="connsiteY112" fmla="*/ 122296 h 584491"/>
                  <a:gd name="connsiteX113" fmla="*/ 81422 w 584190"/>
                  <a:gd name="connsiteY113" fmla="*/ 143596 h 584491"/>
                  <a:gd name="connsiteX114" fmla="*/ 79657 w 584190"/>
                  <a:gd name="connsiteY114" fmla="*/ 148783 h 584491"/>
                  <a:gd name="connsiteX115" fmla="*/ 129540 w 584190"/>
                  <a:gd name="connsiteY115" fmla="*/ 177587 h 584491"/>
                  <a:gd name="connsiteX116" fmla="*/ 177437 w 584190"/>
                  <a:gd name="connsiteY116" fmla="*/ 129801 h 584491"/>
                  <a:gd name="connsiteX117" fmla="*/ 148853 w 584190"/>
                  <a:gd name="connsiteY117" fmla="*/ 80248 h 584491"/>
                  <a:gd name="connsiteX118" fmla="*/ 139031 w 584190"/>
                  <a:gd name="connsiteY118" fmla="*/ 82235 h 584491"/>
                  <a:gd name="connsiteX119" fmla="*/ 121263 w 584190"/>
                  <a:gd name="connsiteY119" fmla="*/ 70095 h 584491"/>
                  <a:gd name="connsiteX120" fmla="*/ 128657 w 584190"/>
                  <a:gd name="connsiteY120" fmla="*/ 49347 h 584491"/>
                  <a:gd name="connsiteX121" fmla="*/ 161987 w 584190"/>
                  <a:gd name="connsiteY121" fmla="*/ 30034 h 584491"/>
                  <a:gd name="connsiteX122" fmla="*/ 186376 w 584190"/>
                  <a:gd name="connsiteY122" fmla="*/ 35110 h 584491"/>
                  <a:gd name="connsiteX123" fmla="*/ 181741 w 584190"/>
                  <a:gd name="connsiteY123" fmla="*/ 60052 h 584491"/>
                  <a:gd name="connsiteX124" fmla="*/ 179755 w 584190"/>
                  <a:gd name="connsiteY124" fmla="*/ 61708 h 584491"/>
                  <a:gd name="connsiteX125" fmla="*/ 208559 w 584190"/>
                  <a:gd name="connsiteY125" fmla="*/ 111701 h 584491"/>
                  <a:gd name="connsiteX126" fmla="*/ 274004 w 584190"/>
                  <a:gd name="connsiteY126" fmla="*/ 94154 h 584491"/>
                  <a:gd name="connsiteX127" fmla="*/ 274004 w 584190"/>
                  <a:gd name="connsiteY127" fmla="*/ 79697 h 584491"/>
                  <a:gd name="connsiteX128" fmla="*/ 274004 w 584190"/>
                  <a:gd name="connsiteY128" fmla="*/ 41622 h 584491"/>
                  <a:gd name="connsiteX129" fmla="*/ 269258 w 584190"/>
                  <a:gd name="connsiteY129" fmla="*/ 35552 h 584491"/>
                  <a:gd name="connsiteX130" fmla="*/ 254690 w 584190"/>
                  <a:gd name="connsiteY130" fmla="*/ 17452 h 584491"/>
                  <a:gd name="connsiteX131" fmla="*/ 271024 w 584190"/>
                  <a:gd name="connsiteY131" fmla="*/ 346 h 584491"/>
                  <a:gd name="connsiteX132" fmla="*/ 311858 w 584190"/>
                  <a:gd name="connsiteY132" fmla="*/ 236 h 584491"/>
                  <a:gd name="connsiteX133" fmla="*/ 329185 w 584190"/>
                  <a:gd name="connsiteY133" fmla="*/ 17452 h 584491"/>
                  <a:gd name="connsiteX134" fmla="*/ 312961 w 584190"/>
                  <a:gd name="connsiteY134" fmla="*/ 35773 h 584491"/>
                  <a:gd name="connsiteX135" fmla="*/ 310313 w 584190"/>
                  <a:gd name="connsiteY135" fmla="*/ 36324 h 584491"/>
                  <a:gd name="connsiteX136" fmla="*/ 291993 w 584190"/>
                  <a:gd name="connsiteY136" fmla="*/ 454816 h 584491"/>
                  <a:gd name="connsiteX137" fmla="*/ 454776 w 584190"/>
                  <a:gd name="connsiteY137" fmla="*/ 292695 h 584491"/>
                  <a:gd name="connsiteX138" fmla="*/ 292655 w 584190"/>
                  <a:gd name="connsiteY138" fmla="*/ 129470 h 584491"/>
                  <a:gd name="connsiteX139" fmla="*/ 129650 w 584190"/>
                  <a:gd name="connsiteY139" fmla="*/ 291150 h 584491"/>
                  <a:gd name="connsiteX140" fmla="*/ 291993 w 584190"/>
                  <a:gd name="connsiteY140" fmla="*/ 454816 h 584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584190" h="584491">
                    <a:moveTo>
                      <a:pt x="310313" y="36324"/>
                    </a:moveTo>
                    <a:cubicBezTo>
                      <a:pt x="310313" y="55748"/>
                      <a:pt x="310313" y="74730"/>
                      <a:pt x="310313" y="94154"/>
                    </a:cubicBezTo>
                    <a:cubicBezTo>
                      <a:pt x="333047" y="96472"/>
                      <a:pt x="354568" y="102210"/>
                      <a:pt x="375537" y="111591"/>
                    </a:cubicBezTo>
                    <a:cubicBezTo>
                      <a:pt x="385248" y="94816"/>
                      <a:pt x="394740" y="78372"/>
                      <a:pt x="403458" y="63253"/>
                    </a:cubicBezTo>
                    <a:cubicBezTo>
                      <a:pt x="400147" y="57735"/>
                      <a:pt x="396505" y="53541"/>
                      <a:pt x="395181" y="48795"/>
                    </a:cubicBezTo>
                    <a:cubicBezTo>
                      <a:pt x="393195" y="41732"/>
                      <a:pt x="395733" y="35221"/>
                      <a:pt x="401913" y="30806"/>
                    </a:cubicBezTo>
                    <a:cubicBezTo>
                      <a:pt x="408204" y="26281"/>
                      <a:pt x="414936" y="25950"/>
                      <a:pt x="421668" y="29703"/>
                    </a:cubicBezTo>
                    <a:cubicBezTo>
                      <a:pt x="432594" y="35883"/>
                      <a:pt x="443409" y="42063"/>
                      <a:pt x="454114" y="48354"/>
                    </a:cubicBezTo>
                    <a:cubicBezTo>
                      <a:pt x="462943" y="53541"/>
                      <a:pt x="466144" y="63253"/>
                      <a:pt x="462060" y="72082"/>
                    </a:cubicBezTo>
                    <a:cubicBezTo>
                      <a:pt x="457977" y="80690"/>
                      <a:pt x="448375" y="84442"/>
                      <a:pt x="438664" y="80910"/>
                    </a:cubicBezTo>
                    <a:cubicBezTo>
                      <a:pt x="437781" y="80579"/>
                      <a:pt x="437008" y="80248"/>
                      <a:pt x="435573" y="79697"/>
                    </a:cubicBezTo>
                    <a:cubicBezTo>
                      <a:pt x="425972" y="96251"/>
                      <a:pt x="416481" y="112695"/>
                      <a:pt x="406659" y="129580"/>
                    </a:cubicBezTo>
                    <a:cubicBezTo>
                      <a:pt x="424979" y="142934"/>
                      <a:pt x="441092" y="158495"/>
                      <a:pt x="454445" y="177477"/>
                    </a:cubicBezTo>
                    <a:cubicBezTo>
                      <a:pt x="471110" y="167876"/>
                      <a:pt x="487554" y="158384"/>
                      <a:pt x="504329" y="148783"/>
                    </a:cubicBezTo>
                    <a:cubicBezTo>
                      <a:pt x="503777" y="147017"/>
                      <a:pt x="503336" y="145583"/>
                      <a:pt x="502784" y="144037"/>
                    </a:cubicBezTo>
                    <a:cubicBezTo>
                      <a:pt x="500025" y="135540"/>
                      <a:pt x="503667" y="126600"/>
                      <a:pt x="511502" y="122517"/>
                    </a:cubicBezTo>
                    <a:cubicBezTo>
                      <a:pt x="519117" y="118544"/>
                      <a:pt x="529602" y="120530"/>
                      <a:pt x="534127" y="127814"/>
                    </a:cubicBezTo>
                    <a:cubicBezTo>
                      <a:pt x="541631" y="139844"/>
                      <a:pt x="548694" y="152094"/>
                      <a:pt x="555316" y="164565"/>
                    </a:cubicBezTo>
                    <a:cubicBezTo>
                      <a:pt x="559289" y="172069"/>
                      <a:pt x="556089" y="181781"/>
                      <a:pt x="549136" y="186527"/>
                    </a:cubicBezTo>
                    <a:cubicBezTo>
                      <a:pt x="542183" y="191272"/>
                      <a:pt x="532361" y="190389"/>
                      <a:pt x="526291" y="184430"/>
                    </a:cubicBezTo>
                    <a:cubicBezTo>
                      <a:pt x="524967" y="183106"/>
                      <a:pt x="523863" y="181671"/>
                      <a:pt x="522318" y="179905"/>
                    </a:cubicBezTo>
                    <a:cubicBezTo>
                      <a:pt x="505764" y="189396"/>
                      <a:pt x="489320" y="198887"/>
                      <a:pt x="472765" y="208489"/>
                    </a:cubicBezTo>
                    <a:cubicBezTo>
                      <a:pt x="475524" y="216104"/>
                      <a:pt x="478835" y="223057"/>
                      <a:pt x="480711" y="230451"/>
                    </a:cubicBezTo>
                    <a:cubicBezTo>
                      <a:pt x="484133" y="243584"/>
                      <a:pt x="486671" y="256938"/>
                      <a:pt x="489430" y="270181"/>
                    </a:cubicBezTo>
                    <a:cubicBezTo>
                      <a:pt x="489982" y="272719"/>
                      <a:pt x="490203" y="274264"/>
                      <a:pt x="493293" y="274264"/>
                    </a:cubicBezTo>
                    <a:cubicBezTo>
                      <a:pt x="511282" y="274154"/>
                      <a:pt x="529271" y="274264"/>
                      <a:pt x="547591" y="274264"/>
                    </a:cubicBezTo>
                    <a:cubicBezTo>
                      <a:pt x="547811" y="272830"/>
                      <a:pt x="548032" y="271836"/>
                      <a:pt x="548143" y="270843"/>
                    </a:cubicBezTo>
                    <a:cubicBezTo>
                      <a:pt x="549688" y="261573"/>
                      <a:pt x="556751" y="255061"/>
                      <a:pt x="565800" y="254951"/>
                    </a:cubicBezTo>
                    <a:cubicBezTo>
                      <a:pt x="575071" y="254841"/>
                      <a:pt x="583127" y="261352"/>
                      <a:pt x="583679" y="270954"/>
                    </a:cubicBezTo>
                    <a:cubicBezTo>
                      <a:pt x="584341" y="284859"/>
                      <a:pt x="584341" y="298875"/>
                      <a:pt x="583789" y="312891"/>
                    </a:cubicBezTo>
                    <a:cubicBezTo>
                      <a:pt x="583348" y="322603"/>
                      <a:pt x="575512" y="329225"/>
                      <a:pt x="566242" y="329335"/>
                    </a:cubicBezTo>
                    <a:cubicBezTo>
                      <a:pt x="556971" y="329445"/>
                      <a:pt x="549577" y="322824"/>
                      <a:pt x="548143" y="313332"/>
                    </a:cubicBezTo>
                    <a:cubicBezTo>
                      <a:pt x="548032" y="312450"/>
                      <a:pt x="547922" y="311567"/>
                      <a:pt x="547701" y="310132"/>
                    </a:cubicBezTo>
                    <a:cubicBezTo>
                      <a:pt x="539093" y="310132"/>
                      <a:pt x="530705" y="310132"/>
                      <a:pt x="522207" y="310132"/>
                    </a:cubicBezTo>
                    <a:cubicBezTo>
                      <a:pt x="512827" y="310132"/>
                      <a:pt x="503446" y="310022"/>
                      <a:pt x="494065" y="310242"/>
                    </a:cubicBezTo>
                    <a:cubicBezTo>
                      <a:pt x="492520" y="310242"/>
                      <a:pt x="489871" y="312119"/>
                      <a:pt x="489651" y="313332"/>
                    </a:cubicBezTo>
                    <a:cubicBezTo>
                      <a:pt x="487112" y="334632"/>
                      <a:pt x="481484" y="355049"/>
                      <a:pt x="472324" y="375466"/>
                    </a:cubicBezTo>
                    <a:cubicBezTo>
                      <a:pt x="488878" y="385068"/>
                      <a:pt x="505322" y="394559"/>
                      <a:pt x="522097" y="404271"/>
                    </a:cubicBezTo>
                    <a:cubicBezTo>
                      <a:pt x="523090" y="403167"/>
                      <a:pt x="523973" y="402063"/>
                      <a:pt x="524967" y="401070"/>
                    </a:cubicBezTo>
                    <a:cubicBezTo>
                      <a:pt x="530926" y="394117"/>
                      <a:pt x="540638" y="392572"/>
                      <a:pt x="548363" y="397318"/>
                    </a:cubicBezTo>
                    <a:cubicBezTo>
                      <a:pt x="556089" y="402063"/>
                      <a:pt x="559179" y="411554"/>
                      <a:pt x="555095" y="419942"/>
                    </a:cubicBezTo>
                    <a:cubicBezTo>
                      <a:pt x="551674" y="427005"/>
                      <a:pt x="547370" y="433737"/>
                      <a:pt x="543397" y="440580"/>
                    </a:cubicBezTo>
                    <a:cubicBezTo>
                      <a:pt x="540969" y="444884"/>
                      <a:pt x="538431" y="449188"/>
                      <a:pt x="535892" y="453492"/>
                    </a:cubicBezTo>
                    <a:cubicBezTo>
                      <a:pt x="530264" y="463093"/>
                      <a:pt x="520662" y="466294"/>
                      <a:pt x="511502" y="461769"/>
                    </a:cubicBezTo>
                    <a:cubicBezTo>
                      <a:pt x="502784" y="457465"/>
                      <a:pt x="499473" y="447864"/>
                      <a:pt x="503446" y="437821"/>
                    </a:cubicBezTo>
                    <a:cubicBezTo>
                      <a:pt x="503667" y="437269"/>
                      <a:pt x="503777" y="436827"/>
                      <a:pt x="504108" y="435503"/>
                    </a:cubicBezTo>
                    <a:cubicBezTo>
                      <a:pt x="487775" y="426012"/>
                      <a:pt x="471220" y="416521"/>
                      <a:pt x="454335" y="406699"/>
                    </a:cubicBezTo>
                    <a:cubicBezTo>
                      <a:pt x="440981" y="425129"/>
                      <a:pt x="425199" y="441242"/>
                      <a:pt x="406438" y="454485"/>
                    </a:cubicBezTo>
                    <a:cubicBezTo>
                      <a:pt x="416150" y="471371"/>
                      <a:pt x="425751" y="487815"/>
                      <a:pt x="435242" y="504369"/>
                    </a:cubicBezTo>
                    <a:cubicBezTo>
                      <a:pt x="437119" y="503707"/>
                      <a:pt x="438443" y="503155"/>
                      <a:pt x="439878" y="502824"/>
                    </a:cubicBezTo>
                    <a:cubicBezTo>
                      <a:pt x="448486" y="500175"/>
                      <a:pt x="457535" y="503817"/>
                      <a:pt x="461508" y="511542"/>
                    </a:cubicBezTo>
                    <a:cubicBezTo>
                      <a:pt x="465592" y="519488"/>
                      <a:pt x="463385" y="529862"/>
                      <a:pt x="455770" y="534608"/>
                    </a:cubicBezTo>
                    <a:cubicBezTo>
                      <a:pt x="444071" y="541892"/>
                      <a:pt x="432152" y="548734"/>
                      <a:pt x="420012" y="555246"/>
                    </a:cubicBezTo>
                    <a:cubicBezTo>
                      <a:pt x="411956" y="559550"/>
                      <a:pt x="402134" y="556349"/>
                      <a:pt x="397168" y="548845"/>
                    </a:cubicBezTo>
                    <a:cubicBezTo>
                      <a:pt x="392422" y="541671"/>
                      <a:pt x="393857" y="531628"/>
                      <a:pt x="400258" y="525669"/>
                    </a:cubicBezTo>
                    <a:cubicBezTo>
                      <a:pt x="401361" y="524675"/>
                      <a:pt x="402465" y="523792"/>
                      <a:pt x="404120" y="522578"/>
                    </a:cubicBezTo>
                    <a:cubicBezTo>
                      <a:pt x="394519" y="506024"/>
                      <a:pt x="385028" y="489580"/>
                      <a:pt x="375757" y="473467"/>
                    </a:cubicBezTo>
                    <a:cubicBezTo>
                      <a:pt x="362735" y="477551"/>
                      <a:pt x="350264" y="481855"/>
                      <a:pt x="337683" y="485387"/>
                    </a:cubicBezTo>
                    <a:cubicBezTo>
                      <a:pt x="330068" y="487483"/>
                      <a:pt x="322122" y="488035"/>
                      <a:pt x="314396" y="489691"/>
                    </a:cubicBezTo>
                    <a:cubicBezTo>
                      <a:pt x="312741" y="490022"/>
                      <a:pt x="309982" y="491788"/>
                      <a:pt x="309982" y="492891"/>
                    </a:cubicBezTo>
                    <a:cubicBezTo>
                      <a:pt x="309651" y="511101"/>
                      <a:pt x="309761" y="529200"/>
                      <a:pt x="309761" y="547189"/>
                    </a:cubicBezTo>
                    <a:cubicBezTo>
                      <a:pt x="313624" y="548514"/>
                      <a:pt x="317266" y="549286"/>
                      <a:pt x="320466" y="551052"/>
                    </a:cubicBezTo>
                    <a:cubicBezTo>
                      <a:pt x="327198" y="554804"/>
                      <a:pt x="330288" y="562750"/>
                      <a:pt x="328522" y="570476"/>
                    </a:cubicBezTo>
                    <a:cubicBezTo>
                      <a:pt x="326757" y="578091"/>
                      <a:pt x="320576" y="583940"/>
                      <a:pt x="312520" y="584160"/>
                    </a:cubicBezTo>
                    <a:cubicBezTo>
                      <a:pt x="298946" y="584602"/>
                      <a:pt x="285261" y="584602"/>
                      <a:pt x="271686" y="584160"/>
                    </a:cubicBezTo>
                    <a:cubicBezTo>
                      <a:pt x="262195" y="583829"/>
                      <a:pt x="255242" y="576325"/>
                      <a:pt x="254690" y="566944"/>
                    </a:cubicBezTo>
                    <a:cubicBezTo>
                      <a:pt x="254249" y="558336"/>
                      <a:pt x="260319" y="550610"/>
                      <a:pt x="269148" y="548624"/>
                    </a:cubicBezTo>
                    <a:cubicBezTo>
                      <a:pt x="270583" y="548293"/>
                      <a:pt x="272017" y="548182"/>
                      <a:pt x="274004" y="547741"/>
                    </a:cubicBezTo>
                    <a:cubicBezTo>
                      <a:pt x="274004" y="539464"/>
                      <a:pt x="274004" y="531187"/>
                      <a:pt x="274004" y="523020"/>
                    </a:cubicBezTo>
                    <a:cubicBezTo>
                      <a:pt x="274004" y="513418"/>
                      <a:pt x="274004" y="503927"/>
                      <a:pt x="274004" y="494326"/>
                    </a:cubicBezTo>
                    <a:cubicBezTo>
                      <a:pt x="274004" y="491567"/>
                      <a:pt x="273452" y="489911"/>
                      <a:pt x="270251" y="489580"/>
                    </a:cubicBezTo>
                    <a:cubicBezTo>
                      <a:pt x="249393" y="487594"/>
                      <a:pt x="229528" y="481965"/>
                      <a:pt x="210435" y="473467"/>
                    </a:cubicBezTo>
                    <a:cubicBezTo>
                      <a:pt x="209994" y="473247"/>
                      <a:pt x="209332" y="473247"/>
                      <a:pt x="208338" y="473026"/>
                    </a:cubicBezTo>
                    <a:cubicBezTo>
                      <a:pt x="198847" y="489470"/>
                      <a:pt x="189356" y="505914"/>
                      <a:pt x="179755" y="522578"/>
                    </a:cubicBezTo>
                    <a:cubicBezTo>
                      <a:pt x="185273" y="526883"/>
                      <a:pt x="189356" y="531518"/>
                      <a:pt x="189467" y="538691"/>
                    </a:cubicBezTo>
                    <a:cubicBezTo>
                      <a:pt x="189577" y="551935"/>
                      <a:pt x="176444" y="561315"/>
                      <a:pt x="164635" y="555466"/>
                    </a:cubicBezTo>
                    <a:cubicBezTo>
                      <a:pt x="151944" y="549176"/>
                      <a:pt x="139804" y="541892"/>
                      <a:pt x="127885" y="534387"/>
                    </a:cubicBezTo>
                    <a:cubicBezTo>
                      <a:pt x="120159" y="529531"/>
                      <a:pt x="118283" y="519268"/>
                      <a:pt x="122477" y="511322"/>
                    </a:cubicBezTo>
                    <a:cubicBezTo>
                      <a:pt x="126560" y="503707"/>
                      <a:pt x="135610" y="500175"/>
                      <a:pt x="144218" y="502934"/>
                    </a:cubicBezTo>
                    <a:cubicBezTo>
                      <a:pt x="145432" y="503376"/>
                      <a:pt x="146646" y="503817"/>
                      <a:pt x="148522" y="504590"/>
                    </a:cubicBezTo>
                    <a:cubicBezTo>
                      <a:pt x="158013" y="488146"/>
                      <a:pt x="167615" y="471702"/>
                      <a:pt x="177327" y="454706"/>
                    </a:cubicBezTo>
                    <a:cubicBezTo>
                      <a:pt x="158786" y="441242"/>
                      <a:pt x="142894" y="425460"/>
                      <a:pt x="129540" y="406809"/>
                    </a:cubicBezTo>
                    <a:cubicBezTo>
                      <a:pt x="112765" y="416521"/>
                      <a:pt x="96432" y="425902"/>
                      <a:pt x="79767" y="435503"/>
                    </a:cubicBezTo>
                    <a:cubicBezTo>
                      <a:pt x="80319" y="437269"/>
                      <a:pt x="80760" y="438814"/>
                      <a:pt x="81312" y="440249"/>
                    </a:cubicBezTo>
                    <a:cubicBezTo>
                      <a:pt x="84071" y="448746"/>
                      <a:pt x="80319" y="457796"/>
                      <a:pt x="72483" y="461769"/>
                    </a:cubicBezTo>
                    <a:cubicBezTo>
                      <a:pt x="64316" y="465853"/>
                      <a:pt x="54384" y="463756"/>
                      <a:pt x="49528" y="456030"/>
                    </a:cubicBezTo>
                    <a:cubicBezTo>
                      <a:pt x="42354" y="444442"/>
                      <a:pt x="35622" y="432634"/>
                      <a:pt x="29111" y="420715"/>
                    </a:cubicBezTo>
                    <a:cubicBezTo>
                      <a:pt x="24586" y="412217"/>
                      <a:pt x="27566" y="402394"/>
                      <a:pt x="35291" y="397428"/>
                    </a:cubicBezTo>
                    <a:cubicBezTo>
                      <a:pt x="43127" y="392462"/>
                      <a:pt x="52839" y="394117"/>
                      <a:pt x="59129" y="401401"/>
                    </a:cubicBezTo>
                    <a:cubicBezTo>
                      <a:pt x="59791" y="402284"/>
                      <a:pt x="60454" y="403057"/>
                      <a:pt x="61557" y="404381"/>
                    </a:cubicBezTo>
                    <a:cubicBezTo>
                      <a:pt x="78001" y="394890"/>
                      <a:pt x="94445" y="385399"/>
                      <a:pt x="111220" y="375797"/>
                    </a:cubicBezTo>
                    <a:cubicBezTo>
                      <a:pt x="110889" y="374694"/>
                      <a:pt x="110779" y="373811"/>
                      <a:pt x="110448" y="373038"/>
                    </a:cubicBezTo>
                    <a:cubicBezTo>
                      <a:pt x="102170" y="354277"/>
                      <a:pt x="96873" y="334632"/>
                      <a:pt x="94445" y="314215"/>
                    </a:cubicBezTo>
                    <a:cubicBezTo>
                      <a:pt x="94224" y="312781"/>
                      <a:pt x="92348" y="310463"/>
                      <a:pt x="91245" y="310463"/>
                    </a:cubicBezTo>
                    <a:cubicBezTo>
                      <a:pt x="73035" y="310242"/>
                      <a:pt x="54936" y="310242"/>
                      <a:pt x="36615" y="310242"/>
                    </a:cubicBezTo>
                    <a:cubicBezTo>
                      <a:pt x="36064" y="312670"/>
                      <a:pt x="35733" y="314657"/>
                      <a:pt x="35181" y="316533"/>
                    </a:cubicBezTo>
                    <a:cubicBezTo>
                      <a:pt x="32642" y="324700"/>
                      <a:pt x="25027" y="329997"/>
                      <a:pt x="16750" y="329445"/>
                    </a:cubicBezTo>
                    <a:cubicBezTo>
                      <a:pt x="8584" y="328893"/>
                      <a:pt x="1079" y="323044"/>
                      <a:pt x="638" y="314657"/>
                    </a:cubicBezTo>
                    <a:cubicBezTo>
                      <a:pt x="-135" y="299868"/>
                      <a:pt x="-245" y="284859"/>
                      <a:pt x="527" y="270071"/>
                    </a:cubicBezTo>
                    <a:cubicBezTo>
                      <a:pt x="969" y="261131"/>
                      <a:pt x="8804" y="255393"/>
                      <a:pt x="17523" y="255061"/>
                    </a:cubicBezTo>
                    <a:cubicBezTo>
                      <a:pt x="26021" y="254730"/>
                      <a:pt x="33525" y="260690"/>
                      <a:pt x="35512" y="269188"/>
                    </a:cubicBezTo>
                    <a:cubicBezTo>
                      <a:pt x="35843" y="270622"/>
                      <a:pt x="35953" y="272057"/>
                      <a:pt x="36174" y="273933"/>
                    </a:cubicBezTo>
                    <a:cubicBezTo>
                      <a:pt x="37609" y="274044"/>
                      <a:pt x="38933" y="274375"/>
                      <a:pt x="40368" y="274375"/>
                    </a:cubicBezTo>
                    <a:cubicBezTo>
                      <a:pt x="56591" y="274375"/>
                      <a:pt x="72704" y="274264"/>
                      <a:pt x="88927" y="274485"/>
                    </a:cubicBezTo>
                    <a:cubicBezTo>
                      <a:pt x="92900" y="274485"/>
                      <a:pt x="94224" y="273382"/>
                      <a:pt x="94666" y="269298"/>
                    </a:cubicBezTo>
                    <a:cubicBezTo>
                      <a:pt x="96763" y="250426"/>
                      <a:pt x="101508" y="232106"/>
                      <a:pt x="109013" y="214559"/>
                    </a:cubicBezTo>
                    <a:cubicBezTo>
                      <a:pt x="109785" y="212683"/>
                      <a:pt x="110558" y="210917"/>
                      <a:pt x="111441" y="208820"/>
                    </a:cubicBezTo>
                    <a:cubicBezTo>
                      <a:pt x="94666" y="199108"/>
                      <a:pt x="78332" y="189727"/>
                      <a:pt x="61668" y="180015"/>
                    </a:cubicBezTo>
                    <a:cubicBezTo>
                      <a:pt x="60564" y="181340"/>
                      <a:pt x="59571" y="182554"/>
                      <a:pt x="58467" y="183768"/>
                    </a:cubicBezTo>
                    <a:cubicBezTo>
                      <a:pt x="52508" y="190389"/>
                      <a:pt x="42244" y="191603"/>
                      <a:pt x="34850" y="186637"/>
                    </a:cubicBezTo>
                    <a:cubicBezTo>
                      <a:pt x="27787" y="181892"/>
                      <a:pt x="24696" y="171849"/>
                      <a:pt x="28890" y="164123"/>
                    </a:cubicBezTo>
                    <a:cubicBezTo>
                      <a:pt x="35401" y="151984"/>
                      <a:pt x="42354" y="140064"/>
                      <a:pt x="49528" y="128366"/>
                    </a:cubicBezTo>
                    <a:cubicBezTo>
                      <a:pt x="54053" y="120972"/>
                      <a:pt x="64316" y="118544"/>
                      <a:pt x="72042" y="122296"/>
                    </a:cubicBezTo>
                    <a:cubicBezTo>
                      <a:pt x="79988" y="126159"/>
                      <a:pt x="83961" y="135098"/>
                      <a:pt x="81422" y="143596"/>
                    </a:cubicBezTo>
                    <a:cubicBezTo>
                      <a:pt x="80981" y="145141"/>
                      <a:pt x="80429" y="146686"/>
                      <a:pt x="79657" y="148783"/>
                    </a:cubicBezTo>
                    <a:cubicBezTo>
                      <a:pt x="96211" y="158274"/>
                      <a:pt x="112655" y="167876"/>
                      <a:pt x="129540" y="177587"/>
                    </a:cubicBezTo>
                    <a:cubicBezTo>
                      <a:pt x="142784" y="158936"/>
                      <a:pt x="158565" y="143155"/>
                      <a:pt x="177437" y="129801"/>
                    </a:cubicBezTo>
                    <a:cubicBezTo>
                      <a:pt x="167836" y="113136"/>
                      <a:pt x="158345" y="96582"/>
                      <a:pt x="148853" y="80248"/>
                    </a:cubicBezTo>
                    <a:cubicBezTo>
                      <a:pt x="145322" y="81021"/>
                      <a:pt x="142232" y="82124"/>
                      <a:pt x="139031" y="82235"/>
                    </a:cubicBezTo>
                    <a:cubicBezTo>
                      <a:pt x="130864" y="82676"/>
                      <a:pt x="123691" y="77600"/>
                      <a:pt x="121263" y="70095"/>
                    </a:cubicBezTo>
                    <a:cubicBezTo>
                      <a:pt x="118725" y="62149"/>
                      <a:pt x="121594" y="53651"/>
                      <a:pt x="128657" y="49347"/>
                    </a:cubicBezTo>
                    <a:cubicBezTo>
                      <a:pt x="139693" y="42725"/>
                      <a:pt x="150840" y="36324"/>
                      <a:pt x="161987" y="30034"/>
                    </a:cubicBezTo>
                    <a:cubicBezTo>
                      <a:pt x="170926" y="24957"/>
                      <a:pt x="181079" y="27275"/>
                      <a:pt x="186376" y="35110"/>
                    </a:cubicBezTo>
                    <a:cubicBezTo>
                      <a:pt x="191895" y="43498"/>
                      <a:pt x="190018" y="53430"/>
                      <a:pt x="181741" y="60052"/>
                    </a:cubicBezTo>
                    <a:cubicBezTo>
                      <a:pt x="181189" y="60494"/>
                      <a:pt x="180638" y="60935"/>
                      <a:pt x="179755" y="61708"/>
                    </a:cubicBezTo>
                    <a:cubicBezTo>
                      <a:pt x="189356" y="78262"/>
                      <a:pt x="198847" y="94706"/>
                      <a:pt x="208559" y="111701"/>
                    </a:cubicBezTo>
                    <a:cubicBezTo>
                      <a:pt x="229418" y="102210"/>
                      <a:pt x="250938" y="96582"/>
                      <a:pt x="274004" y="94154"/>
                    </a:cubicBezTo>
                    <a:cubicBezTo>
                      <a:pt x="274004" y="89188"/>
                      <a:pt x="274004" y="84442"/>
                      <a:pt x="274004" y="79697"/>
                    </a:cubicBezTo>
                    <a:cubicBezTo>
                      <a:pt x="274004" y="67005"/>
                      <a:pt x="273893" y="54313"/>
                      <a:pt x="274004" y="41622"/>
                    </a:cubicBezTo>
                    <a:cubicBezTo>
                      <a:pt x="274004" y="38090"/>
                      <a:pt x="273673" y="36104"/>
                      <a:pt x="269258" y="35552"/>
                    </a:cubicBezTo>
                    <a:cubicBezTo>
                      <a:pt x="260540" y="34448"/>
                      <a:pt x="254359" y="26171"/>
                      <a:pt x="254690" y="17452"/>
                    </a:cubicBezTo>
                    <a:cubicBezTo>
                      <a:pt x="255022" y="8403"/>
                      <a:pt x="261864" y="677"/>
                      <a:pt x="271024" y="346"/>
                    </a:cubicBezTo>
                    <a:cubicBezTo>
                      <a:pt x="284599" y="-95"/>
                      <a:pt x="298283" y="-95"/>
                      <a:pt x="311858" y="236"/>
                    </a:cubicBezTo>
                    <a:cubicBezTo>
                      <a:pt x="321790" y="457"/>
                      <a:pt x="328743" y="7851"/>
                      <a:pt x="329185" y="17452"/>
                    </a:cubicBezTo>
                    <a:cubicBezTo>
                      <a:pt x="329516" y="26723"/>
                      <a:pt x="322673" y="34448"/>
                      <a:pt x="312961" y="35773"/>
                    </a:cubicBezTo>
                    <a:cubicBezTo>
                      <a:pt x="312410" y="35993"/>
                      <a:pt x="311747" y="36104"/>
                      <a:pt x="310313" y="36324"/>
                    </a:cubicBezTo>
                    <a:close/>
                    <a:moveTo>
                      <a:pt x="291993" y="454816"/>
                    </a:moveTo>
                    <a:cubicBezTo>
                      <a:pt x="381607" y="455037"/>
                      <a:pt x="454556" y="382419"/>
                      <a:pt x="454776" y="292695"/>
                    </a:cubicBezTo>
                    <a:cubicBezTo>
                      <a:pt x="454997" y="202529"/>
                      <a:pt x="382600" y="129690"/>
                      <a:pt x="292655" y="129470"/>
                    </a:cubicBezTo>
                    <a:cubicBezTo>
                      <a:pt x="202710" y="129359"/>
                      <a:pt x="129871" y="201536"/>
                      <a:pt x="129650" y="291150"/>
                    </a:cubicBezTo>
                    <a:cubicBezTo>
                      <a:pt x="129319" y="381646"/>
                      <a:pt x="201827" y="454596"/>
                      <a:pt x="291993" y="454816"/>
                    </a:cubicBezTo>
                    <a:close/>
                  </a:path>
                </a:pathLst>
              </a:custGeom>
              <a:solidFill>
                <a:srgbClr val="3F3F3F"/>
              </a:solidFill>
              <a:ln w="644" cap="flat">
                <a:noFill/>
                <a:prstDash val="solid"/>
                <a:miter/>
              </a:ln>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defTabSz="1219170"/>
                <a:endParaRPr lang="en-US" sz="2400">
                  <a:solidFill>
                    <a:srgbClr val="102B62"/>
                  </a:solidFill>
                  <a:latin typeface="Arial"/>
                </a:endParaRPr>
              </a:p>
            </p:txBody>
          </p:sp>
          <p:sp>
            <p:nvSpPr>
              <p:cNvPr id="93" name="Freeform: Shape 92">
                <a:extLst>
                  <a:ext uri="{FF2B5EF4-FFF2-40B4-BE49-F238E27FC236}">
                    <a16:creationId xmlns:a16="http://schemas.microsoft.com/office/drawing/2014/main" id="{67CA49AD-1947-4D85-9D58-FC2EC2095807}"/>
                  </a:ext>
                </a:extLst>
              </p:cNvPr>
              <p:cNvSpPr/>
              <p:nvPr/>
            </p:nvSpPr>
            <p:spPr>
              <a:xfrm>
                <a:off x="3447836" y="3465336"/>
                <a:ext cx="106720" cy="106609"/>
              </a:xfrm>
              <a:custGeom>
                <a:avLst/>
                <a:gdLst>
                  <a:gd name="connsiteX0" fmla="*/ 106720 w 106720"/>
                  <a:gd name="connsiteY0" fmla="*/ 53194 h 106609"/>
                  <a:gd name="connsiteX1" fmla="*/ 53416 w 106720"/>
                  <a:gd name="connsiteY1" fmla="*/ 106610 h 106609"/>
                  <a:gd name="connsiteX2" fmla="*/ 0 w 106720"/>
                  <a:gd name="connsiteY2" fmla="*/ 52753 h 106609"/>
                  <a:gd name="connsiteX3" fmla="*/ 53857 w 106720"/>
                  <a:gd name="connsiteY3" fmla="*/ 0 h 106609"/>
                  <a:gd name="connsiteX4" fmla="*/ 106720 w 106720"/>
                  <a:gd name="connsiteY4" fmla="*/ 53194 h 106609"/>
                  <a:gd name="connsiteX5" fmla="*/ 70632 w 106720"/>
                  <a:gd name="connsiteY5" fmla="*/ 53525 h 106609"/>
                  <a:gd name="connsiteX6" fmla="*/ 53857 w 106720"/>
                  <a:gd name="connsiteY6" fmla="*/ 36088 h 106609"/>
                  <a:gd name="connsiteX7" fmla="*/ 36089 w 106720"/>
                  <a:gd name="connsiteY7" fmla="*/ 53084 h 106609"/>
                  <a:gd name="connsiteX8" fmla="*/ 53416 w 106720"/>
                  <a:gd name="connsiteY8" fmla="*/ 70632 h 106609"/>
                  <a:gd name="connsiteX9" fmla="*/ 70632 w 106720"/>
                  <a:gd name="connsiteY9" fmla="*/ 53525 h 106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720" h="106609">
                    <a:moveTo>
                      <a:pt x="106720" y="53194"/>
                    </a:moveTo>
                    <a:cubicBezTo>
                      <a:pt x="106720" y="82551"/>
                      <a:pt x="82551" y="106720"/>
                      <a:pt x="53416" y="106610"/>
                    </a:cubicBezTo>
                    <a:cubicBezTo>
                      <a:pt x="23618" y="106389"/>
                      <a:pt x="-110" y="82551"/>
                      <a:pt x="0" y="52753"/>
                    </a:cubicBezTo>
                    <a:cubicBezTo>
                      <a:pt x="111" y="23507"/>
                      <a:pt x="24170" y="0"/>
                      <a:pt x="53857" y="0"/>
                    </a:cubicBezTo>
                    <a:cubicBezTo>
                      <a:pt x="82882" y="110"/>
                      <a:pt x="106720" y="24059"/>
                      <a:pt x="106720" y="53194"/>
                    </a:cubicBezTo>
                    <a:close/>
                    <a:moveTo>
                      <a:pt x="70632" y="53525"/>
                    </a:moveTo>
                    <a:cubicBezTo>
                      <a:pt x="70742" y="43924"/>
                      <a:pt x="63348" y="36309"/>
                      <a:pt x="53857" y="36088"/>
                    </a:cubicBezTo>
                    <a:cubicBezTo>
                      <a:pt x="43924" y="35868"/>
                      <a:pt x="36199" y="43262"/>
                      <a:pt x="36089" y="53084"/>
                    </a:cubicBezTo>
                    <a:cubicBezTo>
                      <a:pt x="35978" y="62686"/>
                      <a:pt x="43814" y="70632"/>
                      <a:pt x="53416" y="70632"/>
                    </a:cubicBezTo>
                    <a:cubicBezTo>
                      <a:pt x="62686" y="70632"/>
                      <a:pt x="70522" y="62796"/>
                      <a:pt x="70632" y="53525"/>
                    </a:cubicBezTo>
                    <a:close/>
                  </a:path>
                </a:pathLst>
              </a:custGeom>
              <a:solidFill>
                <a:srgbClr val="3F3F3F"/>
              </a:solidFill>
              <a:ln w="644" cap="flat">
                <a:noFill/>
                <a:prstDash val="solid"/>
                <a:miter/>
              </a:ln>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defTabSz="1219170"/>
                <a:endParaRPr lang="en-US" sz="2400">
                  <a:solidFill>
                    <a:srgbClr val="102B62"/>
                  </a:solidFill>
                  <a:latin typeface="Arial"/>
                </a:endParaRPr>
              </a:p>
            </p:txBody>
          </p:sp>
          <p:sp>
            <p:nvSpPr>
              <p:cNvPr id="94" name="Freeform: Shape 93">
                <a:extLst>
                  <a:ext uri="{FF2B5EF4-FFF2-40B4-BE49-F238E27FC236}">
                    <a16:creationId xmlns:a16="http://schemas.microsoft.com/office/drawing/2014/main" id="{7502ECCF-77A1-495B-B746-235A953AD5A2}"/>
                  </a:ext>
                </a:extLst>
              </p:cNvPr>
              <p:cNvSpPr/>
              <p:nvPr/>
            </p:nvSpPr>
            <p:spPr>
              <a:xfrm>
                <a:off x="3466039" y="3309712"/>
                <a:ext cx="106401" cy="106412"/>
              </a:xfrm>
              <a:custGeom>
                <a:avLst/>
                <a:gdLst>
                  <a:gd name="connsiteX0" fmla="*/ 53863 w 106401"/>
                  <a:gd name="connsiteY0" fmla="*/ 106403 h 106412"/>
                  <a:gd name="connsiteX1" fmla="*/ 6 w 106401"/>
                  <a:gd name="connsiteY1" fmla="*/ 53871 h 106412"/>
                  <a:gd name="connsiteX2" fmla="*/ 50331 w 106401"/>
                  <a:gd name="connsiteY2" fmla="*/ 14 h 106412"/>
                  <a:gd name="connsiteX3" fmla="*/ 106395 w 106401"/>
                  <a:gd name="connsiteY3" fmla="*/ 51332 h 106412"/>
                  <a:gd name="connsiteX4" fmla="*/ 53863 w 106401"/>
                  <a:gd name="connsiteY4" fmla="*/ 106403 h 106412"/>
                  <a:gd name="connsiteX5" fmla="*/ 70417 w 106401"/>
                  <a:gd name="connsiteY5" fmla="*/ 53209 h 106412"/>
                  <a:gd name="connsiteX6" fmla="*/ 53421 w 106401"/>
                  <a:gd name="connsiteY6" fmla="*/ 35992 h 106412"/>
                  <a:gd name="connsiteX7" fmla="*/ 35764 w 106401"/>
                  <a:gd name="connsiteY7" fmla="*/ 53209 h 106412"/>
                  <a:gd name="connsiteX8" fmla="*/ 53421 w 106401"/>
                  <a:gd name="connsiteY8" fmla="*/ 70535 h 106412"/>
                  <a:gd name="connsiteX9" fmla="*/ 70417 w 106401"/>
                  <a:gd name="connsiteY9" fmla="*/ 53209 h 10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401" h="106412">
                    <a:moveTo>
                      <a:pt x="53863" y="106403"/>
                    </a:moveTo>
                    <a:cubicBezTo>
                      <a:pt x="24507" y="106955"/>
                      <a:pt x="448" y="83558"/>
                      <a:pt x="6" y="53871"/>
                    </a:cubicBezTo>
                    <a:cubicBezTo>
                      <a:pt x="-435" y="25287"/>
                      <a:pt x="22520" y="676"/>
                      <a:pt x="50331" y="14"/>
                    </a:cubicBezTo>
                    <a:cubicBezTo>
                      <a:pt x="81233" y="-648"/>
                      <a:pt x="105843" y="21866"/>
                      <a:pt x="106395" y="51332"/>
                    </a:cubicBezTo>
                    <a:cubicBezTo>
                      <a:pt x="106837" y="82013"/>
                      <a:pt x="84102" y="105741"/>
                      <a:pt x="53863" y="106403"/>
                    </a:cubicBezTo>
                    <a:close/>
                    <a:moveTo>
                      <a:pt x="70417" y="53209"/>
                    </a:moveTo>
                    <a:cubicBezTo>
                      <a:pt x="70417" y="43718"/>
                      <a:pt x="62912" y="36103"/>
                      <a:pt x="53421" y="35992"/>
                    </a:cubicBezTo>
                    <a:cubicBezTo>
                      <a:pt x="43820" y="35882"/>
                      <a:pt x="35764" y="43718"/>
                      <a:pt x="35764" y="53209"/>
                    </a:cubicBezTo>
                    <a:cubicBezTo>
                      <a:pt x="35764" y="62589"/>
                      <a:pt x="44041" y="70756"/>
                      <a:pt x="53421" y="70535"/>
                    </a:cubicBezTo>
                    <a:cubicBezTo>
                      <a:pt x="62802" y="70425"/>
                      <a:pt x="70417" y="62589"/>
                      <a:pt x="70417" y="53209"/>
                    </a:cubicBezTo>
                    <a:close/>
                  </a:path>
                </a:pathLst>
              </a:custGeom>
              <a:solidFill>
                <a:srgbClr val="3F3F3F"/>
              </a:solidFill>
              <a:ln w="644" cap="flat">
                <a:noFill/>
                <a:prstDash val="solid"/>
                <a:miter/>
              </a:ln>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defTabSz="1219170"/>
                <a:endParaRPr lang="en-US" sz="2400">
                  <a:solidFill>
                    <a:srgbClr val="102B62"/>
                  </a:solidFill>
                  <a:latin typeface="Arial"/>
                </a:endParaRPr>
              </a:p>
            </p:txBody>
          </p:sp>
          <p:sp>
            <p:nvSpPr>
              <p:cNvPr id="95" name="Freeform: Shape 94">
                <a:extLst>
                  <a:ext uri="{FF2B5EF4-FFF2-40B4-BE49-F238E27FC236}">
                    <a16:creationId xmlns:a16="http://schemas.microsoft.com/office/drawing/2014/main" id="{F59B890B-9C16-4542-81FD-4C32C122545C}"/>
                  </a:ext>
                </a:extLst>
              </p:cNvPr>
              <p:cNvSpPr/>
              <p:nvPr/>
            </p:nvSpPr>
            <p:spPr>
              <a:xfrm>
                <a:off x="3321894" y="3383324"/>
                <a:ext cx="106646" cy="106416"/>
              </a:xfrm>
              <a:custGeom>
                <a:avLst/>
                <a:gdLst>
                  <a:gd name="connsiteX0" fmla="*/ 53986 w 106646"/>
                  <a:gd name="connsiteY0" fmla="*/ 14 h 106416"/>
                  <a:gd name="connsiteX1" fmla="*/ 106628 w 106646"/>
                  <a:gd name="connsiteY1" fmla="*/ 54422 h 106416"/>
                  <a:gd name="connsiteX2" fmla="*/ 51006 w 106646"/>
                  <a:gd name="connsiteY2" fmla="*/ 106403 h 106416"/>
                  <a:gd name="connsiteX3" fmla="*/ 19 w 106646"/>
                  <a:gd name="connsiteY3" fmla="*/ 51553 h 106416"/>
                  <a:gd name="connsiteX4" fmla="*/ 53986 w 106646"/>
                  <a:gd name="connsiteY4" fmla="*/ 14 h 106416"/>
                  <a:gd name="connsiteX5" fmla="*/ 53434 w 106646"/>
                  <a:gd name="connsiteY5" fmla="*/ 70425 h 106416"/>
                  <a:gd name="connsiteX6" fmla="*/ 70650 w 106646"/>
                  <a:gd name="connsiteY6" fmla="*/ 52877 h 106416"/>
                  <a:gd name="connsiteX7" fmla="*/ 53324 w 106646"/>
                  <a:gd name="connsiteY7" fmla="*/ 35771 h 106416"/>
                  <a:gd name="connsiteX8" fmla="*/ 36107 w 106646"/>
                  <a:gd name="connsiteY8" fmla="*/ 53539 h 106416"/>
                  <a:gd name="connsiteX9" fmla="*/ 53434 w 106646"/>
                  <a:gd name="connsiteY9" fmla="*/ 70425 h 106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646" h="106416">
                    <a:moveTo>
                      <a:pt x="53986" y="14"/>
                    </a:moveTo>
                    <a:cubicBezTo>
                      <a:pt x="83894" y="676"/>
                      <a:pt x="107401" y="24955"/>
                      <a:pt x="106628" y="54422"/>
                    </a:cubicBezTo>
                    <a:cubicBezTo>
                      <a:pt x="105856" y="84330"/>
                      <a:pt x="81576" y="107065"/>
                      <a:pt x="51006" y="106403"/>
                    </a:cubicBezTo>
                    <a:cubicBezTo>
                      <a:pt x="22422" y="105740"/>
                      <a:pt x="-754" y="80909"/>
                      <a:pt x="19" y="51553"/>
                    </a:cubicBezTo>
                    <a:cubicBezTo>
                      <a:pt x="791" y="22748"/>
                      <a:pt x="25292" y="-648"/>
                      <a:pt x="53986" y="14"/>
                    </a:cubicBezTo>
                    <a:close/>
                    <a:moveTo>
                      <a:pt x="53434" y="70425"/>
                    </a:moveTo>
                    <a:cubicBezTo>
                      <a:pt x="63256" y="70314"/>
                      <a:pt x="70761" y="62699"/>
                      <a:pt x="70650" y="52877"/>
                    </a:cubicBezTo>
                    <a:cubicBezTo>
                      <a:pt x="70540" y="43607"/>
                      <a:pt x="62594" y="35771"/>
                      <a:pt x="53324" y="35771"/>
                    </a:cubicBezTo>
                    <a:cubicBezTo>
                      <a:pt x="43832" y="35771"/>
                      <a:pt x="36107" y="43827"/>
                      <a:pt x="36107" y="53539"/>
                    </a:cubicBezTo>
                    <a:cubicBezTo>
                      <a:pt x="36328" y="62920"/>
                      <a:pt x="43943" y="70425"/>
                      <a:pt x="53434" y="70425"/>
                    </a:cubicBezTo>
                    <a:close/>
                  </a:path>
                </a:pathLst>
              </a:custGeom>
              <a:solidFill>
                <a:srgbClr val="3F3F3F"/>
              </a:solidFill>
              <a:ln w="644" cap="flat">
                <a:noFill/>
                <a:prstDash val="solid"/>
                <a:miter/>
              </a:ln>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defTabSz="1219170"/>
                <a:endParaRPr lang="en-US" sz="2400">
                  <a:solidFill>
                    <a:srgbClr val="102B62"/>
                  </a:solidFill>
                  <a:latin typeface="Arial"/>
                </a:endParaRPr>
              </a:p>
            </p:txBody>
          </p:sp>
        </p:grpSp>
        <p:sp>
          <p:nvSpPr>
            <p:cNvPr id="96" name="Rectangle 95">
              <a:extLst>
                <a:ext uri="{FF2B5EF4-FFF2-40B4-BE49-F238E27FC236}">
                  <a16:creationId xmlns:a16="http://schemas.microsoft.com/office/drawing/2014/main" id="{24853EBC-FCDA-4EC1-97DD-D208EB9CB14C}"/>
                </a:ext>
              </a:extLst>
            </p:cNvPr>
            <p:cNvSpPr/>
            <p:nvPr/>
          </p:nvSpPr>
          <p:spPr>
            <a:xfrm>
              <a:off x="4448623" y="2714927"/>
              <a:ext cx="379210" cy="91766"/>
            </a:xfrm>
            <a:prstGeom prst="rect">
              <a:avLst/>
            </a:prstGeom>
          </p:spPr>
          <p:txBody>
            <a:bodyPr wrap="square">
              <a:noAutofit/>
            </a:bodyPr>
            <a:lstStyle/>
            <a:p>
              <a:pPr algn="ctr" defTabSz="1219170"/>
              <a:r>
                <a:rPr lang="en-US" sz="400" b="1" dirty="0">
                  <a:solidFill>
                    <a:srgbClr val="3F3F3F"/>
                  </a:solidFill>
                  <a:latin typeface="Arial"/>
                </a:rPr>
                <a:t>COVID-19</a:t>
              </a:r>
            </a:p>
          </p:txBody>
        </p:sp>
      </p:grpSp>
      <p:grpSp>
        <p:nvGrpSpPr>
          <p:cNvPr id="99" name="Graphic 97">
            <a:extLst>
              <a:ext uri="{FF2B5EF4-FFF2-40B4-BE49-F238E27FC236}">
                <a16:creationId xmlns:a16="http://schemas.microsoft.com/office/drawing/2014/main" id="{C769E7D9-62D2-4E2B-8C52-5AA8D545FB4E}"/>
              </a:ext>
            </a:extLst>
          </p:cNvPr>
          <p:cNvGrpSpPr/>
          <p:nvPr/>
        </p:nvGrpSpPr>
        <p:grpSpPr>
          <a:xfrm>
            <a:off x="10053961" y="3700661"/>
            <a:ext cx="994743" cy="630011"/>
            <a:chOff x="512542" y="-37"/>
            <a:chExt cx="8118476" cy="5141762"/>
          </a:xfrm>
          <a:solidFill>
            <a:srgbClr val="000000"/>
          </a:solidFill>
        </p:grpSpPr>
        <p:sp>
          <p:nvSpPr>
            <p:cNvPr id="100" name="Freeform: Shape 99">
              <a:extLst>
                <a:ext uri="{FF2B5EF4-FFF2-40B4-BE49-F238E27FC236}">
                  <a16:creationId xmlns:a16="http://schemas.microsoft.com/office/drawing/2014/main" id="{B9F80F3B-44DF-45EA-9A8A-D0BECB26748E}"/>
                </a:ext>
              </a:extLst>
            </p:cNvPr>
            <p:cNvSpPr/>
            <p:nvPr/>
          </p:nvSpPr>
          <p:spPr>
            <a:xfrm>
              <a:off x="1447959" y="780268"/>
              <a:ext cx="5691097" cy="4273178"/>
            </a:xfrm>
            <a:custGeom>
              <a:avLst/>
              <a:gdLst>
                <a:gd name="connsiteX0" fmla="*/ 4004208 w 5691097"/>
                <a:gd name="connsiteY0" fmla="*/ 4001954 h 4273178"/>
                <a:gd name="connsiteX1" fmla="*/ 3578069 w 5691097"/>
                <a:gd name="connsiteY1" fmla="*/ 4272426 h 4273178"/>
                <a:gd name="connsiteX2" fmla="*/ 3247925 w 5691097"/>
                <a:gd name="connsiteY2" fmla="*/ 4235455 h 4273178"/>
                <a:gd name="connsiteX3" fmla="*/ 2812706 w 5691097"/>
                <a:gd name="connsiteY3" fmla="*/ 4115461 h 4273178"/>
                <a:gd name="connsiteX4" fmla="*/ 2784167 w 5691097"/>
                <a:gd name="connsiteY4" fmla="*/ 4101841 h 4273178"/>
                <a:gd name="connsiteX5" fmla="*/ 2853568 w 5691097"/>
                <a:gd name="connsiteY5" fmla="*/ 4005846 h 4273178"/>
                <a:gd name="connsiteX6" fmla="*/ 2892485 w 5691097"/>
                <a:gd name="connsiteY6" fmla="*/ 3614084 h 4273178"/>
                <a:gd name="connsiteX7" fmla="*/ 2586989 w 5691097"/>
                <a:gd name="connsiteY7" fmla="*/ 3324803 h 4273178"/>
                <a:gd name="connsiteX8" fmla="*/ 2453374 w 5691097"/>
                <a:gd name="connsiteY8" fmla="*/ 3305993 h 4273178"/>
                <a:gd name="connsiteX9" fmla="*/ 2424835 w 5691097"/>
                <a:gd name="connsiteY9" fmla="*/ 3273562 h 4273178"/>
                <a:gd name="connsiteX10" fmla="*/ 2282141 w 5691097"/>
                <a:gd name="connsiteY10" fmla="*/ 2872719 h 4273178"/>
                <a:gd name="connsiteX11" fmla="*/ 1965617 w 5691097"/>
                <a:gd name="connsiteY11" fmla="*/ 2736511 h 4273178"/>
                <a:gd name="connsiteX12" fmla="*/ 1948753 w 5691097"/>
                <a:gd name="connsiteY12" fmla="*/ 2733916 h 4273178"/>
                <a:gd name="connsiteX13" fmla="*/ 1948753 w 5691097"/>
                <a:gd name="connsiteY13" fmla="*/ 2687865 h 4273178"/>
                <a:gd name="connsiteX14" fmla="*/ 1634176 w 5691097"/>
                <a:gd name="connsiteY14" fmla="*/ 2193622 h 4273178"/>
                <a:gd name="connsiteX15" fmla="*/ 1173661 w 5691097"/>
                <a:gd name="connsiteY15" fmla="*/ 2335019 h 4273178"/>
                <a:gd name="connsiteX16" fmla="*/ 1108800 w 5691097"/>
                <a:gd name="connsiteY16" fmla="*/ 2423879 h 4273178"/>
                <a:gd name="connsiteX17" fmla="*/ 1086098 w 5691097"/>
                <a:gd name="connsiteY17" fmla="*/ 2448526 h 4273178"/>
                <a:gd name="connsiteX18" fmla="*/ 760495 w 5691097"/>
                <a:gd name="connsiteY18" fmla="*/ 2118382 h 4273178"/>
                <a:gd name="connsiteX19" fmla="*/ 331762 w 5691097"/>
                <a:gd name="connsiteY19" fmla="*/ 2251348 h 4273178"/>
                <a:gd name="connsiteX20" fmla="*/ 240956 w 5691097"/>
                <a:gd name="connsiteY20" fmla="*/ 2140435 h 4273178"/>
                <a:gd name="connsiteX21" fmla="*/ 13941 w 5691097"/>
                <a:gd name="connsiteY21" fmla="*/ 1866721 h 4273178"/>
                <a:gd name="connsiteX22" fmla="*/ 7455 w 5691097"/>
                <a:gd name="connsiteY22" fmla="*/ 1812237 h 4273178"/>
                <a:gd name="connsiteX23" fmla="*/ 346031 w 5691097"/>
                <a:gd name="connsiteY23" fmla="*/ 1213567 h 4273178"/>
                <a:gd name="connsiteX24" fmla="*/ 685904 w 5691097"/>
                <a:gd name="connsiteY24" fmla="*/ 608412 h 4273178"/>
                <a:gd name="connsiteX25" fmla="*/ 1006319 w 5691097"/>
                <a:gd name="connsiteY25" fmla="*/ 40227 h 4273178"/>
                <a:gd name="connsiteX26" fmla="*/ 1088044 w 5691097"/>
                <a:gd name="connsiteY26" fmla="*/ 22066 h 4273178"/>
                <a:gd name="connsiteX27" fmla="*/ 1335166 w 5691097"/>
                <a:gd name="connsiteY27" fmla="*/ 152437 h 4273178"/>
                <a:gd name="connsiteX28" fmla="*/ 1563477 w 5691097"/>
                <a:gd name="connsiteY28" fmla="*/ 208217 h 4273178"/>
                <a:gd name="connsiteX29" fmla="*/ 1868974 w 5691097"/>
                <a:gd name="connsiteY29" fmla="*/ 259458 h 4273178"/>
                <a:gd name="connsiteX30" fmla="*/ 1881946 w 5691097"/>
                <a:gd name="connsiteY30" fmla="*/ 265295 h 4273178"/>
                <a:gd name="connsiteX31" fmla="*/ 1784654 w 5691097"/>
                <a:gd name="connsiteY31" fmla="*/ 402801 h 4273178"/>
                <a:gd name="connsiteX32" fmla="*/ 1432458 w 5691097"/>
                <a:gd name="connsiteY32" fmla="*/ 950879 h 4273178"/>
                <a:gd name="connsiteX33" fmla="*/ 1389001 w 5691097"/>
                <a:gd name="connsiteY33" fmla="*/ 1256376 h 4273178"/>
                <a:gd name="connsiteX34" fmla="*/ 1617312 w 5691097"/>
                <a:gd name="connsiteY34" fmla="*/ 1435393 h 4273178"/>
                <a:gd name="connsiteX35" fmla="*/ 2166039 w 5691097"/>
                <a:gd name="connsiteY35" fmla="*/ 1305022 h 4273178"/>
                <a:gd name="connsiteX36" fmla="*/ 2655093 w 5691097"/>
                <a:gd name="connsiteY36" fmla="*/ 853587 h 4273178"/>
                <a:gd name="connsiteX37" fmla="*/ 2769898 w 5691097"/>
                <a:gd name="connsiteY37" fmla="*/ 773808 h 4273178"/>
                <a:gd name="connsiteX38" fmla="*/ 2967076 w 5691097"/>
                <a:gd name="connsiteY38" fmla="*/ 712838 h 4273178"/>
                <a:gd name="connsiteX39" fmla="*/ 3034532 w 5691097"/>
                <a:gd name="connsiteY39" fmla="*/ 719324 h 4273178"/>
                <a:gd name="connsiteX40" fmla="*/ 3560556 w 5691097"/>
                <a:gd name="connsiteY40" fmla="*/ 1000174 h 4273178"/>
                <a:gd name="connsiteX41" fmla="*/ 4109283 w 5691097"/>
                <a:gd name="connsiteY41" fmla="*/ 1326426 h 4273178"/>
                <a:gd name="connsiteX42" fmla="*/ 5007612 w 5691097"/>
                <a:gd name="connsiteY42" fmla="*/ 1955580 h 4273178"/>
                <a:gd name="connsiteX43" fmla="*/ 5571905 w 5691097"/>
                <a:gd name="connsiteY43" fmla="*/ 2402475 h 4273178"/>
                <a:gd name="connsiteX44" fmla="*/ 5684764 w 5691097"/>
                <a:gd name="connsiteY44" fmla="*/ 2691756 h 4273178"/>
                <a:gd name="connsiteX45" fmla="*/ 5491477 w 5691097"/>
                <a:gd name="connsiteY45" fmla="*/ 2910987 h 4273178"/>
                <a:gd name="connsiteX46" fmla="*/ 5265760 w 5691097"/>
                <a:gd name="connsiteY46" fmla="*/ 2907744 h 4273178"/>
                <a:gd name="connsiteX47" fmla="*/ 5114633 w 5691097"/>
                <a:gd name="connsiteY47" fmla="*/ 2822128 h 4273178"/>
                <a:gd name="connsiteX48" fmla="*/ 4677468 w 5691097"/>
                <a:gd name="connsiteY48" fmla="*/ 2559439 h 4273178"/>
                <a:gd name="connsiteX49" fmla="*/ 4575636 w 5691097"/>
                <a:gd name="connsiteY49" fmla="*/ 2489389 h 4273178"/>
                <a:gd name="connsiteX50" fmla="*/ 4355756 w 5691097"/>
                <a:gd name="connsiteY50" fmla="*/ 2365504 h 4273178"/>
                <a:gd name="connsiteX51" fmla="*/ 4006802 w 5691097"/>
                <a:gd name="connsiteY51" fmla="*/ 2156651 h 4273178"/>
                <a:gd name="connsiteX52" fmla="*/ 3922482 w 5691097"/>
                <a:gd name="connsiteY52" fmla="*/ 2139138 h 4273178"/>
                <a:gd name="connsiteX53" fmla="*/ 3868647 w 5691097"/>
                <a:gd name="connsiteY53" fmla="*/ 2209188 h 4273178"/>
                <a:gd name="connsiteX54" fmla="*/ 3910159 w 5691097"/>
                <a:gd name="connsiteY54" fmla="*/ 2284427 h 4273178"/>
                <a:gd name="connsiteX55" fmla="*/ 4269490 w 5691097"/>
                <a:gd name="connsiteY55" fmla="*/ 2500415 h 4273178"/>
                <a:gd name="connsiteX56" fmla="*/ 4395321 w 5691097"/>
                <a:gd name="connsiteY56" fmla="*/ 2583438 h 4273178"/>
                <a:gd name="connsiteX57" fmla="*/ 4515963 w 5691097"/>
                <a:gd name="connsiteY57" fmla="*/ 2648299 h 4273178"/>
                <a:gd name="connsiteX58" fmla="*/ 5000477 w 5691097"/>
                <a:gd name="connsiteY58" fmla="*/ 2938229 h 4273178"/>
                <a:gd name="connsiteX59" fmla="*/ 5088689 w 5691097"/>
                <a:gd name="connsiteY59" fmla="*/ 2992064 h 4273178"/>
                <a:gd name="connsiteX60" fmla="*/ 5117876 w 5691097"/>
                <a:gd name="connsiteY60" fmla="*/ 3027089 h 4273178"/>
                <a:gd name="connsiteX61" fmla="*/ 5045880 w 5691097"/>
                <a:gd name="connsiteY61" fmla="*/ 3313127 h 4273178"/>
                <a:gd name="connsiteX62" fmla="*/ 4849999 w 5691097"/>
                <a:gd name="connsiteY62" fmla="*/ 3407176 h 4273178"/>
                <a:gd name="connsiteX63" fmla="*/ 4795516 w 5691097"/>
                <a:gd name="connsiteY63" fmla="*/ 3413014 h 4273178"/>
                <a:gd name="connsiteX64" fmla="*/ 4589905 w 5691097"/>
                <a:gd name="connsiteY64" fmla="*/ 3357882 h 4273178"/>
                <a:gd name="connsiteX65" fmla="*/ 4024315 w 5691097"/>
                <a:gd name="connsiteY65" fmla="*/ 3027738 h 4273178"/>
                <a:gd name="connsiteX66" fmla="*/ 3653957 w 5691097"/>
                <a:gd name="connsiteY66" fmla="*/ 2813695 h 4273178"/>
                <a:gd name="connsiteX67" fmla="*/ 3539152 w 5691097"/>
                <a:gd name="connsiteY67" fmla="*/ 2827316 h 4273178"/>
                <a:gd name="connsiteX68" fmla="*/ 3561854 w 5691097"/>
                <a:gd name="connsiteY68" fmla="*/ 2945364 h 4273178"/>
                <a:gd name="connsiteX69" fmla="*/ 4270788 w 5691097"/>
                <a:gd name="connsiteY69" fmla="*/ 3355287 h 4273178"/>
                <a:gd name="connsiteX70" fmla="*/ 4550340 w 5691097"/>
                <a:gd name="connsiteY70" fmla="*/ 3516792 h 4273178"/>
                <a:gd name="connsiteX71" fmla="*/ 4576933 w 5691097"/>
                <a:gd name="connsiteY71" fmla="*/ 3566086 h 4273178"/>
                <a:gd name="connsiteX72" fmla="*/ 4514017 w 5691097"/>
                <a:gd name="connsiteY72" fmla="*/ 3777534 h 4273178"/>
                <a:gd name="connsiteX73" fmla="*/ 4336298 w 5691097"/>
                <a:gd name="connsiteY73" fmla="*/ 3880015 h 4273178"/>
                <a:gd name="connsiteX74" fmla="*/ 4152091 w 5691097"/>
                <a:gd name="connsiteY74" fmla="*/ 3877420 h 4273178"/>
                <a:gd name="connsiteX75" fmla="*/ 3990587 w 5691097"/>
                <a:gd name="connsiteY75" fmla="*/ 3815154 h 4273178"/>
                <a:gd name="connsiteX76" fmla="*/ 3476237 w 5691097"/>
                <a:gd name="connsiteY76" fmla="*/ 3567383 h 4273178"/>
                <a:gd name="connsiteX77" fmla="*/ 3293328 w 5691097"/>
                <a:gd name="connsiteY77" fmla="*/ 3477875 h 4273178"/>
                <a:gd name="connsiteX78" fmla="*/ 3197982 w 5691097"/>
                <a:gd name="connsiteY78" fmla="*/ 3477875 h 4273178"/>
                <a:gd name="connsiteX79" fmla="*/ 3167497 w 5691097"/>
                <a:gd name="connsiteY79" fmla="*/ 3555060 h 4273178"/>
                <a:gd name="connsiteX80" fmla="*/ 3214846 w 5691097"/>
                <a:gd name="connsiteY80" fmla="*/ 3616029 h 4273178"/>
                <a:gd name="connsiteX81" fmla="*/ 3478831 w 5691097"/>
                <a:gd name="connsiteY81" fmla="*/ 3743806 h 4273178"/>
                <a:gd name="connsiteX82" fmla="*/ 3978912 w 5691097"/>
                <a:gd name="connsiteY82" fmla="*/ 3985090 h 4273178"/>
                <a:gd name="connsiteX83" fmla="*/ 4004208 w 5691097"/>
                <a:gd name="connsiteY83" fmla="*/ 4001954 h 4273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5691097" h="4273178">
                  <a:moveTo>
                    <a:pt x="4004208" y="4001954"/>
                  </a:moveTo>
                  <a:cubicBezTo>
                    <a:pt x="3897187" y="4150487"/>
                    <a:pt x="3772653" y="4265940"/>
                    <a:pt x="3578069" y="4272426"/>
                  </a:cubicBezTo>
                  <a:cubicBezTo>
                    <a:pt x="3466508" y="4276317"/>
                    <a:pt x="3356243" y="4265291"/>
                    <a:pt x="3247925" y="4235455"/>
                  </a:cubicBezTo>
                  <a:cubicBezTo>
                    <a:pt x="3102636" y="4195241"/>
                    <a:pt x="2957995" y="4155675"/>
                    <a:pt x="2812706" y="4115461"/>
                  </a:cubicBezTo>
                  <a:cubicBezTo>
                    <a:pt x="2803625" y="4112867"/>
                    <a:pt x="2795842" y="4107678"/>
                    <a:pt x="2784167" y="4101841"/>
                  </a:cubicBezTo>
                  <a:cubicBezTo>
                    <a:pt x="2808814" y="4068113"/>
                    <a:pt x="2832164" y="4037628"/>
                    <a:pt x="2853568" y="4005846"/>
                  </a:cubicBezTo>
                  <a:cubicBezTo>
                    <a:pt x="2938537" y="3882610"/>
                    <a:pt x="2943077" y="3749644"/>
                    <a:pt x="2892485" y="3614084"/>
                  </a:cubicBezTo>
                  <a:cubicBezTo>
                    <a:pt x="2838002" y="3469443"/>
                    <a:pt x="2732927" y="3372800"/>
                    <a:pt x="2586989" y="3324803"/>
                  </a:cubicBezTo>
                  <a:cubicBezTo>
                    <a:pt x="2544829" y="3311181"/>
                    <a:pt x="2498129" y="3307938"/>
                    <a:pt x="2453374" y="3305993"/>
                  </a:cubicBezTo>
                  <a:cubicBezTo>
                    <a:pt x="2427430" y="3304695"/>
                    <a:pt x="2421592" y="3296912"/>
                    <a:pt x="2424835" y="3273562"/>
                  </a:cubicBezTo>
                  <a:cubicBezTo>
                    <a:pt x="2448185" y="3114652"/>
                    <a:pt x="2391107" y="2983632"/>
                    <a:pt x="2282141" y="2872719"/>
                  </a:cubicBezTo>
                  <a:cubicBezTo>
                    <a:pt x="2195875" y="2785157"/>
                    <a:pt x="2086908" y="2746240"/>
                    <a:pt x="1965617" y="2736511"/>
                  </a:cubicBezTo>
                  <a:cubicBezTo>
                    <a:pt x="1960429" y="2735862"/>
                    <a:pt x="1955239" y="2735213"/>
                    <a:pt x="1948753" y="2733916"/>
                  </a:cubicBezTo>
                  <a:cubicBezTo>
                    <a:pt x="1948753" y="2717701"/>
                    <a:pt x="1947456" y="2702783"/>
                    <a:pt x="1948753" y="2687865"/>
                  </a:cubicBezTo>
                  <a:cubicBezTo>
                    <a:pt x="1972103" y="2460850"/>
                    <a:pt x="1830706" y="2264969"/>
                    <a:pt x="1634176" y="2193622"/>
                  </a:cubicBezTo>
                  <a:cubicBezTo>
                    <a:pt x="1466185" y="2132652"/>
                    <a:pt x="1286520" y="2171569"/>
                    <a:pt x="1173661" y="2335019"/>
                  </a:cubicBezTo>
                  <a:cubicBezTo>
                    <a:pt x="1152906" y="2364855"/>
                    <a:pt x="1130853" y="2394692"/>
                    <a:pt x="1108800" y="2423879"/>
                  </a:cubicBezTo>
                  <a:cubicBezTo>
                    <a:pt x="1103611" y="2431014"/>
                    <a:pt x="1096476" y="2437500"/>
                    <a:pt x="1086098" y="2448526"/>
                  </a:cubicBezTo>
                  <a:cubicBezTo>
                    <a:pt x="1028372" y="2283130"/>
                    <a:pt x="924594" y="2166380"/>
                    <a:pt x="760495" y="2118382"/>
                  </a:cubicBezTo>
                  <a:cubicBezTo>
                    <a:pt x="594450" y="2069736"/>
                    <a:pt x="447215" y="2109302"/>
                    <a:pt x="331762" y="2251348"/>
                  </a:cubicBezTo>
                  <a:cubicBezTo>
                    <a:pt x="299980" y="2212431"/>
                    <a:pt x="270792" y="2176109"/>
                    <a:pt x="240956" y="2140435"/>
                  </a:cubicBezTo>
                  <a:cubicBezTo>
                    <a:pt x="165717" y="2048981"/>
                    <a:pt x="91126" y="1956878"/>
                    <a:pt x="13941" y="1866721"/>
                  </a:cubicBezTo>
                  <a:cubicBezTo>
                    <a:pt x="-2274" y="1847911"/>
                    <a:pt x="-4220" y="1832993"/>
                    <a:pt x="7455" y="1812237"/>
                  </a:cubicBezTo>
                  <a:cubicBezTo>
                    <a:pt x="120314" y="1613113"/>
                    <a:pt x="233172" y="1413340"/>
                    <a:pt x="346031" y="1213567"/>
                  </a:cubicBezTo>
                  <a:cubicBezTo>
                    <a:pt x="459538" y="1011849"/>
                    <a:pt x="572397" y="810130"/>
                    <a:pt x="685904" y="608412"/>
                  </a:cubicBezTo>
                  <a:cubicBezTo>
                    <a:pt x="792277" y="419017"/>
                    <a:pt x="899298" y="229622"/>
                    <a:pt x="1006319" y="40227"/>
                  </a:cubicBezTo>
                  <a:cubicBezTo>
                    <a:pt x="1035507" y="-11662"/>
                    <a:pt x="1034858" y="-8419"/>
                    <a:pt x="1088044" y="22066"/>
                  </a:cubicBezTo>
                  <a:cubicBezTo>
                    <a:pt x="1169121" y="68766"/>
                    <a:pt x="1248900" y="118060"/>
                    <a:pt x="1335166" y="152437"/>
                  </a:cubicBezTo>
                  <a:cubicBezTo>
                    <a:pt x="1407162" y="181624"/>
                    <a:pt x="1486292" y="193299"/>
                    <a:pt x="1563477" y="208217"/>
                  </a:cubicBezTo>
                  <a:cubicBezTo>
                    <a:pt x="1664661" y="227676"/>
                    <a:pt x="1767142" y="242594"/>
                    <a:pt x="1868974" y="259458"/>
                  </a:cubicBezTo>
                  <a:cubicBezTo>
                    <a:pt x="1872217" y="260106"/>
                    <a:pt x="1874812" y="262052"/>
                    <a:pt x="1881946" y="265295"/>
                  </a:cubicBezTo>
                  <a:cubicBezTo>
                    <a:pt x="1848867" y="311995"/>
                    <a:pt x="1817085" y="357398"/>
                    <a:pt x="1784654" y="402801"/>
                  </a:cubicBezTo>
                  <a:cubicBezTo>
                    <a:pt x="1658824" y="580521"/>
                    <a:pt x="1532344" y="756944"/>
                    <a:pt x="1432458" y="950879"/>
                  </a:cubicBezTo>
                  <a:cubicBezTo>
                    <a:pt x="1383163" y="1046225"/>
                    <a:pt x="1370839" y="1151949"/>
                    <a:pt x="1389001" y="1256376"/>
                  </a:cubicBezTo>
                  <a:cubicBezTo>
                    <a:pt x="1407810" y="1362748"/>
                    <a:pt x="1498616" y="1428258"/>
                    <a:pt x="1617312" y="1435393"/>
                  </a:cubicBezTo>
                  <a:cubicBezTo>
                    <a:pt x="1813193" y="1447068"/>
                    <a:pt x="1995454" y="1401665"/>
                    <a:pt x="2166039" y="1305022"/>
                  </a:cubicBezTo>
                  <a:cubicBezTo>
                    <a:pt x="2363866" y="1192163"/>
                    <a:pt x="2524722" y="1038442"/>
                    <a:pt x="2655093" y="853587"/>
                  </a:cubicBezTo>
                  <a:cubicBezTo>
                    <a:pt x="2685578" y="810779"/>
                    <a:pt x="2721900" y="787429"/>
                    <a:pt x="2769898" y="773808"/>
                  </a:cubicBezTo>
                  <a:cubicBezTo>
                    <a:pt x="2836056" y="754998"/>
                    <a:pt x="2900917" y="730999"/>
                    <a:pt x="2967076" y="712838"/>
                  </a:cubicBezTo>
                  <a:cubicBezTo>
                    <a:pt x="2987831" y="707649"/>
                    <a:pt x="3015722" y="709595"/>
                    <a:pt x="3034532" y="719324"/>
                  </a:cubicBezTo>
                  <a:cubicBezTo>
                    <a:pt x="3210954" y="811427"/>
                    <a:pt x="3387377" y="902233"/>
                    <a:pt x="3560556" y="1000174"/>
                  </a:cubicBezTo>
                  <a:cubicBezTo>
                    <a:pt x="3746060" y="1104601"/>
                    <a:pt x="3932860" y="1208379"/>
                    <a:pt x="4109283" y="1326426"/>
                  </a:cubicBezTo>
                  <a:cubicBezTo>
                    <a:pt x="4412834" y="1530091"/>
                    <a:pt x="4712493" y="1740241"/>
                    <a:pt x="5007612" y="1955580"/>
                  </a:cubicBezTo>
                  <a:cubicBezTo>
                    <a:pt x="5201547" y="2096978"/>
                    <a:pt x="5387051" y="2249402"/>
                    <a:pt x="5571905" y="2402475"/>
                  </a:cubicBezTo>
                  <a:cubicBezTo>
                    <a:pt x="5660116" y="2475119"/>
                    <a:pt x="5709411" y="2572412"/>
                    <a:pt x="5684764" y="2691756"/>
                  </a:cubicBezTo>
                  <a:cubicBezTo>
                    <a:pt x="5665954" y="2784508"/>
                    <a:pt x="5597850" y="2879854"/>
                    <a:pt x="5491477" y="2910987"/>
                  </a:cubicBezTo>
                  <a:cubicBezTo>
                    <a:pt x="5414941" y="2933040"/>
                    <a:pt x="5338405" y="2934338"/>
                    <a:pt x="5265760" y="2907744"/>
                  </a:cubicBezTo>
                  <a:cubicBezTo>
                    <a:pt x="5211925" y="2888286"/>
                    <a:pt x="5164576" y="2851315"/>
                    <a:pt x="5114633" y="2822128"/>
                  </a:cubicBezTo>
                  <a:cubicBezTo>
                    <a:pt x="4968695" y="2735213"/>
                    <a:pt x="4822757" y="2647651"/>
                    <a:pt x="4677468" y="2559439"/>
                  </a:cubicBezTo>
                  <a:cubicBezTo>
                    <a:pt x="4642443" y="2538035"/>
                    <a:pt x="4611309" y="2510145"/>
                    <a:pt x="4575636" y="2489389"/>
                  </a:cubicBezTo>
                  <a:cubicBezTo>
                    <a:pt x="4502991" y="2446581"/>
                    <a:pt x="4427752" y="2408312"/>
                    <a:pt x="4355756" y="2365504"/>
                  </a:cubicBezTo>
                  <a:cubicBezTo>
                    <a:pt x="4239006" y="2296751"/>
                    <a:pt x="4123552" y="2225404"/>
                    <a:pt x="4006802" y="2156651"/>
                  </a:cubicBezTo>
                  <a:cubicBezTo>
                    <a:pt x="3982155" y="2142381"/>
                    <a:pt x="3956859" y="2122923"/>
                    <a:pt x="3922482" y="2139138"/>
                  </a:cubicBezTo>
                  <a:cubicBezTo>
                    <a:pt x="3891349" y="2154056"/>
                    <a:pt x="3871242" y="2174163"/>
                    <a:pt x="3868647" y="2209188"/>
                  </a:cubicBezTo>
                  <a:cubicBezTo>
                    <a:pt x="3866053" y="2242916"/>
                    <a:pt x="3882269" y="2267563"/>
                    <a:pt x="3910159" y="2284427"/>
                  </a:cubicBezTo>
                  <a:cubicBezTo>
                    <a:pt x="4029503" y="2356423"/>
                    <a:pt x="4150146" y="2427771"/>
                    <a:pt x="4269490" y="2500415"/>
                  </a:cubicBezTo>
                  <a:cubicBezTo>
                    <a:pt x="4312299" y="2526360"/>
                    <a:pt x="4352513" y="2557493"/>
                    <a:pt x="4395321" y="2583438"/>
                  </a:cubicBezTo>
                  <a:cubicBezTo>
                    <a:pt x="4434238" y="2606788"/>
                    <a:pt x="4476398" y="2624949"/>
                    <a:pt x="4515963" y="2648299"/>
                  </a:cubicBezTo>
                  <a:cubicBezTo>
                    <a:pt x="4678116" y="2744294"/>
                    <a:pt x="4838973" y="2841586"/>
                    <a:pt x="5000477" y="2938229"/>
                  </a:cubicBezTo>
                  <a:cubicBezTo>
                    <a:pt x="5030313" y="2955742"/>
                    <a:pt x="5060150" y="2972605"/>
                    <a:pt x="5088689" y="2992064"/>
                  </a:cubicBezTo>
                  <a:cubicBezTo>
                    <a:pt x="5101012" y="3000496"/>
                    <a:pt x="5116579" y="3014117"/>
                    <a:pt x="5117876" y="3027089"/>
                  </a:cubicBezTo>
                  <a:cubicBezTo>
                    <a:pt x="5128902" y="3130867"/>
                    <a:pt x="5115282" y="3228808"/>
                    <a:pt x="5045880" y="3313127"/>
                  </a:cubicBezTo>
                  <a:cubicBezTo>
                    <a:pt x="4994640" y="3376043"/>
                    <a:pt x="4924589" y="3394853"/>
                    <a:pt x="4849999" y="3407176"/>
                  </a:cubicBezTo>
                  <a:cubicBezTo>
                    <a:pt x="4831838" y="3409771"/>
                    <a:pt x="4813028" y="3409771"/>
                    <a:pt x="4795516" y="3413014"/>
                  </a:cubicBezTo>
                  <a:cubicBezTo>
                    <a:pt x="4717682" y="3427932"/>
                    <a:pt x="4654118" y="3396150"/>
                    <a:pt x="4589905" y="3357882"/>
                  </a:cubicBezTo>
                  <a:cubicBezTo>
                    <a:pt x="4402456" y="3245672"/>
                    <a:pt x="4213061" y="3137353"/>
                    <a:pt x="4024315" y="3027738"/>
                  </a:cubicBezTo>
                  <a:cubicBezTo>
                    <a:pt x="3901078" y="2956390"/>
                    <a:pt x="3777842" y="2884394"/>
                    <a:pt x="3653957" y="2813695"/>
                  </a:cubicBezTo>
                  <a:cubicBezTo>
                    <a:pt x="3605311" y="2785805"/>
                    <a:pt x="3565745" y="2791643"/>
                    <a:pt x="3539152" y="2827316"/>
                  </a:cubicBezTo>
                  <a:cubicBezTo>
                    <a:pt x="3510613" y="2865584"/>
                    <a:pt x="3520991" y="2921365"/>
                    <a:pt x="3561854" y="2945364"/>
                  </a:cubicBezTo>
                  <a:cubicBezTo>
                    <a:pt x="3797949" y="3082221"/>
                    <a:pt x="4034693" y="3219078"/>
                    <a:pt x="4270788" y="3355287"/>
                  </a:cubicBezTo>
                  <a:cubicBezTo>
                    <a:pt x="4364188" y="3409122"/>
                    <a:pt x="4456940" y="3463605"/>
                    <a:pt x="4550340" y="3516792"/>
                  </a:cubicBezTo>
                  <a:cubicBezTo>
                    <a:pt x="4570447" y="3528467"/>
                    <a:pt x="4578230" y="3542088"/>
                    <a:pt x="4576933" y="3566086"/>
                  </a:cubicBezTo>
                  <a:cubicBezTo>
                    <a:pt x="4573041" y="3641974"/>
                    <a:pt x="4553583" y="3712673"/>
                    <a:pt x="4514017" y="3777534"/>
                  </a:cubicBezTo>
                  <a:cubicBezTo>
                    <a:pt x="4473803" y="3843693"/>
                    <a:pt x="4409591" y="3874177"/>
                    <a:pt x="4336298" y="3880015"/>
                  </a:cubicBezTo>
                  <a:cubicBezTo>
                    <a:pt x="4275328" y="3885204"/>
                    <a:pt x="4211764" y="3888447"/>
                    <a:pt x="4152091" y="3877420"/>
                  </a:cubicBezTo>
                  <a:cubicBezTo>
                    <a:pt x="4096311" y="3867043"/>
                    <a:pt x="4043125" y="3839801"/>
                    <a:pt x="3990587" y="3815154"/>
                  </a:cubicBezTo>
                  <a:cubicBezTo>
                    <a:pt x="3818704" y="3734077"/>
                    <a:pt x="3647471" y="3650406"/>
                    <a:pt x="3476237" y="3567383"/>
                  </a:cubicBezTo>
                  <a:cubicBezTo>
                    <a:pt x="3415267" y="3537547"/>
                    <a:pt x="3354298" y="3508360"/>
                    <a:pt x="3293328" y="3477875"/>
                  </a:cubicBezTo>
                  <a:cubicBezTo>
                    <a:pt x="3261546" y="3462308"/>
                    <a:pt x="3228467" y="3457768"/>
                    <a:pt x="3197982" y="3477875"/>
                  </a:cubicBezTo>
                  <a:cubicBezTo>
                    <a:pt x="3171389" y="3495388"/>
                    <a:pt x="3163605" y="3523278"/>
                    <a:pt x="3167497" y="3555060"/>
                  </a:cubicBezTo>
                  <a:cubicBezTo>
                    <a:pt x="3171389" y="3584248"/>
                    <a:pt x="3188901" y="3603706"/>
                    <a:pt x="3214846" y="3616029"/>
                  </a:cubicBezTo>
                  <a:cubicBezTo>
                    <a:pt x="3303057" y="3658838"/>
                    <a:pt x="3391269" y="3700998"/>
                    <a:pt x="3478831" y="3743806"/>
                  </a:cubicBezTo>
                  <a:cubicBezTo>
                    <a:pt x="3645525" y="3824234"/>
                    <a:pt x="3812218" y="3904014"/>
                    <a:pt x="3978912" y="3985090"/>
                  </a:cubicBezTo>
                  <a:cubicBezTo>
                    <a:pt x="3988641" y="3988982"/>
                    <a:pt x="3995127" y="3995468"/>
                    <a:pt x="4004208" y="4001954"/>
                  </a:cubicBezTo>
                  <a:close/>
                </a:path>
              </a:pathLst>
            </a:custGeom>
            <a:solidFill>
              <a:srgbClr val="3F3F3F"/>
            </a:solidFill>
            <a:ln w="1745" cap="flat">
              <a:noFill/>
              <a:prstDash val="solid"/>
              <a:miter/>
            </a:ln>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defTabSz="1219170"/>
              <a:endParaRPr lang="en-US" sz="2400">
                <a:solidFill>
                  <a:srgbClr val="102B62"/>
                </a:solidFill>
                <a:latin typeface="Arial"/>
              </a:endParaRPr>
            </a:p>
          </p:txBody>
        </p:sp>
        <p:sp>
          <p:nvSpPr>
            <p:cNvPr id="101" name="Freeform: Shape 100">
              <a:extLst>
                <a:ext uri="{FF2B5EF4-FFF2-40B4-BE49-F238E27FC236}">
                  <a16:creationId xmlns:a16="http://schemas.microsoft.com/office/drawing/2014/main" id="{3AE75755-C099-439D-8423-85E1EE0E0A56}"/>
                </a:ext>
              </a:extLst>
            </p:cNvPr>
            <p:cNvSpPr/>
            <p:nvPr/>
          </p:nvSpPr>
          <p:spPr>
            <a:xfrm>
              <a:off x="2988679" y="631058"/>
              <a:ext cx="4664972" cy="2402306"/>
            </a:xfrm>
            <a:custGeom>
              <a:avLst/>
              <a:gdLst>
                <a:gd name="connsiteX0" fmla="*/ 56 w 4664972"/>
                <a:gd name="connsiteY0" fmla="*/ 1327103 h 2402306"/>
                <a:gd name="connsiteX1" fmla="*/ 86321 w 4664972"/>
                <a:gd name="connsiteY1" fmla="*/ 1076739 h 2402306"/>
                <a:gd name="connsiteX2" fmla="*/ 631804 w 4664972"/>
                <a:gd name="connsiteY2" fmla="*/ 289323 h 2402306"/>
                <a:gd name="connsiteX3" fmla="*/ 651911 w 4664972"/>
                <a:gd name="connsiteY3" fmla="*/ 260135 h 2402306"/>
                <a:gd name="connsiteX4" fmla="*/ 858170 w 4664972"/>
                <a:gd name="connsiteY4" fmla="*/ 122629 h 2402306"/>
                <a:gd name="connsiteX5" fmla="*/ 1106589 w 4664972"/>
                <a:gd name="connsiteY5" fmla="*/ 68146 h 2402306"/>
                <a:gd name="connsiteX6" fmla="*/ 1536619 w 4664972"/>
                <a:gd name="connsiteY6" fmla="*/ 20148 h 2402306"/>
                <a:gd name="connsiteX7" fmla="*/ 2108048 w 4664972"/>
                <a:gd name="connsiteY7" fmla="*/ 3284 h 2402306"/>
                <a:gd name="connsiteX8" fmla="*/ 2447921 w 4664972"/>
                <a:gd name="connsiteY8" fmla="*/ 40255 h 2402306"/>
                <a:gd name="connsiteX9" fmla="*/ 2789740 w 4664972"/>
                <a:gd name="connsiteY9" fmla="*/ 107063 h 2402306"/>
                <a:gd name="connsiteX10" fmla="*/ 3082264 w 4664972"/>
                <a:gd name="connsiteY10" fmla="*/ 173870 h 2402306"/>
                <a:gd name="connsiteX11" fmla="*/ 3435109 w 4664972"/>
                <a:gd name="connsiteY11" fmla="*/ 180356 h 2402306"/>
                <a:gd name="connsiteX12" fmla="*/ 3625802 w 4664972"/>
                <a:gd name="connsiteY12" fmla="*/ 133656 h 2402306"/>
                <a:gd name="connsiteX13" fmla="*/ 3664070 w 4664972"/>
                <a:gd name="connsiteY13" fmla="*/ 150520 h 2402306"/>
                <a:gd name="connsiteX14" fmla="*/ 3909894 w 4664972"/>
                <a:gd name="connsiteY14" fmla="*/ 585739 h 2402306"/>
                <a:gd name="connsiteX15" fmla="*/ 4230957 w 4664972"/>
                <a:gd name="connsiteY15" fmla="*/ 1156518 h 2402306"/>
                <a:gd name="connsiteX16" fmla="*/ 4614936 w 4664972"/>
                <a:gd name="connsiteY16" fmla="*/ 1840156 h 2402306"/>
                <a:gd name="connsiteX17" fmla="*/ 4662285 w 4664972"/>
                <a:gd name="connsiteY17" fmla="*/ 1924476 h 2402306"/>
                <a:gd name="connsiteX18" fmla="*/ 4659042 w 4664972"/>
                <a:gd name="connsiteY18" fmla="*/ 1959501 h 2402306"/>
                <a:gd name="connsiteX19" fmla="*/ 4358086 w 4664972"/>
                <a:gd name="connsiteY19" fmla="*/ 2247485 h 2402306"/>
                <a:gd name="connsiteX20" fmla="*/ 4138854 w 4664972"/>
                <a:gd name="connsiteY20" fmla="*/ 2394072 h 2402306"/>
                <a:gd name="connsiteX21" fmla="*/ 4081128 w 4664972"/>
                <a:gd name="connsiteY21" fmla="*/ 2386937 h 2402306"/>
                <a:gd name="connsiteX22" fmla="*/ 3143882 w 4664972"/>
                <a:gd name="connsiteY22" fmla="*/ 1674760 h 2402306"/>
                <a:gd name="connsiteX23" fmla="*/ 2486837 w 4664972"/>
                <a:gd name="connsiteY23" fmla="*/ 1235649 h 2402306"/>
                <a:gd name="connsiteX24" fmla="*/ 1812280 w 4664972"/>
                <a:gd name="connsiteY24" fmla="*/ 856210 h 2402306"/>
                <a:gd name="connsiteX25" fmla="*/ 1502243 w 4664972"/>
                <a:gd name="connsiteY25" fmla="*/ 696652 h 2402306"/>
                <a:gd name="connsiteX26" fmla="*/ 1438679 w 4664972"/>
                <a:gd name="connsiteY26" fmla="*/ 694057 h 2402306"/>
                <a:gd name="connsiteX27" fmla="*/ 1091022 w 4664972"/>
                <a:gd name="connsiteY27" fmla="*/ 803673 h 2402306"/>
                <a:gd name="connsiteX28" fmla="*/ 1032647 w 4664972"/>
                <a:gd name="connsiteY28" fmla="*/ 850373 h 2402306"/>
                <a:gd name="connsiteX29" fmla="*/ 672019 w 4664972"/>
                <a:gd name="connsiteY29" fmla="*/ 1235000 h 2402306"/>
                <a:gd name="connsiteX30" fmla="*/ 251717 w 4664972"/>
                <a:gd name="connsiteY30" fmla="*/ 1420504 h 2402306"/>
                <a:gd name="connsiteX31" fmla="*/ 67511 w 4664972"/>
                <a:gd name="connsiteY31" fmla="*/ 1423747 h 2402306"/>
                <a:gd name="connsiteX32" fmla="*/ 56 w 4664972"/>
                <a:gd name="connsiteY32" fmla="*/ 1327103 h 2402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64972" h="2402306">
                  <a:moveTo>
                    <a:pt x="56" y="1327103"/>
                  </a:moveTo>
                  <a:cubicBezTo>
                    <a:pt x="1353" y="1234352"/>
                    <a:pt x="38972" y="1154572"/>
                    <a:pt x="86321" y="1076739"/>
                  </a:cubicBezTo>
                  <a:cubicBezTo>
                    <a:pt x="252366" y="803673"/>
                    <a:pt x="444355" y="547471"/>
                    <a:pt x="631804" y="289323"/>
                  </a:cubicBezTo>
                  <a:cubicBezTo>
                    <a:pt x="638939" y="279594"/>
                    <a:pt x="646074" y="270513"/>
                    <a:pt x="651911" y="260135"/>
                  </a:cubicBezTo>
                  <a:cubicBezTo>
                    <a:pt x="697314" y="179059"/>
                    <a:pt x="775148" y="144682"/>
                    <a:pt x="858170" y="122629"/>
                  </a:cubicBezTo>
                  <a:cubicBezTo>
                    <a:pt x="939896" y="100576"/>
                    <a:pt x="1022918" y="79821"/>
                    <a:pt x="1106589" y="68146"/>
                  </a:cubicBezTo>
                  <a:cubicBezTo>
                    <a:pt x="1249284" y="48039"/>
                    <a:pt x="1393925" y="37661"/>
                    <a:pt x="1536619" y="20148"/>
                  </a:cubicBezTo>
                  <a:cubicBezTo>
                    <a:pt x="1726663" y="-3850"/>
                    <a:pt x="1917355" y="-1904"/>
                    <a:pt x="2108048" y="3284"/>
                  </a:cubicBezTo>
                  <a:cubicBezTo>
                    <a:pt x="2221555" y="6528"/>
                    <a:pt x="2335711" y="22743"/>
                    <a:pt x="2447921" y="40255"/>
                  </a:cubicBezTo>
                  <a:cubicBezTo>
                    <a:pt x="2562725" y="57768"/>
                    <a:pt x="2676232" y="83064"/>
                    <a:pt x="2789740" y="107063"/>
                  </a:cubicBezTo>
                  <a:cubicBezTo>
                    <a:pt x="2887680" y="127818"/>
                    <a:pt x="2983675" y="155709"/>
                    <a:pt x="3082264" y="173870"/>
                  </a:cubicBezTo>
                  <a:cubicBezTo>
                    <a:pt x="3199014" y="195922"/>
                    <a:pt x="3317062" y="210192"/>
                    <a:pt x="3435109" y="180356"/>
                  </a:cubicBezTo>
                  <a:cubicBezTo>
                    <a:pt x="3498673" y="164140"/>
                    <a:pt x="3562237" y="149871"/>
                    <a:pt x="3625802" y="133656"/>
                  </a:cubicBezTo>
                  <a:cubicBezTo>
                    <a:pt x="3645260" y="128467"/>
                    <a:pt x="3654340" y="133007"/>
                    <a:pt x="3664070" y="150520"/>
                  </a:cubicBezTo>
                  <a:cubicBezTo>
                    <a:pt x="3745146" y="295809"/>
                    <a:pt x="3828169" y="440450"/>
                    <a:pt x="3909894" y="585739"/>
                  </a:cubicBezTo>
                  <a:cubicBezTo>
                    <a:pt x="4016915" y="775782"/>
                    <a:pt x="4123936" y="966475"/>
                    <a:pt x="4230957" y="1156518"/>
                  </a:cubicBezTo>
                  <a:cubicBezTo>
                    <a:pt x="4358734" y="1384181"/>
                    <a:pt x="4486511" y="1612493"/>
                    <a:pt x="4614936" y="1840156"/>
                  </a:cubicBezTo>
                  <a:cubicBezTo>
                    <a:pt x="4630503" y="1868046"/>
                    <a:pt x="4648664" y="1895288"/>
                    <a:pt x="4662285" y="1924476"/>
                  </a:cubicBezTo>
                  <a:cubicBezTo>
                    <a:pt x="4666825" y="1934205"/>
                    <a:pt x="4665528" y="1953015"/>
                    <a:pt x="4659042" y="1959501"/>
                  </a:cubicBezTo>
                  <a:cubicBezTo>
                    <a:pt x="4559804" y="2056793"/>
                    <a:pt x="4463161" y="2157328"/>
                    <a:pt x="4358086" y="2247485"/>
                  </a:cubicBezTo>
                  <a:cubicBezTo>
                    <a:pt x="4291927" y="2304563"/>
                    <a:pt x="4212796" y="2346074"/>
                    <a:pt x="4138854" y="2394072"/>
                  </a:cubicBezTo>
                  <a:cubicBezTo>
                    <a:pt x="4118747" y="2407692"/>
                    <a:pt x="4100586" y="2403801"/>
                    <a:pt x="4081128" y="2386937"/>
                  </a:cubicBezTo>
                  <a:cubicBezTo>
                    <a:pt x="3782117" y="2132681"/>
                    <a:pt x="3466892" y="1898531"/>
                    <a:pt x="3143882" y="1674760"/>
                  </a:cubicBezTo>
                  <a:cubicBezTo>
                    <a:pt x="2927246" y="1524930"/>
                    <a:pt x="2711258" y="1373804"/>
                    <a:pt x="2486837" y="1235649"/>
                  </a:cubicBezTo>
                  <a:cubicBezTo>
                    <a:pt x="2266958" y="1100737"/>
                    <a:pt x="2037997" y="980744"/>
                    <a:pt x="1812280" y="856210"/>
                  </a:cubicBezTo>
                  <a:cubicBezTo>
                    <a:pt x="1710448" y="800430"/>
                    <a:pt x="1606670" y="747892"/>
                    <a:pt x="1502243" y="696652"/>
                  </a:cubicBezTo>
                  <a:cubicBezTo>
                    <a:pt x="1484730" y="688220"/>
                    <a:pt x="1458137" y="688220"/>
                    <a:pt x="1438679" y="694057"/>
                  </a:cubicBezTo>
                  <a:cubicBezTo>
                    <a:pt x="1321929" y="728434"/>
                    <a:pt x="1205827" y="764756"/>
                    <a:pt x="1091022" y="803673"/>
                  </a:cubicBezTo>
                  <a:cubicBezTo>
                    <a:pt x="1068321" y="811456"/>
                    <a:pt x="1046268" y="830266"/>
                    <a:pt x="1032647" y="850373"/>
                  </a:cubicBezTo>
                  <a:cubicBezTo>
                    <a:pt x="931464" y="996959"/>
                    <a:pt x="814713" y="1127979"/>
                    <a:pt x="672019" y="1235000"/>
                  </a:cubicBezTo>
                  <a:cubicBezTo>
                    <a:pt x="546188" y="1329049"/>
                    <a:pt x="408682" y="1398451"/>
                    <a:pt x="251717" y="1420504"/>
                  </a:cubicBezTo>
                  <a:cubicBezTo>
                    <a:pt x="191396" y="1428936"/>
                    <a:pt x="129129" y="1426341"/>
                    <a:pt x="67511" y="1423747"/>
                  </a:cubicBezTo>
                  <a:cubicBezTo>
                    <a:pt x="20163" y="1421801"/>
                    <a:pt x="-1242" y="1387424"/>
                    <a:pt x="56" y="1327103"/>
                  </a:cubicBezTo>
                  <a:close/>
                </a:path>
              </a:pathLst>
            </a:custGeom>
            <a:solidFill>
              <a:srgbClr val="3F3F3F"/>
            </a:solidFill>
            <a:ln w="1745" cap="flat">
              <a:noFill/>
              <a:prstDash val="solid"/>
              <a:miter/>
            </a:ln>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defTabSz="1219170"/>
              <a:endParaRPr lang="en-US" sz="2400">
                <a:solidFill>
                  <a:srgbClr val="102B62"/>
                </a:solidFill>
                <a:latin typeface="Arial"/>
              </a:endParaRPr>
            </a:p>
          </p:txBody>
        </p:sp>
        <p:sp>
          <p:nvSpPr>
            <p:cNvPr id="102" name="Freeform: Shape 101">
              <a:extLst>
                <a:ext uri="{FF2B5EF4-FFF2-40B4-BE49-F238E27FC236}">
                  <a16:creationId xmlns:a16="http://schemas.microsoft.com/office/drawing/2014/main" id="{23145EE5-C581-4E34-8642-71F01150F865}"/>
                </a:ext>
              </a:extLst>
            </p:cNvPr>
            <p:cNvSpPr/>
            <p:nvPr/>
          </p:nvSpPr>
          <p:spPr>
            <a:xfrm>
              <a:off x="512542" y="468"/>
              <a:ext cx="1985841" cy="2771580"/>
            </a:xfrm>
            <a:custGeom>
              <a:avLst/>
              <a:gdLst>
                <a:gd name="connsiteX0" fmla="*/ 1985842 w 1985841"/>
                <a:gd name="connsiteY0" fmla="*/ 406861 h 2771580"/>
                <a:gd name="connsiteX1" fmla="*/ 1967681 w 1985841"/>
                <a:gd name="connsiteY1" fmla="*/ 455507 h 2771580"/>
                <a:gd name="connsiteX2" fmla="*/ 1669968 w 1985841"/>
                <a:gd name="connsiteY2" fmla="*/ 984126 h 2771580"/>
                <a:gd name="connsiteX3" fmla="*/ 1367065 w 1985841"/>
                <a:gd name="connsiteY3" fmla="*/ 1524421 h 2771580"/>
                <a:gd name="connsiteX4" fmla="*/ 1070649 w 1985841"/>
                <a:gd name="connsiteY4" fmla="*/ 2049797 h 2771580"/>
                <a:gd name="connsiteX5" fmla="*/ 746343 w 1985841"/>
                <a:gd name="connsiteY5" fmla="*/ 2625765 h 2771580"/>
                <a:gd name="connsiteX6" fmla="*/ 684725 w 1985841"/>
                <a:gd name="connsiteY6" fmla="*/ 2735381 h 2771580"/>
                <a:gd name="connsiteX7" fmla="*/ 596513 w 1985841"/>
                <a:gd name="connsiteY7" fmla="*/ 2758731 h 2771580"/>
                <a:gd name="connsiteX8" fmla="*/ 105513 w 1985841"/>
                <a:gd name="connsiteY8" fmla="*/ 2461018 h 2771580"/>
                <a:gd name="connsiteX9" fmla="*/ 30274 w 1985841"/>
                <a:gd name="connsiteY9" fmla="*/ 2410426 h 2771580"/>
                <a:gd name="connsiteX10" fmla="*/ 8870 w 1985841"/>
                <a:gd name="connsiteY10" fmla="*/ 2322214 h 2771580"/>
                <a:gd name="connsiteX11" fmla="*/ 187239 w 1985841"/>
                <a:gd name="connsiteY11" fmla="*/ 2000502 h 2771580"/>
                <a:gd name="connsiteX12" fmla="*/ 510896 w 1985841"/>
                <a:gd name="connsiteY12" fmla="*/ 1427129 h 2771580"/>
                <a:gd name="connsiteX13" fmla="*/ 818988 w 1985841"/>
                <a:gd name="connsiteY13" fmla="*/ 882294 h 2771580"/>
                <a:gd name="connsiteX14" fmla="*/ 1154969 w 1985841"/>
                <a:gd name="connsiteY14" fmla="*/ 282975 h 2771580"/>
                <a:gd name="connsiteX15" fmla="*/ 1291826 w 1985841"/>
                <a:gd name="connsiteY15" fmla="*/ 38448 h 2771580"/>
                <a:gd name="connsiteX16" fmla="*/ 1382632 w 1985841"/>
                <a:gd name="connsiteY16" fmla="*/ 13152 h 2771580"/>
                <a:gd name="connsiteX17" fmla="*/ 1773746 w 1985841"/>
                <a:gd name="connsiteY17" fmla="*/ 251842 h 2771580"/>
                <a:gd name="connsiteX18" fmla="*/ 1946277 w 1985841"/>
                <a:gd name="connsiteY18" fmla="*/ 358863 h 2771580"/>
                <a:gd name="connsiteX19" fmla="*/ 1985842 w 1985841"/>
                <a:gd name="connsiteY19" fmla="*/ 406861 h 2771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85841" h="2771580">
                  <a:moveTo>
                    <a:pt x="1985842" y="406861"/>
                  </a:moveTo>
                  <a:cubicBezTo>
                    <a:pt x="1978059" y="427616"/>
                    <a:pt x="1974816" y="442534"/>
                    <a:pt x="1967681" y="455507"/>
                  </a:cubicBezTo>
                  <a:cubicBezTo>
                    <a:pt x="1868443" y="631929"/>
                    <a:pt x="1769205" y="807703"/>
                    <a:pt x="1669968" y="984126"/>
                  </a:cubicBezTo>
                  <a:cubicBezTo>
                    <a:pt x="1568784" y="1163792"/>
                    <a:pt x="1468249" y="1344106"/>
                    <a:pt x="1367065" y="1524421"/>
                  </a:cubicBezTo>
                  <a:cubicBezTo>
                    <a:pt x="1268476" y="1699546"/>
                    <a:pt x="1169238" y="1874672"/>
                    <a:pt x="1070649" y="2049797"/>
                  </a:cubicBezTo>
                  <a:cubicBezTo>
                    <a:pt x="962331" y="2241786"/>
                    <a:pt x="854013" y="2433776"/>
                    <a:pt x="746343" y="2625765"/>
                  </a:cubicBezTo>
                  <a:cubicBezTo>
                    <a:pt x="725587" y="2662088"/>
                    <a:pt x="705480" y="2699059"/>
                    <a:pt x="684725" y="2735381"/>
                  </a:cubicBezTo>
                  <a:cubicBezTo>
                    <a:pt x="662672" y="2774298"/>
                    <a:pt x="634133" y="2781432"/>
                    <a:pt x="596513" y="2758731"/>
                  </a:cubicBezTo>
                  <a:cubicBezTo>
                    <a:pt x="433063" y="2659493"/>
                    <a:pt x="268964" y="2560255"/>
                    <a:pt x="105513" y="2461018"/>
                  </a:cubicBezTo>
                  <a:cubicBezTo>
                    <a:pt x="79569" y="2445451"/>
                    <a:pt x="55570" y="2427290"/>
                    <a:pt x="30274" y="2410426"/>
                  </a:cubicBezTo>
                  <a:cubicBezTo>
                    <a:pt x="438" y="2390319"/>
                    <a:pt x="-8642" y="2354645"/>
                    <a:pt x="8870" y="2322214"/>
                  </a:cubicBezTo>
                  <a:cubicBezTo>
                    <a:pt x="67894" y="2214545"/>
                    <a:pt x="126918" y="2107524"/>
                    <a:pt x="187239" y="2000502"/>
                  </a:cubicBezTo>
                  <a:cubicBezTo>
                    <a:pt x="294908" y="1809162"/>
                    <a:pt x="402578" y="1618469"/>
                    <a:pt x="510896" y="1427129"/>
                  </a:cubicBezTo>
                  <a:cubicBezTo>
                    <a:pt x="613377" y="1245517"/>
                    <a:pt x="716507" y="1063905"/>
                    <a:pt x="818988" y="882294"/>
                  </a:cubicBezTo>
                  <a:cubicBezTo>
                    <a:pt x="931198" y="682521"/>
                    <a:pt x="1042759" y="482748"/>
                    <a:pt x="1154969" y="282975"/>
                  </a:cubicBezTo>
                  <a:cubicBezTo>
                    <a:pt x="1200372" y="201250"/>
                    <a:pt x="1246423" y="119525"/>
                    <a:pt x="1291826" y="38448"/>
                  </a:cubicBezTo>
                  <a:cubicBezTo>
                    <a:pt x="1314528" y="-1766"/>
                    <a:pt x="1343715" y="-10846"/>
                    <a:pt x="1382632" y="13152"/>
                  </a:cubicBezTo>
                  <a:cubicBezTo>
                    <a:pt x="1513003" y="92283"/>
                    <a:pt x="1643375" y="172063"/>
                    <a:pt x="1773746" y="251842"/>
                  </a:cubicBezTo>
                  <a:cubicBezTo>
                    <a:pt x="1831472" y="286867"/>
                    <a:pt x="1889847" y="321244"/>
                    <a:pt x="1946277" y="358863"/>
                  </a:cubicBezTo>
                  <a:cubicBezTo>
                    <a:pt x="1962492" y="370538"/>
                    <a:pt x="1973518" y="391942"/>
                    <a:pt x="1985842" y="406861"/>
                  </a:cubicBezTo>
                  <a:close/>
                </a:path>
              </a:pathLst>
            </a:custGeom>
            <a:solidFill>
              <a:srgbClr val="3F3F3F"/>
            </a:solidFill>
            <a:ln w="1745" cap="flat">
              <a:noFill/>
              <a:prstDash val="solid"/>
              <a:miter/>
            </a:ln>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defTabSz="1219170"/>
              <a:endParaRPr lang="en-US" sz="2400">
                <a:solidFill>
                  <a:srgbClr val="102B62"/>
                </a:solidFill>
                <a:latin typeface="Arial"/>
              </a:endParaRPr>
            </a:p>
          </p:txBody>
        </p:sp>
        <p:sp>
          <p:nvSpPr>
            <p:cNvPr id="103" name="Freeform: Shape 102">
              <a:extLst>
                <a:ext uri="{FF2B5EF4-FFF2-40B4-BE49-F238E27FC236}">
                  <a16:creationId xmlns:a16="http://schemas.microsoft.com/office/drawing/2014/main" id="{3AD4A4C7-26E9-46D4-89FE-CA29C5E1422C}"/>
                </a:ext>
              </a:extLst>
            </p:cNvPr>
            <p:cNvSpPr/>
            <p:nvPr/>
          </p:nvSpPr>
          <p:spPr>
            <a:xfrm>
              <a:off x="6638210" y="-37"/>
              <a:ext cx="1992808" cy="2772790"/>
            </a:xfrm>
            <a:custGeom>
              <a:avLst/>
              <a:gdLst>
                <a:gd name="connsiteX0" fmla="*/ 1992809 w 1992808"/>
                <a:gd name="connsiteY0" fmla="*/ 2362934 h 2772790"/>
                <a:gd name="connsiteX1" fmla="*/ 1948703 w 1992808"/>
                <a:gd name="connsiteY1" fmla="*/ 2416769 h 2772790"/>
                <a:gd name="connsiteX2" fmla="*/ 1425921 w 1992808"/>
                <a:gd name="connsiteY2" fmla="*/ 2736535 h 2772790"/>
                <a:gd name="connsiteX3" fmla="*/ 1387004 w 1992808"/>
                <a:gd name="connsiteY3" fmla="*/ 2759237 h 2772790"/>
                <a:gd name="connsiteX4" fmla="*/ 1298793 w 1992808"/>
                <a:gd name="connsiteY4" fmla="*/ 2737184 h 2772790"/>
                <a:gd name="connsiteX5" fmla="*/ 1180097 w 1992808"/>
                <a:gd name="connsiteY5" fmla="*/ 2526385 h 2772790"/>
                <a:gd name="connsiteX6" fmla="*/ 877195 w 1992808"/>
                <a:gd name="connsiteY6" fmla="*/ 1989333 h 2772790"/>
                <a:gd name="connsiteX7" fmla="*/ 477000 w 1992808"/>
                <a:gd name="connsiteY7" fmla="*/ 1277805 h 2772790"/>
                <a:gd name="connsiteX8" fmla="*/ 214312 w 1992808"/>
                <a:gd name="connsiteY8" fmla="*/ 811452 h 2772790"/>
                <a:gd name="connsiteX9" fmla="*/ 14539 w 1992808"/>
                <a:gd name="connsiteY9" fmla="*/ 457958 h 2772790"/>
                <a:gd name="connsiteX10" fmla="*/ 40484 w 1992808"/>
                <a:gd name="connsiteY10" fmla="*/ 357423 h 2772790"/>
                <a:gd name="connsiteX11" fmla="*/ 547051 w 1992808"/>
                <a:gd name="connsiteY11" fmla="*/ 48035 h 2772790"/>
                <a:gd name="connsiteX12" fmla="*/ 607371 w 1992808"/>
                <a:gd name="connsiteY12" fmla="*/ 10415 h 2772790"/>
                <a:gd name="connsiteX13" fmla="*/ 682611 w 1992808"/>
                <a:gd name="connsiteY13" fmla="*/ 27279 h 2772790"/>
                <a:gd name="connsiteX14" fmla="*/ 752661 w 1992808"/>
                <a:gd name="connsiteY14" fmla="*/ 153759 h 2772790"/>
                <a:gd name="connsiteX15" fmla="*/ 853844 w 1992808"/>
                <a:gd name="connsiteY15" fmla="*/ 329533 h 2772790"/>
                <a:gd name="connsiteX16" fmla="*/ 1156747 w 1992808"/>
                <a:gd name="connsiteY16" fmla="*/ 865936 h 2772790"/>
                <a:gd name="connsiteX17" fmla="*/ 1478458 w 1992808"/>
                <a:gd name="connsiteY17" fmla="*/ 1436715 h 2772790"/>
                <a:gd name="connsiteX18" fmla="*/ 1862437 w 1992808"/>
                <a:gd name="connsiteY18" fmla="*/ 2120353 h 2772790"/>
                <a:gd name="connsiteX19" fmla="*/ 1968810 w 1992808"/>
                <a:gd name="connsiteY19" fmla="*/ 2308451 h 2772790"/>
                <a:gd name="connsiteX20" fmla="*/ 1992809 w 1992808"/>
                <a:gd name="connsiteY20" fmla="*/ 2362934 h 2772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92808" h="2772790">
                  <a:moveTo>
                    <a:pt x="1992809" y="2362934"/>
                  </a:moveTo>
                  <a:cubicBezTo>
                    <a:pt x="1978539" y="2380447"/>
                    <a:pt x="1967513" y="2405094"/>
                    <a:pt x="1948703" y="2416769"/>
                  </a:cubicBezTo>
                  <a:cubicBezTo>
                    <a:pt x="1774874" y="2524439"/>
                    <a:pt x="1600398" y="2630163"/>
                    <a:pt x="1425921" y="2736535"/>
                  </a:cubicBezTo>
                  <a:cubicBezTo>
                    <a:pt x="1412949" y="2744319"/>
                    <a:pt x="1399976" y="2751453"/>
                    <a:pt x="1387004" y="2759237"/>
                  </a:cubicBezTo>
                  <a:cubicBezTo>
                    <a:pt x="1347439" y="2782587"/>
                    <a:pt x="1320845" y="2776101"/>
                    <a:pt x="1298793" y="2737184"/>
                  </a:cubicBezTo>
                  <a:cubicBezTo>
                    <a:pt x="1258579" y="2667134"/>
                    <a:pt x="1219662" y="2596435"/>
                    <a:pt x="1180097" y="2526385"/>
                  </a:cubicBezTo>
                  <a:cubicBezTo>
                    <a:pt x="1078913" y="2347367"/>
                    <a:pt x="978378" y="2168350"/>
                    <a:pt x="877195" y="1989333"/>
                  </a:cubicBezTo>
                  <a:cubicBezTo>
                    <a:pt x="743580" y="1751941"/>
                    <a:pt x="610614" y="1515197"/>
                    <a:pt x="477000" y="1277805"/>
                  </a:cubicBezTo>
                  <a:cubicBezTo>
                    <a:pt x="389437" y="1122138"/>
                    <a:pt x="301875" y="966471"/>
                    <a:pt x="214312" y="811452"/>
                  </a:cubicBezTo>
                  <a:cubicBezTo>
                    <a:pt x="148154" y="693405"/>
                    <a:pt x="80698" y="576006"/>
                    <a:pt x="14539" y="457958"/>
                  </a:cubicBezTo>
                  <a:cubicBezTo>
                    <a:pt x="-10757" y="413204"/>
                    <a:pt x="-3622" y="384016"/>
                    <a:pt x="40484" y="357423"/>
                  </a:cubicBezTo>
                  <a:cubicBezTo>
                    <a:pt x="209123" y="253645"/>
                    <a:pt x="378411" y="151164"/>
                    <a:pt x="547051" y="48035"/>
                  </a:cubicBezTo>
                  <a:cubicBezTo>
                    <a:pt x="567157" y="35711"/>
                    <a:pt x="586616" y="22090"/>
                    <a:pt x="607371" y="10415"/>
                  </a:cubicBezTo>
                  <a:cubicBezTo>
                    <a:pt x="639153" y="-7097"/>
                    <a:pt x="663801" y="-3206"/>
                    <a:pt x="682611" y="27279"/>
                  </a:cubicBezTo>
                  <a:cubicBezTo>
                    <a:pt x="707906" y="68142"/>
                    <a:pt x="729311" y="112247"/>
                    <a:pt x="752661" y="153759"/>
                  </a:cubicBezTo>
                  <a:cubicBezTo>
                    <a:pt x="785740" y="212782"/>
                    <a:pt x="820116" y="271158"/>
                    <a:pt x="853844" y="329533"/>
                  </a:cubicBezTo>
                  <a:cubicBezTo>
                    <a:pt x="955028" y="508550"/>
                    <a:pt x="1056212" y="686918"/>
                    <a:pt x="1156747" y="865936"/>
                  </a:cubicBezTo>
                  <a:cubicBezTo>
                    <a:pt x="1263768" y="1055979"/>
                    <a:pt x="1371437" y="1246671"/>
                    <a:pt x="1478458" y="1436715"/>
                  </a:cubicBezTo>
                  <a:cubicBezTo>
                    <a:pt x="1606235" y="1664378"/>
                    <a:pt x="1734012" y="1892690"/>
                    <a:pt x="1862437" y="2120353"/>
                  </a:cubicBezTo>
                  <a:cubicBezTo>
                    <a:pt x="1897462" y="2183268"/>
                    <a:pt x="1933784" y="2245535"/>
                    <a:pt x="1968810" y="2308451"/>
                  </a:cubicBezTo>
                  <a:cubicBezTo>
                    <a:pt x="1975944" y="2324017"/>
                    <a:pt x="1982430" y="2340233"/>
                    <a:pt x="1992809" y="2362934"/>
                  </a:cubicBezTo>
                  <a:close/>
                </a:path>
              </a:pathLst>
            </a:custGeom>
            <a:solidFill>
              <a:srgbClr val="3F3F3F"/>
            </a:solidFill>
            <a:ln w="1745" cap="flat">
              <a:noFill/>
              <a:prstDash val="solid"/>
              <a:miter/>
            </a:ln>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defTabSz="1219170"/>
              <a:endParaRPr lang="en-US" sz="2400">
                <a:solidFill>
                  <a:srgbClr val="102B62"/>
                </a:solidFill>
                <a:latin typeface="Arial"/>
              </a:endParaRPr>
            </a:p>
          </p:txBody>
        </p:sp>
        <p:sp>
          <p:nvSpPr>
            <p:cNvPr id="104" name="Freeform: Shape 103">
              <a:extLst>
                <a:ext uri="{FF2B5EF4-FFF2-40B4-BE49-F238E27FC236}">
                  <a16:creationId xmlns:a16="http://schemas.microsoft.com/office/drawing/2014/main" id="{A4C1FD08-268C-4BB9-8A7D-0D0618E01B54}"/>
                </a:ext>
              </a:extLst>
            </p:cNvPr>
            <p:cNvSpPr/>
            <p:nvPr/>
          </p:nvSpPr>
          <p:spPr>
            <a:xfrm>
              <a:off x="2187231" y="3103617"/>
              <a:ext cx="1057186" cy="1269784"/>
            </a:xfrm>
            <a:custGeom>
              <a:avLst/>
              <a:gdLst>
                <a:gd name="connsiteX0" fmla="*/ 467 w 1057186"/>
                <a:gd name="connsiteY0" fmla="*/ 954104 h 1269784"/>
                <a:gd name="connsiteX1" fmla="*/ 49762 w 1057186"/>
                <a:gd name="connsiteY1" fmla="*/ 806221 h 1269784"/>
                <a:gd name="connsiteX2" fmla="*/ 531033 w 1057186"/>
                <a:gd name="connsiteY2" fmla="*/ 151122 h 1269784"/>
                <a:gd name="connsiteX3" fmla="*/ 623136 w 1057186"/>
                <a:gd name="connsiteY3" fmla="*/ 44749 h 1269784"/>
                <a:gd name="connsiteX4" fmla="*/ 895553 w 1057186"/>
                <a:gd name="connsiteY4" fmla="*/ 46047 h 1269784"/>
                <a:gd name="connsiteX5" fmla="*/ 1057058 w 1057186"/>
                <a:gd name="connsiteY5" fmla="*/ 335976 h 1269784"/>
                <a:gd name="connsiteX6" fmla="*/ 993494 w 1057186"/>
                <a:gd name="connsiteY6" fmla="*/ 485157 h 1269784"/>
                <a:gd name="connsiteX7" fmla="*/ 752858 w 1057186"/>
                <a:gd name="connsiteY7" fmla="*/ 808815 h 1269784"/>
                <a:gd name="connsiteX8" fmla="*/ 568004 w 1057186"/>
                <a:gd name="connsiteY8" fmla="*/ 1065018 h 1269784"/>
                <a:gd name="connsiteX9" fmla="*/ 470063 w 1057186"/>
                <a:gd name="connsiteY9" fmla="*/ 1197334 h 1269784"/>
                <a:gd name="connsiteX10" fmla="*/ 233319 w 1057186"/>
                <a:gd name="connsiteY10" fmla="*/ 1258953 h 1269784"/>
                <a:gd name="connsiteX11" fmla="*/ 8251 w 1057186"/>
                <a:gd name="connsiteY11" fmla="*/ 1022209 h 1269784"/>
                <a:gd name="connsiteX12" fmla="*/ 467 w 1057186"/>
                <a:gd name="connsiteY12" fmla="*/ 954104 h 1269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7186" h="1269784">
                  <a:moveTo>
                    <a:pt x="467" y="954104"/>
                  </a:moveTo>
                  <a:cubicBezTo>
                    <a:pt x="-3424" y="897675"/>
                    <a:pt x="17331" y="850326"/>
                    <a:pt x="49762" y="806221"/>
                  </a:cubicBezTo>
                  <a:cubicBezTo>
                    <a:pt x="209970" y="587638"/>
                    <a:pt x="370177" y="369056"/>
                    <a:pt x="531033" y="151122"/>
                  </a:cubicBezTo>
                  <a:cubicBezTo>
                    <a:pt x="558923" y="113502"/>
                    <a:pt x="586165" y="71991"/>
                    <a:pt x="623136" y="44749"/>
                  </a:cubicBezTo>
                  <a:cubicBezTo>
                    <a:pt x="711996" y="-21409"/>
                    <a:pt x="807342" y="-8437"/>
                    <a:pt x="895553" y="46047"/>
                  </a:cubicBezTo>
                  <a:cubicBezTo>
                    <a:pt x="1001926" y="111557"/>
                    <a:pt x="1060301" y="207551"/>
                    <a:pt x="1057058" y="335976"/>
                  </a:cubicBezTo>
                  <a:cubicBezTo>
                    <a:pt x="1055761" y="394352"/>
                    <a:pt x="1027222" y="440403"/>
                    <a:pt x="993494" y="485157"/>
                  </a:cubicBezTo>
                  <a:cubicBezTo>
                    <a:pt x="913066" y="592827"/>
                    <a:pt x="832638" y="700497"/>
                    <a:pt x="752858" y="808815"/>
                  </a:cubicBezTo>
                  <a:cubicBezTo>
                    <a:pt x="690592" y="893784"/>
                    <a:pt x="629622" y="979401"/>
                    <a:pt x="568004" y="1065018"/>
                  </a:cubicBezTo>
                  <a:cubicBezTo>
                    <a:pt x="535573" y="1109123"/>
                    <a:pt x="503791" y="1153878"/>
                    <a:pt x="470063" y="1197334"/>
                  </a:cubicBezTo>
                  <a:cubicBezTo>
                    <a:pt x="422714" y="1258953"/>
                    <a:pt x="316991" y="1286843"/>
                    <a:pt x="233319" y="1258953"/>
                  </a:cubicBezTo>
                  <a:cubicBezTo>
                    <a:pt x="117218" y="1220036"/>
                    <a:pt x="41330" y="1140256"/>
                    <a:pt x="8251" y="1022209"/>
                  </a:cubicBezTo>
                  <a:cubicBezTo>
                    <a:pt x="2413" y="999507"/>
                    <a:pt x="3062" y="976157"/>
                    <a:pt x="467" y="954104"/>
                  </a:cubicBezTo>
                  <a:close/>
                </a:path>
              </a:pathLst>
            </a:custGeom>
            <a:solidFill>
              <a:srgbClr val="3F3F3F"/>
            </a:solidFill>
            <a:ln w="1745" cap="flat">
              <a:noFill/>
              <a:prstDash val="solid"/>
              <a:miter/>
            </a:ln>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defTabSz="1219170"/>
              <a:endParaRPr lang="en-US" sz="2400">
                <a:solidFill>
                  <a:srgbClr val="102B62"/>
                </a:solidFill>
                <a:latin typeface="Arial"/>
              </a:endParaRPr>
            </a:p>
          </p:txBody>
        </p:sp>
        <p:sp>
          <p:nvSpPr>
            <p:cNvPr id="105" name="Freeform: Shape 104">
              <a:extLst>
                <a:ext uri="{FF2B5EF4-FFF2-40B4-BE49-F238E27FC236}">
                  <a16:creationId xmlns:a16="http://schemas.microsoft.com/office/drawing/2014/main" id="{3E9F9AFF-0026-4A40-941B-C8ADD7940416}"/>
                </a:ext>
              </a:extLst>
            </p:cNvPr>
            <p:cNvSpPr/>
            <p:nvPr/>
          </p:nvSpPr>
          <p:spPr>
            <a:xfrm>
              <a:off x="2789089" y="3677015"/>
              <a:ext cx="933876" cy="1104241"/>
            </a:xfrm>
            <a:custGeom>
              <a:avLst/>
              <a:gdLst>
                <a:gd name="connsiteX0" fmla="*/ 301478 w 933876"/>
                <a:gd name="connsiteY0" fmla="*/ 1103910 h 1104241"/>
                <a:gd name="connsiteX1" fmla="*/ 2467 w 933876"/>
                <a:gd name="connsiteY1" fmla="*/ 835385 h 1104241"/>
                <a:gd name="connsiteX2" fmla="*/ 64086 w 933876"/>
                <a:gd name="connsiteY2" fmla="*/ 618748 h 1104241"/>
                <a:gd name="connsiteX3" fmla="*/ 236617 w 933876"/>
                <a:gd name="connsiteY3" fmla="*/ 385896 h 1104241"/>
                <a:gd name="connsiteX4" fmla="*/ 468820 w 933876"/>
                <a:gd name="connsiteY4" fmla="*/ 72616 h 1104241"/>
                <a:gd name="connsiteX5" fmla="*/ 656269 w 933876"/>
                <a:gd name="connsiteY5" fmla="*/ 3214 h 1104241"/>
                <a:gd name="connsiteX6" fmla="*/ 910526 w 933876"/>
                <a:gd name="connsiteY6" fmla="*/ 208176 h 1104241"/>
                <a:gd name="connsiteX7" fmla="*/ 887175 w 933876"/>
                <a:gd name="connsiteY7" fmla="*/ 456595 h 1104241"/>
                <a:gd name="connsiteX8" fmla="*/ 479198 w 933876"/>
                <a:gd name="connsiteY8" fmla="*/ 1017645 h 1104241"/>
                <a:gd name="connsiteX9" fmla="*/ 301478 w 933876"/>
                <a:gd name="connsiteY9" fmla="*/ 1103910 h 110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3876" h="1104241">
                  <a:moveTo>
                    <a:pt x="301478" y="1103910"/>
                  </a:moveTo>
                  <a:cubicBezTo>
                    <a:pt x="158783" y="1103910"/>
                    <a:pt x="20629" y="976134"/>
                    <a:pt x="2467" y="835385"/>
                  </a:cubicBezTo>
                  <a:cubicBezTo>
                    <a:pt x="-7910" y="752362"/>
                    <a:pt x="14791" y="683609"/>
                    <a:pt x="64086" y="618748"/>
                  </a:cubicBezTo>
                  <a:cubicBezTo>
                    <a:pt x="123110" y="542212"/>
                    <a:pt x="178890" y="463730"/>
                    <a:pt x="236617" y="385896"/>
                  </a:cubicBezTo>
                  <a:cubicBezTo>
                    <a:pt x="313802" y="281469"/>
                    <a:pt x="390338" y="175745"/>
                    <a:pt x="468820" y="72616"/>
                  </a:cubicBezTo>
                  <a:cubicBezTo>
                    <a:pt x="515520" y="10997"/>
                    <a:pt x="582976" y="-8461"/>
                    <a:pt x="656269" y="3214"/>
                  </a:cubicBezTo>
                  <a:cubicBezTo>
                    <a:pt x="778209" y="22673"/>
                    <a:pt x="863177" y="94669"/>
                    <a:pt x="910526" y="208176"/>
                  </a:cubicBezTo>
                  <a:cubicBezTo>
                    <a:pt x="946199" y="293793"/>
                    <a:pt x="942956" y="378761"/>
                    <a:pt x="887175" y="456595"/>
                  </a:cubicBezTo>
                  <a:cubicBezTo>
                    <a:pt x="751615" y="643395"/>
                    <a:pt x="615407" y="830844"/>
                    <a:pt x="479198" y="1017645"/>
                  </a:cubicBezTo>
                  <a:cubicBezTo>
                    <a:pt x="435741" y="1077317"/>
                    <a:pt x="376717" y="1107802"/>
                    <a:pt x="301478" y="1103910"/>
                  </a:cubicBezTo>
                  <a:close/>
                </a:path>
              </a:pathLst>
            </a:custGeom>
            <a:solidFill>
              <a:srgbClr val="3F3F3F"/>
            </a:solidFill>
            <a:ln w="1745" cap="flat">
              <a:noFill/>
              <a:prstDash val="solid"/>
              <a:miter/>
            </a:ln>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defTabSz="1219170"/>
              <a:endParaRPr lang="en-US" sz="2400">
                <a:solidFill>
                  <a:srgbClr val="102B62"/>
                </a:solidFill>
                <a:latin typeface="Arial"/>
              </a:endParaRPr>
            </a:p>
          </p:txBody>
        </p:sp>
        <p:sp>
          <p:nvSpPr>
            <p:cNvPr id="106" name="Freeform: Shape 105">
              <a:extLst>
                <a:ext uri="{FF2B5EF4-FFF2-40B4-BE49-F238E27FC236}">
                  <a16:creationId xmlns:a16="http://schemas.microsoft.com/office/drawing/2014/main" id="{C438D9F1-8183-4131-96C4-10277F2B9725}"/>
                </a:ext>
              </a:extLst>
            </p:cNvPr>
            <p:cNvSpPr/>
            <p:nvPr/>
          </p:nvSpPr>
          <p:spPr>
            <a:xfrm>
              <a:off x="3424828" y="4243647"/>
              <a:ext cx="791825" cy="898077"/>
            </a:xfrm>
            <a:custGeom>
              <a:avLst/>
              <a:gdLst>
                <a:gd name="connsiteX0" fmla="*/ 791732 w 791825"/>
                <a:gd name="connsiteY0" fmla="*/ 312858 h 898077"/>
                <a:gd name="connsiteX1" fmla="*/ 726870 w 791825"/>
                <a:gd name="connsiteY1" fmla="*/ 480849 h 898077"/>
                <a:gd name="connsiteX2" fmla="*/ 489478 w 791825"/>
                <a:gd name="connsiteY2" fmla="*/ 802560 h 898077"/>
                <a:gd name="connsiteX3" fmla="*/ 172955 w 791825"/>
                <a:gd name="connsiteY3" fmla="*/ 860287 h 898077"/>
                <a:gd name="connsiteX4" fmla="*/ 1721 w 791825"/>
                <a:gd name="connsiteY4" fmla="*/ 605382 h 898077"/>
                <a:gd name="connsiteX5" fmla="*/ 54259 w 791825"/>
                <a:gd name="connsiteY5" fmla="*/ 437391 h 898077"/>
                <a:gd name="connsiteX6" fmla="*/ 310461 w 791825"/>
                <a:gd name="connsiteY6" fmla="*/ 85843 h 898077"/>
                <a:gd name="connsiteX7" fmla="*/ 562123 w 791825"/>
                <a:gd name="connsiteY7" fmla="*/ 11901 h 898077"/>
                <a:gd name="connsiteX8" fmla="*/ 791732 w 791825"/>
                <a:gd name="connsiteY8" fmla="*/ 312858 h 898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1825" h="898077">
                  <a:moveTo>
                    <a:pt x="791732" y="312858"/>
                  </a:moveTo>
                  <a:cubicBezTo>
                    <a:pt x="793677" y="377719"/>
                    <a:pt x="765138" y="430256"/>
                    <a:pt x="726870" y="480849"/>
                  </a:cubicBezTo>
                  <a:cubicBezTo>
                    <a:pt x="646442" y="587221"/>
                    <a:pt x="567960" y="694891"/>
                    <a:pt x="489478" y="802560"/>
                  </a:cubicBezTo>
                  <a:cubicBezTo>
                    <a:pt x="411644" y="908933"/>
                    <a:pt x="288408" y="923851"/>
                    <a:pt x="172955" y="860287"/>
                  </a:cubicBezTo>
                  <a:cubicBezTo>
                    <a:pt x="73068" y="805155"/>
                    <a:pt x="16639" y="717592"/>
                    <a:pt x="1721" y="605382"/>
                  </a:cubicBezTo>
                  <a:cubicBezTo>
                    <a:pt x="-6711" y="542467"/>
                    <a:pt x="16639" y="487983"/>
                    <a:pt x="54259" y="437391"/>
                  </a:cubicBezTo>
                  <a:cubicBezTo>
                    <a:pt x="140524" y="320641"/>
                    <a:pt x="224844" y="202594"/>
                    <a:pt x="310461" y="85843"/>
                  </a:cubicBezTo>
                  <a:cubicBezTo>
                    <a:pt x="363647" y="12550"/>
                    <a:pt x="455101" y="-19232"/>
                    <a:pt x="562123" y="11901"/>
                  </a:cubicBezTo>
                  <a:cubicBezTo>
                    <a:pt x="688602" y="47575"/>
                    <a:pt x="791732" y="182487"/>
                    <a:pt x="791732" y="312858"/>
                  </a:cubicBezTo>
                  <a:close/>
                </a:path>
              </a:pathLst>
            </a:custGeom>
            <a:solidFill>
              <a:srgbClr val="3F3F3F"/>
            </a:solidFill>
            <a:ln w="1745" cap="flat">
              <a:noFill/>
              <a:prstDash val="solid"/>
              <a:miter/>
            </a:ln>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defTabSz="1219170"/>
              <a:endParaRPr lang="en-US" sz="2400">
                <a:solidFill>
                  <a:srgbClr val="102B62"/>
                </a:solidFill>
                <a:latin typeface="Arial"/>
              </a:endParaRPr>
            </a:p>
          </p:txBody>
        </p:sp>
        <p:sp>
          <p:nvSpPr>
            <p:cNvPr id="107" name="Freeform: Shape 106">
              <a:extLst>
                <a:ext uri="{FF2B5EF4-FFF2-40B4-BE49-F238E27FC236}">
                  <a16:creationId xmlns:a16="http://schemas.microsoft.com/office/drawing/2014/main" id="{FC2EF2EA-1F9C-4456-BF2E-4F95B753D67A}"/>
                </a:ext>
              </a:extLst>
            </p:cNvPr>
            <p:cNvSpPr/>
            <p:nvPr/>
          </p:nvSpPr>
          <p:spPr>
            <a:xfrm>
              <a:off x="1701637" y="3037470"/>
              <a:ext cx="691277" cy="765959"/>
            </a:xfrm>
            <a:custGeom>
              <a:avLst/>
              <a:gdLst>
                <a:gd name="connsiteX0" fmla="*/ 690374 w 691277"/>
                <a:gd name="connsiteY0" fmla="*/ 316506 h 765959"/>
                <a:gd name="connsiteX1" fmla="*/ 622919 w 691277"/>
                <a:gd name="connsiteY1" fmla="*/ 487092 h 765959"/>
                <a:gd name="connsiteX2" fmla="*/ 477629 w 691277"/>
                <a:gd name="connsiteY2" fmla="*/ 680378 h 765959"/>
                <a:gd name="connsiteX3" fmla="*/ 229859 w 691277"/>
                <a:gd name="connsiteY3" fmla="*/ 754320 h 765959"/>
                <a:gd name="connsiteX4" fmla="*/ 13223 w 691277"/>
                <a:gd name="connsiteY4" fmla="*/ 532495 h 765959"/>
                <a:gd name="connsiteX5" fmla="*/ 53436 w 691277"/>
                <a:gd name="connsiteY5" fmla="*/ 300291 h 765959"/>
                <a:gd name="connsiteX6" fmla="*/ 200672 w 691277"/>
                <a:gd name="connsiteY6" fmla="*/ 100518 h 765959"/>
                <a:gd name="connsiteX7" fmla="*/ 476981 w 691277"/>
                <a:gd name="connsiteY7" fmla="*/ 17496 h 765959"/>
                <a:gd name="connsiteX8" fmla="*/ 679996 w 691277"/>
                <a:gd name="connsiteY8" fmla="*/ 239970 h 765959"/>
                <a:gd name="connsiteX9" fmla="*/ 690374 w 691277"/>
                <a:gd name="connsiteY9" fmla="*/ 316506 h 765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1277" h="765959">
                  <a:moveTo>
                    <a:pt x="690374" y="316506"/>
                  </a:moveTo>
                  <a:cubicBezTo>
                    <a:pt x="697509" y="385259"/>
                    <a:pt x="661187" y="436500"/>
                    <a:pt x="622919" y="487092"/>
                  </a:cubicBezTo>
                  <a:cubicBezTo>
                    <a:pt x="574273" y="551304"/>
                    <a:pt x="521735" y="612922"/>
                    <a:pt x="477629" y="680378"/>
                  </a:cubicBezTo>
                  <a:cubicBezTo>
                    <a:pt x="427686" y="755617"/>
                    <a:pt x="316125" y="784156"/>
                    <a:pt x="229859" y="754320"/>
                  </a:cubicBezTo>
                  <a:cubicBezTo>
                    <a:pt x="118946" y="716052"/>
                    <a:pt x="46302" y="642110"/>
                    <a:pt x="13223" y="532495"/>
                  </a:cubicBezTo>
                  <a:cubicBezTo>
                    <a:pt x="-12073" y="450769"/>
                    <a:pt x="-2344" y="370990"/>
                    <a:pt x="53436" y="300291"/>
                  </a:cubicBezTo>
                  <a:cubicBezTo>
                    <a:pt x="104677" y="235430"/>
                    <a:pt x="153323" y="167974"/>
                    <a:pt x="200672" y="100518"/>
                  </a:cubicBezTo>
                  <a:cubicBezTo>
                    <a:pt x="268127" y="3875"/>
                    <a:pt x="373203" y="-21421"/>
                    <a:pt x="476981" y="17496"/>
                  </a:cubicBezTo>
                  <a:cubicBezTo>
                    <a:pt x="580759" y="56413"/>
                    <a:pt x="650160" y="132300"/>
                    <a:pt x="679996" y="239970"/>
                  </a:cubicBezTo>
                  <a:cubicBezTo>
                    <a:pt x="687131" y="264617"/>
                    <a:pt x="687131" y="291210"/>
                    <a:pt x="690374" y="316506"/>
                  </a:cubicBezTo>
                  <a:close/>
                </a:path>
              </a:pathLst>
            </a:custGeom>
            <a:solidFill>
              <a:srgbClr val="3F3F3F"/>
            </a:solidFill>
            <a:ln w="1745" cap="flat">
              <a:noFill/>
              <a:prstDash val="solid"/>
              <a:miter/>
            </a:ln>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defTabSz="1219170"/>
              <a:endParaRPr lang="en-US" sz="2400">
                <a:solidFill>
                  <a:srgbClr val="102B62"/>
                </a:solidFill>
                <a:latin typeface="Arial"/>
              </a:endParaRPr>
            </a:p>
          </p:txBody>
        </p:sp>
      </p:grpSp>
      <p:sp>
        <p:nvSpPr>
          <p:cNvPr id="25" name="Slide Number Placeholder 24">
            <a:extLst>
              <a:ext uri="{FF2B5EF4-FFF2-40B4-BE49-F238E27FC236}">
                <a16:creationId xmlns:a16="http://schemas.microsoft.com/office/drawing/2014/main" id="{61D1BEDA-8691-47E8-A8A1-C8B44C047DE8}"/>
              </a:ext>
            </a:extLst>
          </p:cNvPr>
          <p:cNvSpPr>
            <a:spLocks noGrp="1"/>
          </p:cNvSpPr>
          <p:nvPr>
            <p:ph type="sldNum" sz="quarter" idx="12"/>
          </p:nvPr>
        </p:nvSpPr>
        <p:spPr/>
        <p:txBody>
          <a:bodyPr/>
          <a:lstStyle/>
          <a:p>
            <a:fld id="{D1541BB9-6530-43D2-B7E0-33A89042A350}" type="slidenum">
              <a:rPr lang="en-US" smtClean="0"/>
              <a:t>17</a:t>
            </a:fld>
            <a:endParaRPr lang="en-US"/>
          </a:p>
        </p:txBody>
      </p:sp>
    </p:spTree>
    <p:extLst>
      <p:ext uri="{BB962C8B-B14F-4D97-AF65-F5344CB8AC3E}">
        <p14:creationId xmlns:p14="http://schemas.microsoft.com/office/powerpoint/2010/main" val="33720492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2">
            <a:extLst>
              <a:ext uri="{FF2B5EF4-FFF2-40B4-BE49-F238E27FC236}">
                <a16:creationId xmlns:a16="http://schemas.microsoft.com/office/drawing/2014/main" id="{E4ED5855-8553-475F-A0B8-6257FF786920}"/>
              </a:ext>
            </a:extLst>
          </p:cNvPr>
          <p:cNvSpPr>
            <a:spLocks noGrp="1"/>
          </p:cNvSpPr>
          <p:nvPr>
            <p:ph type="title"/>
          </p:nvPr>
        </p:nvSpPr>
        <p:spPr/>
        <p:txBody>
          <a:bodyPr>
            <a:normAutofit fontScale="90000"/>
          </a:bodyPr>
          <a:lstStyle/>
          <a:p>
            <a:pPr algn="ctr"/>
            <a:r>
              <a:rPr lang="en-US" sz="3400" dirty="0">
                <a:solidFill>
                  <a:schemeClr val="bg1"/>
                </a:solidFill>
                <a:latin typeface="Arial" panose="020B0604020202020204" pitchFamily="34" charset="0"/>
                <a:cs typeface="Arial" panose="020B0604020202020204" pitchFamily="34" charset="0"/>
              </a:rPr>
              <a:t>COVID-19 Market Research Portal Submissions</a:t>
            </a:r>
            <a:endParaRPr lang="en-US" dirty="0">
              <a:solidFill>
                <a:schemeClr val="bg1"/>
              </a:solidFill>
              <a:latin typeface="Arial" panose="020B0604020202020204" pitchFamily="34" charset="0"/>
              <a:cs typeface="Arial" panose="020B0604020202020204" pitchFamily="34" charset="0"/>
            </a:endParaRPr>
          </a:p>
        </p:txBody>
      </p:sp>
      <p:grpSp>
        <p:nvGrpSpPr>
          <p:cNvPr id="4" name="Group 3">
            <a:extLst>
              <a:ext uri="{FF2B5EF4-FFF2-40B4-BE49-F238E27FC236}">
                <a16:creationId xmlns:a16="http://schemas.microsoft.com/office/drawing/2014/main" id="{053319D1-B780-4CAF-A25F-880EC3F7F3D9}"/>
              </a:ext>
            </a:extLst>
          </p:cNvPr>
          <p:cNvGrpSpPr/>
          <p:nvPr/>
        </p:nvGrpSpPr>
        <p:grpSpPr>
          <a:xfrm>
            <a:off x="1611746" y="1396909"/>
            <a:ext cx="8823427" cy="5032764"/>
            <a:chOff x="1625600" y="889001"/>
            <a:chExt cx="8823427" cy="5032764"/>
          </a:xfrm>
        </p:grpSpPr>
        <p:pic>
          <p:nvPicPr>
            <p:cNvPr id="2" name="Picture 1"/>
            <p:cNvPicPr>
              <a:picLocks noChangeAspect="1"/>
            </p:cNvPicPr>
            <p:nvPr/>
          </p:nvPicPr>
          <p:blipFill>
            <a:blip r:embed="rId2"/>
            <a:stretch>
              <a:fillRect/>
            </a:stretch>
          </p:blipFill>
          <p:spPr>
            <a:xfrm>
              <a:off x="1625600" y="889001"/>
              <a:ext cx="8823427" cy="5032764"/>
            </a:xfrm>
            <a:prstGeom prst="rect">
              <a:avLst/>
            </a:prstGeom>
          </p:spPr>
        </p:pic>
        <p:sp>
          <p:nvSpPr>
            <p:cNvPr id="3" name="Rectangle 2">
              <a:extLst>
                <a:ext uri="{FF2B5EF4-FFF2-40B4-BE49-F238E27FC236}">
                  <a16:creationId xmlns:a16="http://schemas.microsoft.com/office/drawing/2014/main" id="{719D6639-5666-4A46-BE09-3DC94CBAFBC3}"/>
                </a:ext>
              </a:extLst>
            </p:cNvPr>
            <p:cNvSpPr/>
            <p:nvPr/>
          </p:nvSpPr>
          <p:spPr>
            <a:xfrm>
              <a:off x="3396343" y="936172"/>
              <a:ext cx="5257800" cy="11248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Slide Number Placeholder 6">
            <a:extLst>
              <a:ext uri="{FF2B5EF4-FFF2-40B4-BE49-F238E27FC236}">
                <a16:creationId xmlns:a16="http://schemas.microsoft.com/office/drawing/2014/main" id="{6BE99D35-2654-4BA5-89C4-2F4726517BF9}"/>
              </a:ext>
            </a:extLst>
          </p:cNvPr>
          <p:cNvSpPr>
            <a:spLocks noGrp="1"/>
          </p:cNvSpPr>
          <p:nvPr>
            <p:ph type="sldNum" sz="quarter" idx="12"/>
          </p:nvPr>
        </p:nvSpPr>
        <p:spPr/>
        <p:txBody>
          <a:bodyPr/>
          <a:lstStyle/>
          <a:p>
            <a:fld id="{D1541BB9-6530-43D2-B7E0-33A89042A350}" type="slidenum">
              <a:rPr lang="en-US" smtClean="0"/>
              <a:t>18</a:t>
            </a:fld>
            <a:endParaRPr lang="en-US"/>
          </a:p>
        </p:txBody>
      </p:sp>
    </p:spTree>
    <p:extLst>
      <p:ext uri="{BB962C8B-B14F-4D97-AF65-F5344CB8AC3E}">
        <p14:creationId xmlns:p14="http://schemas.microsoft.com/office/powerpoint/2010/main" val="42686912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1477DE-8D5F-425B-B02B-932F78B8AB5D}"/>
              </a:ext>
            </a:extLst>
          </p:cNvPr>
          <p:cNvSpPr>
            <a:spLocks noGrp="1"/>
          </p:cNvSpPr>
          <p:nvPr>
            <p:ph type="title"/>
          </p:nvPr>
        </p:nvSpPr>
        <p:spPr>
          <a:xfrm>
            <a:off x="558282" y="320366"/>
            <a:ext cx="11633718" cy="454075"/>
          </a:xfrm>
        </p:spPr>
        <p:txBody>
          <a:bodyPr>
            <a:noAutofit/>
          </a:bodyPr>
          <a:lstStyle/>
          <a:p>
            <a:pPr algn="ctr"/>
            <a:r>
              <a:rPr lang="en-US" sz="3600" dirty="0">
                <a:solidFill>
                  <a:schemeClr val="bg1"/>
                </a:solidFill>
              </a:rPr>
              <a:t>COVID-19 Medical Countermeasure Development Strategy </a:t>
            </a:r>
          </a:p>
        </p:txBody>
      </p:sp>
      <p:sp>
        <p:nvSpPr>
          <p:cNvPr id="7" name="Google Shape;8122;p159">
            <a:extLst>
              <a:ext uri="{FF2B5EF4-FFF2-40B4-BE49-F238E27FC236}">
                <a16:creationId xmlns:a16="http://schemas.microsoft.com/office/drawing/2014/main" id="{C7A6423B-AA74-4FF7-87FF-7FD17E6983DF}"/>
              </a:ext>
            </a:extLst>
          </p:cNvPr>
          <p:cNvSpPr>
            <a:spLocks/>
          </p:cNvSpPr>
          <p:nvPr/>
        </p:nvSpPr>
        <p:spPr bwMode="auto">
          <a:xfrm>
            <a:off x="3655741" y="3998019"/>
            <a:ext cx="2406392" cy="2328859"/>
          </a:xfrm>
          <a:custGeom>
            <a:avLst/>
            <a:gdLst>
              <a:gd name="T0" fmla="*/ 2147483646 w 635"/>
              <a:gd name="T1" fmla="*/ 2147483646 h 614"/>
              <a:gd name="T2" fmla="*/ 2147483646 w 635"/>
              <a:gd name="T3" fmla="*/ 2147483646 h 614"/>
              <a:gd name="T4" fmla="*/ 2147483646 w 635"/>
              <a:gd name="T5" fmla="*/ 2147483646 h 614"/>
              <a:gd name="T6" fmla="*/ 2147483646 w 635"/>
              <a:gd name="T7" fmla="*/ 2147483646 h 614"/>
              <a:gd name="T8" fmla="*/ 2147483646 w 635"/>
              <a:gd name="T9" fmla="*/ 2147483646 h 614"/>
              <a:gd name="T10" fmla="*/ 2147483646 w 635"/>
              <a:gd name="T11" fmla="*/ 2147483646 h 614"/>
              <a:gd name="T12" fmla="*/ 2147483646 w 635"/>
              <a:gd name="T13" fmla="*/ 2147483646 h 614"/>
              <a:gd name="T14" fmla="*/ 2147483646 w 635"/>
              <a:gd name="T15" fmla="*/ 0 h 614"/>
              <a:gd name="T16" fmla="*/ 2147483646 w 635"/>
              <a:gd name="T17" fmla="*/ 2147483646 h 6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35" h="614" extrusionOk="0">
                <a:moveTo>
                  <a:pt x="47" y="160"/>
                </a:moveTo>
                <a:cubicBezTo>
                  <a:pt x="9" y="230"/>
                  <a:pt x="0" y="310"/>
                  <a:pt x="20" y="386"/>
                </a:cubicBezTo>
                <a:cubicBezTo>
                  <a:pt x="42" y="466"/>
                  <a:pt x="92" y="532"/>
                  <a:pt x="163" y="573"/>
                </a:cubicBezTo>
                <a:cubicBezTo>
                  <a:pt x="210" y="600"/>
                  <a:pt x="263" y="614"/>
                  <a:pt x="317" y="614"/>
                </a:cubicBezTo>
                <a:cubicBezTo>
                  <a:pt x="426" y="614"/>
                  <a:pt x="528" y="555"/>
                  <a:pt x="583" y="460"/>
                </a:cubicBezTo>
                <a:cubicBezTo>
                  <a:pt x="624" y="389"/>
                  <a:pt x="635" y="307"/>
                  <a:pt x="613" y="227"/>
                </a:cubicBezTo>
                <a:cubicBezTo>
                  <a:pt x="592" y="148"/>
                  <a:pt x="541" y="82"/>
                  <a:pt x="470" y="41"/>
                </a:cubicBezTo>
                <a:cubicBezTo>
                  <a:pt x="426" y="15"/>
                  <a:pt x="376" y="1"/>
                  <a:pt x="325" y="0"/>
                </a:cubicBezTo>
                <a:cubicBezTo>
                  <a:pt x="266" y="97"/>
                  <a:pt x="161" y="157"/>
                  <a:pt x="47" y="160"/>
                </a:cubicBezTo>
                <a:close/>
              </a:path>
            </a:pathLst>
          </a:custGeom>
          <a:gradFill>
            <a:gsLst>
              <a:gs pos="0">
                <a:srgbClr val="680000"/>
              </a:gs>
              <a:gs pos="100000">
                <a:srgbClr val="C00000"/>
              </a:gs>
            </a:gsLst>
          </a:gradFill>
          <a:ln>
            <a:noFill/>
          </a:ln>
          <a:effectLst/>
        </p:spPr>
        <p:style>
          <a:lnRef idx="1">
            <a:schemeClr val="dk1"/>
          </a:lnRef>
          <a:fillRef idx="3">
            <a:schemeClr val="dk1"/>
          </a:fillRef>
          <a:effectRef idx="2">
            <a:schemeClr val="dk1"/>
          </a:effectRef>
          <a:fontRef idx="minor">
            <a:schemeClr val="lt1"/>
          </a:fontRef>
        </p:style>
        <p:txBody>
          <a:bodyPr rtlCol="0" anchor="ctr"/>
          <a:lstStyle/>
          <a:p>
            <a:pPr algn="ctr" defTabSz="1219170"/>
            <a:endParaRPr lang="en-US" sz="1867">
              <a:solidFill>
                <a:prstClr val="white"/>
              </a:solidFill>
              <a:latin typeface="Arial"/>
            </a:endParaRPr>
          </a:p>
        </p:txBody>
      </p:sp>
      <p:sp>
        <p:nvSpPr>
          <p:cNvPr id="8" name="Google Shape;8123;p159">
            <a:extLst>
              <a:ext uri="{FF2B5EF4-FFF2-40B4-BE49-F238E27FC236}">
                <a16:creationId xmlns:a16="http://schemas.microsoft.com/office/drawing/2014/main" id="{3602F634-7A21-41F1-87DC-1A51BB499BEC}"/>
              </a:ext>
            </a:extLst>
          </p:cNvPr>
          <p:cNvSpPr>
            <a:spLocks/>
          </p:cNvSpPr>
          <p:nvPr/>
        </p:nvSpPr>
        <p:spPr bwMode="auto">
          <a:xfrm>
            <a:off x="2640635" y="2174561"/>
            <a:ext cx="2325987" cy="2324551"/>
          </a:xfrm>
          <a:custGeom>
            <a:avLst/>
            <a:gdLst>
              <a:gd name="T0" fmla="*/ 2147483646 w 614"/>
              <a:gd name="T1" fmla="*/ 2147483646 h 613"/>
              <a:gd name="T2" fmla="*/ 2147483646 w 614"/>
              <a:gd name="T3" fmla="*/ 0 h 613"/>
              <a:gd name="T4" fmla="*/ 0 w 614"/>
              <a:gd name="T5" fmla="*/ 2147483646 h 613"/>
              <a:gd name="T6" fmla="*/ 2147483646 w 614"/>
              <a:gd name="T7" fmla="*/ 2147483646 h 613"/>
              <a:gd name="T8" fmla="*/ 2147483646 w 614"/>
              <a:gd name="T9" fmla="*/ 2147483646 h 613"/>
              <a:gd name="T10" fmla="*/ 2147483646 w 614"/>
              <a:gd name="T11" fmla="*/ 2147483646 h 613"/>
              <a:gd name="T12" fmla="*/ 2147483646 w 614"/>
              <a:gd name="T13" fmla="*/ 2147483646 h 61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4" h="613" extrusionOk="0">
                <a:moveTo>
                  <a:pt x="524" y="89"/>
                </a:moveTo>
                <a:cubicBezTo>
                  <a:pt x="466" y="32"/>
                  <a:pt x="389" y="0"/>
                  <a:pt x="307" y="0"/>
                </a:cubicBezTo>
                <a:cubicBezTo>
                  <a:pt x="138" y="0"/>
                  <a:pt x="0" y="137"/>
                  <a:pt x="0" y="307"/>
                </a:cubicBezTo>
                <a:cubicBezTo>
                  <a:pt x="0" y="358"/>
                  <a:pt x="13" y="408"/>
                  <a:pt x="37" y="453"/>
                </a:cubicBezTo>
                <a:cubicBezTo>
                  <a:pt x="151" y="456"/>
                  <a:pt x="256" y="517"/>
                  <a:pt x="315" y="613"/>
                </a:cubicBezTo>
                <a:cubicBezTo>
                  <a:pt x="481" y="609"/>
                  <a:pt x="614" y="473"/>
                  <a:pt x="614" y="307"/>
                </a:cubicBezTo>
                <a:cubicBezTo>
                  <a:pt x="614" y="225"/>
                  <a:pt x="582" y="147"/>
                  <a:pt x="524" y="89"/>
                </a:cubicBezTo>
                <a:close/>
              </a:path>
            </a:pathLst>
          </a:custGeom>
          <a:gradFill>
            <a:gsLst>
              <a:gs pos="0">
                <a:schemeClr val="accent1">
                  <a:lumMod val="60000"/>
                  <a:lumOff val="40000"/>
                </a:schemeClr>
              </a:gs>
              <a:gs pos="50000">
                <a:schemeClr val="accent1">
                  <a:lumMod val="50000"/>
                </a:schemeClr>
              </a:gs>
              <a:gs pos="100000">
                <a:schemeClr val="dk1">
                  <a:lumMod val="99000"/>
                  <a:satMod val="120000"/>
                  <a:shade val="78000"/>
                </a:schemeClr>
              </a:gs>
            </a:gsLst>
          </a:gradFill>
          <a:ln>
            <a:noFill/>
          </a:ln>
          <a:effectLst/>
        </p:spPr>
        <p:style>
          <a:lnRef idx="1">
            <a:schemeClr val="dk1"/>
          </a:lnRef>
          <a:fillRef idx="3">
            <a:schemeClr val="dk1"/>
          </a:fillRef>
          <a:effectRef idx="2">
            <a:schemeClr val="dk1"/>
          </a:effectRef>
          <a:fontRef idx="minor">
            <a:schemeClr val="lt1"/>
          </a:fontRef>
        </p:style>
        <p:txBody>
          <a:bodyPr rtlCol="0" anchor="ctr"/>
          <a:lstStyle/>
          <a:p>
            <a:pPr algn="ctr" defTabSz="1219170"/>
            <a:endParaRPr lang="en-US" sz="2400">
              <a:solidFill>
                <a:prstClr val="white"/>
              </a:solidFill>
              <a:latin typeface="Arial"/>
            </a:endParaRPr>
          </a:p>
        </p:txBody>
      </p:sp>
      <p:sp>
        <p:nvSpPr>
          <p:cNvPr id="9" name="Google Shape;8124;p159">
            <a:extLst>
              <a:ext uri="{FF2B5EF4-FFF2-40B4-BE49-F238E27FC236}">
                <a16:creationId xmlns:a16="http://schemas.microsoft.com/office/drawing/2014/main" id="{CCA429A1-B409-44AD-99E6-93F81A0B82EC}"/>
              </a:ext>
            </a:extLst>
          </p:cNvPr>
          <p:cNvSpPr>
            <a:spLocks/>
          </p:cNvSpPr>
          <p:nvPr/>
        </p:nvSpPr>
        <p:spPr bwMode="auto">
          <a:xfrm>
            <a:off x="1424517" y="3998019"/>
            <a:ext cx="2318808" cy="2328859"/>
          </a:xfrm>
          <a:custGeom>
            <a:avLst/>
            <a:gdLst>
              <a:gd name="T0" fmla="*/ 2147483646 w 612"/>
              <a:gd name="T1" fmla="*/ 2147483646 h 614"/>
              <a:gd name="T2" fmla="*/ 2147483646 w 612"/>
              <a:gd name="T3" fmla="*/ 0 h 614"/>
              <a:gd name="T4" fmla="*/ 2147483646 w 612"/>
              <a:gd name="T5" fmla="*/ 2147483646 h 614"/>
              <a:gd name="T6" fmla="*/ 2147483646 w 612"/>
              <a:gd name="T7" fmla="*/ 2147483646 h 614"/>
              <a:gd name="T8" fmla="*/ 2147483646 w 612"/>
              <a:gd name="T9" fmla="*/ 2147483646 h 614"/>
              <a:gd name="T10" fmla="*/ 2147483646 w 612"/>
              <a:gd name="T11" fmla="*/ 2147483646 h 614"/>
              <a:gd name="T12" fmla="*/ 2147483646 w 612"/>
              <a:gd name="T13" fmla="*/ 2147483646 h 614"/>
              <a:gd name="T14" fmla="*/ 2147483646 w 612"/>
              <a:gd name="T15" fmla="*/ 2147483646 h 614"/>
              <a:gd name="T16" fmla="*/ 2147483646 w 612"/>
              <a:gd name="T17" fmla="*/ 2147483646 h 6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12" h="614" extrusionOk="0">
                <a:moveTo>
                  <a:pt x="612" y="147"/>
                </a:moveTo>
                <a:cubicBezTo>
                  <a:pt x="556" y="56"/>
                  <a:pt x="457" y="0"/>
                  <a:pt x="350" y="0"/>
                </a:cubicBezTo>
                <a:cubicBezTo>
                  <a:pt x="296" y="0"/>
                  <a:pt x="243" y="14"/>
                  <a:pt x="197" y="41"/>
                </a:cubicBezTo>
                <a:cubicBezTo>
                  <a:pt x="50" y="126"/>
                  <a:pt x="0" y="314"/>
                  <a:pt x="84" y="460"/>
                </a:cubicBezTo>
                <a:cubicBezTo>
                  <a:pt x="139" y="555"/>
                  <a:pt x="241" y="614"/>
                  <a:pt x="350" y="614"/>
                </a:cubicBezTo>
                <a:cubicBezTo>
                  <a:pt x="350" y="614"/>
                  <a:pt x="350" y="614"/>
                  <a:pt x="350" y="614"/>
                </a:cubicBezTo>
                <a:cubicBezTo>
                  <a:pt x="404" y="614"/>
                  <a:pt x="457" y="600"/>
                  <a:pt x="504" y="573"/>
                </a:cubicBezTo>
                <a:cubicBezTo>
                  <a:pt x="548" y="547"/>
                  <a:pt x="585" y="511"/>
                  <a:pt x="612" y="467"/>
                </a:cubicBezTo>
                <a:cubicBezTo>
                  <a:pt x="558" y="368"/>
                  <a:pt x="558" y="246"/>
                  <a:pt x="612" y="147"/>
                </a:cubicBezTo>
                <a:close/>
              </a:path>
            </a:pathLst>
          </a:custGeom>
          <a:gradFill>
            <a:gsLst>
              <a:gs pos="0">
                <a:schemeClr val="accent6">
                  <a:lumMod val="10000"/>
                </a:schemeClr>
              </a:gs>
              <a:gs pos="100000">
                <a:schemeClr val="accent6">
                  <a:lumMod val="25000"/>
                </a:schemeClr>
              </a:gs>
            </a:gsLst>
          </a:gradFill>
          <a:ln>
            <a:noFill/>
          </a:ln>
          <a:effectLst/>
        </p:spPr>
        <p:style>
          <a:lnRef idx="1">
            <a:schemeClr val="dk1"/>
          </a:lnRef>
          <a:fillRef idx="3">
            <a:schemeClr val="dk1"/>
          </a:fillRef>
          <a:effectRef idx="2">
            <a:schemeClr val="dk1"/>
          </a:effectRef>
          <a:fontRef idx="minor">
            <a:schemeClr val="lt1"/>
          </a:fontRef>
        </p:style>
        <p:txBody>
          <a:bodyPr rtlCol="0" anchor="ctr"/>
          <a:lstStyle/>
          <a:p>
            <a:pPr algn="ctr" defTabSz="1219170"/>
            <a:endParaRPr lang="en-US" sz="1867">
              <a:solidFill>
                <a:prstClr val="white"/>
              </a:solidFill>
              <a:latin typeface="Arial"/>
            </a:endParaRPr>
          </a:p>
        </p:txBody>
      </p:sp>
      <p:sp>
        <p:nvSpPr>
          <p:cNvPr id="11" name="Google Shape;686;p27">
            <a:extLst>
              <a:ext uri="{FF2B5EF4-FFF2-40B4-BE49-F238E27FC236}">
                <a16:creationId xmlns:a16="http://schemas.microsoft.com/office/drawing/2014/main" id="{549037B6-8CD3-4783-AD7C-09AD53F52793}"/>
              </a:ext>
            </a:extLst>
          </p:cNvPr>
          <p:cNvSpPr txBox="1">
            <a:spLocks noChangeArrowheads="1"/>
          </p:cNvSpPr>
          <p:nvPr/>
        </p:nvSpPr>
        <p:spPr bwMode="auto">
          <a:xfrm>
            <a:off x="7038329" y="2218624"/>
            <a:ext cx="4616915" cy="1295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a:buClr>
                <a:srgbClr val="282828"/>
              </a:buClr>
              <a:buSzPts val="2400"/>
            </a:pPr>
            <a:r>
              <a:rPr lang="en-US" altLang="en-US" sz="2400" b="1" dirty="0">
                <a:solidFill>
                  <a:srgbClr val="294171"/>
                </a:solidFill>
                <a:latin typeface="Arial"/>
                <a:cs typeface="Open Sans Semibold" panose="020B0706030804020204" pitchFamily="34" charset="0"/>
                <a:sym typeface="Open Sans Semibold" panose="020B0706030804020204" pitchFamily="34" charset="0"/>
              </a:rPr>
              <a:t>ACCELERATE DEVELOPMENT</a:t>
            </a:r>
          </a:p>
          <a:p>
            <a:pPr marL="152396" indent="-152396" defTabSz="1219170">
              <a:buClr>
                <a:srgbClr val="282828"/>
              </a:buClr>
              <a:buSzPct val="100000"/>
              <a:buFont typeface="Arial" panose="020B0604020202020204" pitchFamily="34" charset="0"/>
              <a:buChar char="•"/>
            </a:pPr>
            <a:r>
              <a:rPr lang="en-US" altLang="en-US" sz="1867" dirty="0">
                <a:cs typeface="Open Sans" panose="020B0606030504020204" pitchFamily="34" charset="0"/>
                <a:sym typeface="Open Sans" panose="020B0606030504020204" pitchFamily="34" charset="0"/>
              </a:rPr>
              <a:t>Platform technologies</a:t>
            </a:r>
          </a:p>
          <a:p>
            <a:pPr marL="152396" indent="-152396" defTabSz="1219170">
              <a:buClr>
                <a:srgbClr val="282828"/>
              </a:buClr>
              <a:buSzPct val="100000"/>
              <a:buFont typeface="Arial" panose="020B0604020202020204" pitchFamily="34" charset="0"/>
              <a:buChar char="•"/>
            </a:pPr>
            <a:r>
              <a:rPr lang="en-US" altLang="en-US" sz="1867" dirty="0">
                <a:cs typeface="Open Sans" panose="020B0606030504020204" pitchFamily="34" charset="0"/>
                <a:sym typeface="Open Sans" panose="020B0606030504020204" pitchFamily="34" charset="0"/>
              </a:rPr>
              <a:t>Repurpose licensed products</a:t>
            </a:r>
          </a:p>
          <a:p>
            <a:pPr marL="152396" indent="-152396" defTabSz="1219170">
              <a:buClr>
                <a:srgbClr val="282828"/>
              </a:buClr>
              <a:buSzPct val="100000"/>
              <a:buFont typeface="Arial" panose="020B0604020202020204" pitchFamily="34" charset="0"/>
              <a:buChar char="•"/>
            </a:pPr>
            <a:r>
              <a:rPr lang="en-US" altLang="en-US" sz="1867" dirty="0">
                <a:cs typeface="Open Sans" panose="020B0606030504020204" pitchFamily="34" charset="0"/>
                <a:sym typeface="Open Sans" panose="020B0606030504020204" pitchFamily="34" charset="0"/>
              </a:rPr>
              <a:t>Parallel, not sequential activities</a:t>
            </a:r>
          </a:p>
        </p:txBody>
      </p:sp>
      <p:sp>
        <p:nvSpPr>
          <p:cNvPr id="12" name="Google Shape;686;p27">
            <a:extLst>
              <a:ext uri="{FF2B5EF4-FFF2-40B4-BE49-F238E27FC236}">
                <a16:creationId xmlns:a16="http://schemas.microsoft.com/office/drawing/2014/main" id="{1EEE41DE-65C9-4968-B688-73F8653785CD}"/>
              </a:ext>
            </a:extLst>
          </p:cNvPr>
          <p:cNvSpPr txBox="1">
            <a:spLocks noChangeArrowheads="1"/>
          </p:cNvSpPr>
          <p:nvPr/>
        </p:nvSpPr>
        <p:spPr bwMode="auto">
          <a:xfrm>
            <a:off x="7038330" y="3691971"/>
            <a:ext cx="3946625" cy="1295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a:buClr>
                <a:srgbClr val="282828"/>
              </a:buClr>
              <a:buSzPts val="2400"/>
            </a:pPr>
            <a:r>
              <a:rPr lang="en-US" altLang="en-US" sz="2400" b="1" dirty="0">
                <a:solidFill>
                  <a:srgbClr val="680000"/>
                </a:solidFill>
                <a:latin typeface="Arial"/>
                <a:cs typeface="Open Sans Semibold" panose="020B0706030804020204" pitchFamily="34" charset="0"/>
                <a:sym typeface="Open Sans Semibold" panose="020B0706030804020204" pitchFamily="34" charset="0"/>
              </a:rPr>
              <a:t>MITIGAGE RISK</a:t>
            </a:r>
          </a:p>
          <a:p>
            <a:pPr marL="152396" indent="-152396" defTabSz="1219170">
              <a:buClr>
                <a:srgbClr val="282828"/>
              </a:buClr>
              <a:buSzPct val="100000"/>
              <a:buFont typeface="Arial" panose="020B0604020202020204" pitchFamily="34" charset="0"/>
              <a:buChar char="•"/>
            </a:pPr>
            <a:r>
              <a:rPr lang="en-US" altLang="en-US" sz="1867" dirty="0">
                <a:cs typeface="Open Sans" panose="020B0606030504020204" pitchFamily="34" charset="0"/>
                <a:sym typeface="Open Sans" panose="020B0606030504020204" pitchFamily="34" charset="0"/>
              </a:rPr>
              <a:t>Multiple technologies</a:t>
            </a:r>
          </a:p>
          <a:p>
            <a:pPr marL="152396" indent="-152396" defTabSz="1219170">
              <a:buClr>
                <a:srgbClr val="282828"/>
              </a:buClr>
              <a:buSzPct val="100000"/>
              <a:buFont typeface="Arial" panose="020B0604020202020204" pitchFamily="34" charset="0"/>
              <a:buChar char="•"/>
            </a:pPr>
            <a:r>
              <a:rPr lang="en-US" altLang="en-US" sz="1867" dirty="0">
                <a:cs typeface="Open Sans" panose="020B0606030504020204" pitchFamily="34" charset="0"/>
                <a:sym typeface="Open Sans" panose="020B0606030504020204" pitchFamily="34" charset="0"/>
              </a:rPr>
              <a:t>Multiple targets</a:t>
            </a:r>
          </a:p>
          <a:p>
            <a:pPr marL="152396" indent="-152396" defTabSz="1219170">
              <a:buClr>
                <a:srgbClr val="282828"/>
              </a:buClr>
              <a:buSzPct val="100000"/>
              <a:buFont typeface="Arial" panose="020B0604020202020204" pitchFamily="34" charset="0"/>
              <a:buChar char="•"/>
            </a:pPr>
            <a:r>
              <a:rPr lang="en-US" altLang="en-US" sz="1867" dirty="0">
                <a:cs typeface="Open Sans" panose="020B0606030504020204" pitchFamily="34" charset="0"/>
                <a:sym typeface="Open Sans" panose="020B0606030504020204" pitchFamily="34" charset="0"/>
              </a:rPr>
              <a:t>Redundancy</a:t>
            </a:r>
          </a:p>
        </p:txBody>
      </p:sp>
      <p:sp>
        <p:nvSpPr>
          <p:cNvPr id="13" name="Google Shape;686;p27">
            <a:extLst>
              <a:ext uri="{FF2B5EF4-FFF2-40B4-BE49-F238E27FC236}">
                <a16:creationId xmlns:a16="http://schemas.microsoft.com/office/drawing/2014/main" id="{155FA129-771A-4CAD-8AEA-0149DAC086FF}"/>
              </a:ext>
            </a:extLst>
          </p:cNvPr>
          <p:cNvSpPr txBox="1">
            <a:spLocks noChangeArrowheads="1"/>
          </p:cNvSpPr>
          <p:nvPr/>
        </p:nvSpPr>
        <p:spPr bwMode="auto">
          <a:xfrm>
            <a:off x="7011748" y="5230419"/>
            <a:ext cx="5383453" cy="1295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defTabSz="1219170">
              <a:buClr>
                <a:srgbClr val="282828"/>
              </a:buClr>
              <a:buSzPts val="2400"/>
            </a:pPr>
            <a:r>
              <a:rPr lang="en-US" altLang="en-US" sz="2400" b="1" dirty="0">
                <a:solidFill>
                  <a:srgbClr val="B7FFFF">
                    <a:lumMod val="10000"/>
                  </a:srgbClr>
                </a:solidFill>
                <a:latin typeface="Arial"/>
                <a:cs typeface="Open Sans Semibold" panose="020B0706030804020204" pitchFamily="34" charset="0"/>
                <a:sym typeface="Open Sans Semibold" panose="020B0706030804020204" pitchFamily="34" charset="0"/>
              </a:rPr>
              <a:t>DOMESTIC MANUFACTURING</a:t>
            </a:r>
          </a:p>
          <a:p>
            <a:pPr marL="152396" indent="-152396" defTabSz="1219170">
              <a:buClr>
                <a:srgbClr val="282828"/>
              </a:buClr>
              <a:buSzPct val="100000"/>
              <a:buFont typeface="Arial" panose="020B0604020202020204" pitchFamily="34" charset="0"/>
              <a:buChar char="•"/>
            </a:pPr>
            <a:r>
              <a:rPr lang="en-US" altLang="en-US" sz="1867" dirty="0">
                <a:cs typeface="Open Sans" panose="020B0606030504020204" pitchFamily="34" charset="0"/>
                <a:sym typeface="Open Sans" panose="020B0606030504020204" pitchFamily="34" charset="0"/>
              </a:rPr>
              <a:t>Scale Up &amp; Scale Out</a:t>
            </a:r>
          </a:p>
          <a:p>
            <a:pPr marL="152396" indent="-152396" defTabSz="1219170">
              <a:buClr>
                <a:srgbClr val="282828"/>
              </a:buClr>
              <a:buSzPct val="100000"/>
              <a:buFont typeface="Arial" panose="020B0604020202020204" pitchFamily="34" charset="0"/>
              <a:buChar char="•"/>
            </a:pPr>
            <a:r>
              <a:rPr lang="en-US" altLang="en-US" sz="1867" dirty="0">
                <a:cs typeface="Open Sans" panose="020B0606030504020204" pitchFamily="34" charset="0"/>
                <a:sym typeface="Open Sans" panose="020B0606030504020204" pitchFamily="34" charset="0"/>
              </a:rPr>
              <a:t>Raw materials and supply chains</a:t>
            </a:r>
          </a:p>
          <a:p>
            <a:pPr marL="152396" indent="-152396" defTabSz="1219170">
              <a:buClr>
                <a:srgbClr val="282828"/>
              </a:buClr>
              <a:buSzPct val="100000"/>
              <a:buFont typeface="Arial" panose="020B0604020202020204" pitchFamily="34" charset="0"/>
              <a:buChar char="•"/>
            </a:pPr>
            <a:r>
              <a:rPr lang="en-US" altLang="en-US" sz="1867" dirty="0">
                <a:cs typeface="Open Sans" panose="020B0606030504020204" pitchFamily="34" charset="0"/>
                <a:sym typeface="Open Sans" panose="020B0606030504020204" pitchFamily="34" charset="0"/>
              </a:rPr>
              <a:t>Leverage existing facilities</a:t>
            </a:r>
          </a:p>
          <a:p>
            <a:pPr marL="152396" indent="-152396" defTabSz="1219170">
              <a:buClr>
                <a:srgbClr val="282828"/>
              </a:buClr>
              <a:buSzPct val="100000"/>
              <a:buFont typeface="Arial" panose="020B0604020202020204" pitchFamily="34" charset="0"/>
              <a:buChar char="•"/>
            </a:pPr>
            <a:endParaRPr lang="en-US" altLang="en-US" sz="1867" dirty="0">
              <a:cs typeface="Open Sans" panose="020B0606030504020204" pitchFamily="34" charset="0"/>
              <a:sym typeface="Open Sans" panose="020B0606030504020204" pitchFamily="34" charset="0"/>
            </a:endParaRPr>
          </a:p>
        </p:txBody>
      </p:sp>
      <p:grpSp>
        <p:nvGrpSpPr>
          <p:cNvPr id="17" name="Graphic 8">
            <a:extLst>
              <a:ext uri="{FF2B5EF4-FFF2-40B4-BE49-F238E27FC236}">
                <a16:creationId xmlns:a16="http://schemas.microsoft.com/office/drawing/2014/main" id="{B5687D7B-594B-4BDF-9BAF-19732E872E30}"/>
              </a:ext>
            </a:extLst>
          </p:cNvPr>
          <p:cNvGrpSpPr/>
          <p:nvPr/>
        </p:nvGrpSpPr>
        <p:grpSpPr>
          <a:xfrm>
            <a:off x="2013006" y="4385581"/>
            <a:ext cx="1241319" cy="1343763"/>
            <a:chOff x="2800056" y="2019038"/>
            <a:chExt cx="1745253" cy="1889284"/>
          </a:xfrm>
          <a:solidFill>
            <a:srgbClr val="00ADB4"/>
          </a:solidFill>
        </p:grpSpPr>
        <p:sp>
          <p:nvSpPr>
            <p:cNvPr id="18" name="Freeform: Shape 17">
              <a:extLst>
                <a:ext uri="{FF2B5EF4-FFF2-40B4-BE49-F238E27FC236}">
                  <a16:creationId xmlns:a16="http://schemas.microsoft.com/office/drawing/2014/main" id="{F2E43BCA-C730-46D0-B8B2-B22E25EBE3E2}"/>
                </a:ext>
              </a:extLst>
            </p:cNvPr>
            <p:cNvSpPr/>
            <p:nvPr/>
          </p:nvSpPr>
          <p:spPr>
            <a:xfrm>
              <a:off x="3681391" y="2019038"/>
              <a:ext cx="863917" cy="703421"/>
            </a:xfrm>
            <a:custGeom>
              <a:avLst/>
              <a:gdLst>
                <a:gd name="connsiteX0" fmla="*/ 110014 w 863917"/>
                <a:gd name="connsiteY0" fmla="*/ 0 h 703421"/>
                <a:gd name="connsiteX1" fmla="*/ 110014 w 863917"/>
                <a:gd name="connsiteY1" fmla="*/ 402431 h 703421"/>
                <a:gd name="connsiteX2" fmla="*/ 328613 w 863917"/>
                <a:gd name="connsiteY2" fmla="*/ 402431 h 703421"/>
                <a:gd name="connsiteX3" fmla="*/ 328613 w 863917"/>
                <a:gd name="connsiteY3" fmla="*/ 159068 h 703421"/>
                <a:gd name="connsiteX4" fmla="*/ 457200 w 863917"/>
                <a:gd name="connsiteY4" fmla="*/ 286703 h 703421"/>
                <a:gd name="connsiteX5" fmla="*/ 580073 w 863917"/>
                <a:gd name="connsiteY5" fmla="*/ 408146 h 703421"/>
                <a:gd name="connsiteX6" fmla="*/ 587693 w 863917"/>
                <a:gd name="connsiteY6" fmla="*/ 402908 h 703421"/>
                <a:gd name="connsiteX7" fmla="*/ 587693 w 863917"/>
                <a:gd name="connsiteY7" fmla="*/ 160973 h 703421"/>
                <a:gd name="connsiteX8" fmla="*/ 608648 w 863917"/>
                <a:gd name="connsiteY8" fmla="*/ 180023 h 703421"/>
                <a:gd name="connsiteX9" fmla="*/ 807244 w 863917"/>
                <a:gd name="connsiteY9" fmla="*/ 377666 h 703421"/>
                <a:gd name="connsiteX10" fmla="*/ 863918 w 863917"/>
                <a:gd name="connsiteY10" fmla="*/ 402908 h 703421"/>
                <a:gd name="connsiteX11" fmla="*/ 863918 w 863917"/>
                <a:gd name="connsiteY11" fmla="*/ 703421 h 703421"/>
                <a:gd name="connsiteX12" fmla="*/ 0 w 863917"/>
                <a:gd name="connsiteY12" fmla="*/ 703421 h 703421"/>
                <a:gd name="connsiteX13" fmla="*/ 0 w 863917"/>
                <a:gd name="connsiteY13" fmla="*/ 405289 h 703421"/>
                <a:gd name="connsiteX14" fmla="*/ 57150 w 863917"/>
                <a:gd name="connsiteY14" fmla="*/ 405289 h 703421"/>
                <a:gd name="connsiteX15" fmla="*/ 57150 w 863917"/>
                <a:gd name="connsiteY15" fmla="*/ 476 h 703421"/>
                <a:gd name="connsiteX16" fmla="*/ 110014 w 863917"/>
                <a:gd name="connsiteY16" fmla="*/ 0 h 703421"/>
                <a:gd name="connsiteX17" fmla="*/ 102870 w 863917"/>
                <a:gd name="connsiteY17" fmla="*/ 642461 h 703421"/>
                <a:gd name="connsiteX18" fmla="*/ 165259 w 863917"/>
                <a:gd name="connsiteY18" fmla="*/ 642461 h 703421"/>
                <a:gd name="connsiteX19" fmla="*/ 165259 w 863917"/>
                <a:gd name="connsiteY19" fmla="*/ 582454 h 703421"/>
                <a:gd name="connsiteX20" fmla="*/ 102870 w 863917"/>
                <a:gd name="connsiteY20" fmla="*/ 582454 h 703421"/>
                <a:gd name="connsiteX21" fmla="*/ 102870 w 863917"/>
                <a:gd name="connsiteY21" fmla="*/ 642461 h 703421"/>
                <a:gd name="connsiteX22" fmla="*/ 284798 w 863917"/>
                <a:gd name="connsiteY22" fmla="*/ 582454 h 703421"/>
                <a:gd name="connsiteX23" fmla="*/ 223838 w 863917"/>
                <a:gd name="connsiteY23" fmla="*/ 582454 h 703421"/>
                <a:gd name="connsiteX24" fmla="*/ 223838 w 863917"/>
                <a:gd name="connsiteY24" fmla="*/ 642938 h 703421"/>
                <a:gd name="connsiteX25" fmla="*/ 284798 w 863917"/>
                <a:gd name="connsiteY25" fmla="*/ 642938 h 703421"/>
                <a:gd name="connsiteX26" fmla="*/ 284798 w 863917"/>
                <a:gd name="connsiteY26" fmla="*/ 582454 h 703421"/>
                <a:gd name="connsiteX27" fmla="*/ 102870 w 863917"/>
                <a:gd name="connsiteY27" fmla="*/ 466249 h 703421"/>
                <a:gd name="connsiteX28" fmla="*/ 102870 w 863917"/>
                <a:gd name="connsiteY28" fmla="*/ 527209 h 703421"/>
                <a:gd name="connsiteX29" fmla="*/ 165259 w 863917"/>
                <a:gd name="connsiteY29" fmla="*/ 527209 h 703421"/>
                <a:gd name="connsiteX30" fmla="*/ 165259 w 863917"/>
                <a:gd name="connsiteY30" fmla="*/ 466249 h 703421"/>
                <a:gd name="connsiteX31" fmla="*/ 102870 w 863917"/>
                <a:gd name="connsiteY31" fmla="*/ 466249 h 703421"/>
                <a:gd name="connsiteX32" fmla="*/ 222885 w 863917"/>
                <a:gd name="connsiteY32" fmla="*/ 465773 h 703421"/>
                <a:gd name="connsiteX33" fmla="*/ 222885 w 863917"/>
                <a:gd name="connsiteY33" fmla="*/ 526733 h 703421"/>
                <a:gd name="connsiteX34" fmla="*/ 284321 w 863917"/>
                <a:gd name="connsiteY34" fmla="*/ 526733 h 703421"/>
                <a:gd name="connsiteX35" fmla="*/ 284321 w 863917"/>
                <a:gd name="connsiteY35" fmla="*/ 465773 h 703421"/>
                <a:gd name="connsiteX36" fmla="*/ 222885 w 863917"/>
                <a:gd name="connsiteY36" fmla="*/ 465773 h 703421"/>
                <a:gd name="connsiteX37" fmla="*/ 760572 w 863917"/>
                <a:gd name="connsiteY37" fmla="*/ 581978 h 703421"/>
                <a:gd name="connsiteX38" fmla="*/ 700564 w 863917"/>
                <a:gd name="connsiteY38" fmla="*/ 581978 h 703421"/>
                <a:gd name="connsiteX39" fmla="*/ 700564 w 863917"/>
                <a:gd name="connsiteY39" fmla="*/ 642938 h 703421"/>
                <a:gd name="connsiteX40" fmla="*/ 760572 w 863917"/>
                <a:gd name="connsiteY40" fmla="*/ 642938 h 703421"/>
                <a:gd name="connsiteX41" fmla="*/ 760572 w 863917"/>
                <a:gd name="connsiteY41" fmla="*/ 581978 h 703421"/>
                <a:gd name="connsiteX42" fmla="*/ 581501 w 863917"/>
                <a:gd name="connsiteY42" fmla="*/ 581978 h 703421"/>
                <a:gd name="connsiteX43" fmla="*/ 581501 w 863917"/>
                <a:gd name="connsiteY43" fmla="*/ 643414 h 703421"/>
                <a:gd name="connsiteX44" fmla="*/ 640556 w 863917"/>
                <a:gd name="connsiteY44" fmla="*/ 643414 h 703421"/>
                <a:gd name="connsiteX45" fmla="*/ 640556 w 863917"/>
                <a:gd name="connsiteY45" fmla="*/ 581978 h 703421"/>
                <a:gd name="connsiteX46" fmla="*/ 581501 w 863917"/>
                <a:gd name="connsiteY46" fmla="*/ 581978 h 703421"/>
                <a:gd name="connsiteX47" fmla="*/ 522446 w 863917"/>
                <a:gd name="connsiteY47" fmla="*/ 582454 h 703421"/>
                <a:gd name="connsiteX48" fmla="*/ 462439 w 863917"/>
                <a:gd name="connsiteY48" fmla="*/ 582454 h 703421"/>
                <a:gd name="connsiteX49" fmla="*/ 462439 w 863917"/>
                <a:gd name="connsiteY49" fmla="*/ 642938 h 703421"/>
                <a:gd name="connsiteX50" fmla="*/ 522446 w 863917"/>
                <a:gd name="connsiteY50" fmla="*/ 642938 h 703421"/>
                <a:gd name="connsiteX51" fmla="*/ 522446 w 863917"/>
                <a:gd name="connsiteY51" fmla="*/ 582454 h 703421"/>
                <a:gd name="connsiteX52" fmla="*/ 403384 w 863917"/>
                <a:gd name="connsiteY52" fmla="*/ 583406 h 703421"/>
                <a:gd name="connsiteX53" fmla="*/ 342900 w 863917"/>
                <a:gd name="connsiteY53" fmla="*/ 583406 h 703421"/>
                <a:gd name="connsiteX54" fmla="*/ 342900 w 863917"/>
                <a:gd name="connsiteY54" fmla="*/ 642461 h 703421"/>
                <a:gd name="connsiteX55" fmla="*/ 403384 w 863917"/>
                <a:gd name="connsiteY55" fmla="*/ 642461 h 703421"/>
                <a:gd name="connsiteX56" fmla="*/ 403384 w 863917"/>
                <a:gd name="connsiteY56" fmla="*/ 583406 h 703421"/>
                <a:gd name="connsiteX57" fmla="*/ 342424 w 863917"/>
                <a:gd name="connsiteY57" fmla="*/ 527209 h 703421"/>
                <a:gd name="connsiteX58" fmla="*/ 403384 w 863917"/>
                <a:gd name="connsiteY58" fmla="*/ 527209 h 703421"/>
                <a:gd name="connsiteX59" fmla="*/ 403384 w 863917"/>
                <a:gd name="connsiteY59" fmla="*/ 466249 h 703421"/>
                <a:gd name="connsiteX60" fmla="*/ 342424 w 863917"/>
                <a:gd name="connsiteY60" fmla="*/ 466249 h 703421"/>
                <a:gd name="connsiteX61" fmla="*/ 342424 w 863917"/>
                <a:gd name="connsiteY61" fmla="*/ 527209 h 703421"/>
                <a:gd name="connsiteX62" fmla="*/ 581978 w 863917"/>
                <a:gd name="connsiteY62" fmla="*/ 465296 h 703421"/>
                <a:gd name="connsiteX63" fmla="*/ 581978 w 863917"/>
                <a:gd name="connsiteY63" fmla="*/ 527685 h 703421"/>
                <a:gd name="connsiteX64" fmla="*/ 641033 w 863917"/>
                <a:gd name="connsiteY64" fmla="*/ 527685 h 703421"/>
                <a:gd name="connsiteX65" fmla="*/ 641033 w 863917"/>
                <a:gd name="connsiteY65" fmla="*/ 465296 h 703421"/>
                <a:gd name="connsiteX66" fmla="*/ 581978 w 863917"/>
                <a:gd name="connsiteY66" fmla="*/ 465296 h 703421"/>
                <a:gd name="connsiteX67" fmla="*/ 700564 w 863917"/>
                <a:gd name="connsiteY67" fmla="*/ 465773 h 703421"/>
                <a:gd name="connsiteX68" fmla="*/ 700564 w 863917"/>
                <a:gd name="connsiteY68" fmla="*/ 527209 h 703421"/>
                <a:gd name="connsiteX69" fmla="*/ 760095 w 863917"/>
                <a:gd name="connsiteY69" fmla="*/ 527209 h 703421"/>
                <a:gd name="connsiteX70" fmla="*/ 760095 w 863917"/>
                <a:gd name="connsiteY70" fmla="*/ 465773 h 703421"/>
                <a:gd name="connsiteX71" fmla="*/ 700564 w 863917"/>
                <a:gd name="connsiteY71" fmla="*/ 465773 h 703421"/>
                <a:gd name="connsiteX72" fmla="*/ 462439 w 863917"/>
                <a:gd name="connsiteY72" fmla="*/ 465773 h 703421"/>
                <a:gd name="connsiteX73" fmla="*/ 462439 w 863917"/>
                <a:gd name="connsiteY73" fmla="*/ 527209 h 703421"/>
                <a:gd name="connsiteX74" fmla="*/ 521970 w 863917"/>
                <a:gd name="connsiteY74" fmla="*/ 527209 h 703421"/>
                <a:gd name="connsiteX75" fmla="*/ 521970 w 863917"/>
                <a:gd name="connsiteY75" fmla="*/ 465773 h 703421"/>
                <a:gd name="connsiteX76" fmla="*/ 462439 w 863917"/>
                <a:gd name="connsiteY76" fmla="*/ 465773 h 703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863917" h="703421">
                  <a:moveTo>
                    <a:pt x="110014" y="0"/>
                  </a:moveTo>
                  <a:cubicBezTo>
                    <a:pt x="110014" y="133350"/>
                    <a:pt x="110014" y="267176"/>
                    <a:pt x="110014" y="402431"/>
                  </a:cubicBezTo>
                  <a:cubicBezTo>
                    <a:pt x="183833" y="402431"/>
                    <a:pt x="254794" y="402431"/>
                    <a:pt x="328613" y="402431"/>
                  </a:cubicBezTo>
                  <a:cubicBezTo>
                    <a:pt x="328613" y="323374"/>
                    <a:pt x="328613" y="244793"/>
                    <a:pt x="328613" y="159068"/>
                  </a:cubicBezTo>
                  <a:cubicBezTo>
                    <a:pt x="374809" y="204788"/>
                    <a:pt x="415766" y="245745"/>
                    <a:pt x="457200" y="286703"/>
                  </a:cubicBezTo>
                  <a:cubicBezTo>
                    <a:pt x="498158" y="327184"/>
                    <a:pt x="539115" y="368141"/>
                    <a:pt x="580073" y="408146"/>
                  </a:cubicBezTo>
                  <a:cubicBezTo>
                    <a:pt x="582454" y="406241"/>
                    <a:pt x="585311" y="404813"/>
                    <a:pt x="587693" y="402908"/>
                  </a:cubicBezTo>
                  <a:cubicBezTo>
                    <a:pt x="587693" y="324326"/>
                    <a:pt x="587693" y="245745"/>
                    <a:pt x="587693" y="160973"/>
                  </a:cubicBezTo>
                  <a:cubicBezTo>
                    <a:pt x="597694" y="170021"/>
                    <a:pt x="603409" y="174784"/>
                    <a:pt x="608648" y="180023"/>
                  </a:cubicBezTo>
                  <a:cubicBezTo>
                    <a:pt x="674847" y="245745"/>
                    <a:pt x="741522" y="311468"/>
                    <a:pt x="807244" y="377666"/>
                  </a:cubicBezTo>
                  <a:cubicBezTo>
                    <a:pt x="822960" y="393383"/>
                    <a:pt x="836772" y="411956"/>
                    <a:pt x="863918" y="402908"/>
                  </a:cubicBezTo>
                  <a:cubicBezTo>
                    <a:pt x="863918" y="504825"/>
                    <a:pt x="863918" y="603409"/>
                    <a:pt x="863918" y="703421"/>
                  </a:cubicBezTo>
                  <a:cubicBezTo>
                    <a:pt x="576263" y="703421"/>
                    <a:pt x="289084" y="703421"/>
                    <a:pt x="0" y="703421"/>
                  </a:cubicBezTo>
                  <a:cubicBezTo>
                    <a:pt x="0" y="604838"/>
                    <a:pt x="0" y="506254"/>
                    <a:pt x="0" y="405289"/>
                  </a:cubicBezTo>
                  <a:cubicBezTo>
                    <a:pt x="17145" y="405289"/>
                    <a:pt x="35242" y="405289"/>
                    <a:pt x="57150" y="405289"/>
                  </a:cubicBezTo>
                  <a:cubicBezTo>
                    <a:pt x="57150" y="268605"/>
                    <a:pt x="57150" y="134303"/>
                    <a:pt x="57150" y="476"/>
                  </a:cubicBezTo>
                  <a:cubicBezTo>
                    <a:pt x="75248" y="0"/>
                    <a:pt x="92869" y="0"/>
                    <a:pt x="110014" y="0"/>
                  </a:cubicBezTo>
                  <a:close/>
                  <a:moveTo>
                    <a:pt x="102870" y="642461"/>
                  </a:moveTo>
                  <a:cubicBezTo>
                    <a:pt x="124778" y="642461"/>
                    <a:pt x="144780" y="642461"/>
                    <a:pt x="165259" y="642461"/>
                  </a:cubicBezTo>
                  <a:cubicBezTo>
                    <a:pt x="165259" y="621506"/>
                    <a:pt x="165259" y="602933"/>
                    <a:pt x="165259" y="582454"/>
                  </a:cubicBezTo>
                  <a:cubicBezTo>
                    <a:pt x="143828" y="582454"/>
                    <a:pt x="124301" y="582454"/>
                    <a:pt x="102870" y="582454"/>
                  </a:cubicBezTo>
                  <a:cubicBezTo>
                    <a:pt x="102870" y="602933"/>
                    <a:pt x="102870" y="621506"/>
                    <a:pt x="102870" y="642461"/>
                  </a:cubicBezTo>
                  <a:close/>
                  <a:moveTo>
                    <a:pt x="284798" y="582454"/>
                  </a:moveTo>
                  <a:cubicBezTo>
                    <a:pt x="262890" y="582454"/>
                    <a:pt x="243840" y="582454"/>
                    <a:pt x="223838" y="582454"/>
                  </a:cubicBezTo>
                  <a:cubicBezTo>
                    <a:pt x="223838" y="603885"/>
                    <a:pt x="223838" y="623888"/>
                    <a:pt x="223838" y="642938"/>
                  </a:cubicBezTo>
                  <a:cubicBezTo>
                    <a:pt x="245269" y="642938"/>
                    <a:pt x="264795" y="642938"/>
                    <a:pt x="284798" y="642938"/>
                  </a:cubicBezTo>
                  <a:cubicBezTo>
                    <a:pt x="284798" y="621983"/>
                    <a:pt x="284798" y="603409"/>
                    <a:pt x="284798" y="582454"/>
                  </a:cubicBezTo>
                  <a:close/>
                  <a:moveTo>
                    <a:pt x="102870" y="466249"/>
                  </a:moveTo>
                  <a:cubicBezTo>
                    <a:pt x="102870" y="487204"/>
                    <a:pt x="102870" y="506254"/>
                    <a:pt x="102870" y="527209"/>
                  </a:cubicBezTo>
                  <a:cubicBezTo>
                    <a:pt x="124301" y="527209"/>
                    <a:pt x="143828" y="527209"/>
                    <a:pt x="165259" y="527209"/>
                  </a:cubicBezTo>
                  <a:cubicBezTo>
                    <a:pt x="165259" y="506254"/>
                    <a:pt x="165259" y="487204"/>
                    <a:pt x="165259" y="466249"/>
                  </a:cubicBezTo>
                  <a:cubicBezTo>
                    <a:pt x="143828" y="466249"/>
                    <a:pt x="123825" y="466249"/>
                    <a:pt x="102870" y="466249"/>
                  </a:cubicBezTo>
                  <a:close/>
                  <a:moveTo>
                    <a:pt x="222885" y="465773"/>
                  </a:moveTo>
                  <a:cubicBezTo>
                    <a:pt x="222885" y="486728"/>
                    <a:pt x="222885" y="506254"/>
                    <a:pt x="222885" y="526733"/>
                  </a:cubicBezTo>
                  <a:cubicBezTo>
                    <a:pt x="244316" y="526733"/>
                    <a:pt x="263843" y="526733"/>
                    <a:pt x="284321" y="526733"/>
                  </a:cubicBezTo>
                  <a:cubicBezTo>
                    <a:pt x="284321" y="505301"/>
                    <a:pt x="284321" y="486251"/>
                    <a:pt x="284321" y="465773"/>
                  </a:cubicBezTo>
                  <a:cubicBezTo>
                    <a:pt x="263843" y="465773"/>
                    <a:pt x="245269" y="465773"/>
                    <a:pt x="222885" y="465773"/>
                  </a:cubicBezTo>
                  <a:close/>
                  <a:moveTo>
                    <a:pt x="760572" y="581978"/>
                  </a:moveTo>
                  <a:cubicBezTo>
                    <a:pt x="739140" y="581978"/>
                    <a:pt x="720566" y="581978"/>
                    <a:pt x="700564" y="581978"/>
                  </a:cubicBezTo>
                  <a:cubicBezTo>
                    <a:pt x="700564" y="602456"/>
                    <a:pt x="700564" y="621983"/>
                    <a:pt x="700564" y="642938"/>
                  </a:cubicBezTo>
                  <a:cubicBezTo>
                    <a:pt x="720566" y="642938"/>
                    <a:pt x="739616" y="642938"/>
                    <a:pt x="760572" y="642938"/>
                  </a:cubicBezTo>
                  <a:cubicBezTo>
                    <a:pt x="760572" y="622459"/>
                    <a:pt x="760572" y="603409"/>
                    <a:pt x="760572" y="581978"/>
                  </a:cubicBezTo>
                  <a:close/>
                  <a:moveTo>
                    <a:pt x="581501" y="581978"/>
                  </a:moveTo>
                  <a:cubicBezTo>
                    <a:pt x="581501" y="603885"/>
                    <a:pt x="581501" y="623411"/>
                    <a:pt x="581501" y="643414"/>
                  </a:cubicBezTo>
                  <a:cubicBezTo>
                    <a:pt x="601980" y="643414"/>
                    <a:pt x="621506" y="643414"/>
                    <a:pt x="640556" y="643414"/>
                  </a:cubicBezTo>
                  <a:cubicBezTo>
                    <a:pt x="640556" y="621983"/>
                    <a:pt x="640556" y="602456"/>
                    <a:pt x="640556" y="581978"/>
                  </a:cubicBezTo>
                  <a:cubicBezTo>
                    <a:pt x="620554" y="581978"/>
                    <a:pt x="601980" y="581978"/>
                    <a:pt x="581501" y="581978"/>
                  </a:cubicBezTo>
                  <a:close/>
                  <a:moveTo>
                    <a:pt x="522446" y="582454"/>
                  </a:moveTo>
                  <a:cubicBezTo>
                    <a:pt x="500539" y="582454"/>
                    <a:pt x="481489" y="582454"/>
                    <a:pt x="462439" y="582454"/>
                  </a:cubicBezTo>
                  <a:cubicBezTo>
                    <a:pt x="462439" y="603885"/>
                    <a:pt x="462439" y="622935"/>
                    <a:pt x="462439" y="642938"/>
                  </a:cubicBezTo>
                  <a:cubicBezTo>
                    <a:pt x="483394" y="642938"/>
                    <a:pt x="502444" y="642938"/>
                    <a:pt x="522446" y="642938"/>
                  </a:cubicBezTo>
                  <a:cubicBezTo>
                    <a:pt x="522446" y="622459"/>
                    <a:pt x="522446" y="602933"/>
                    <a:pt x="522446" y="582454"/>
                  </a:cubicBezTo>
                  <a:close/>
                  <a:moveTo>
                    <a:pt x="403384" y="583406"/>
                  </a:moveTo>
                  <a:cubicBezTo>
                    <a:pt x="381000" y="583406"/>
                    <a:pt x="361950" y="583406"/>
                    <a:pt x="342900" y="583406"/>
                  </a:cubicBezTo>
                  <a:cubicBezTo>
                    <a:pt x="342900" y="604838"/>
                    <a:pt x="342900" y="623411"/>
                    <a:pt x="342900" y="642461"/>
                  </a:cubicBezTo>
                  <a:cubicBezTo>
                    <a:pt x="363855" y="642461"/>
                    <a:pt x="383858" y="642461"/>
                    <a:pt x="403384" y="642461"/>
                  </a:cubicBezTo>
                  <a:cubicBezTo>
                    <a:pt x="403384" y="621506"/>
                    <a:pt x="403384" y="602933"/>
                    <a:pt x="403384" y="583406"/>
                  </a:cubicBezTo>
                  <a:close/>
                  <a:moveTo>
                    <a:pt x="342424" y="527209"/>
                  </a:moveTo>
                  <a:cubicBezTo>
                    <a:pt x="364808" y="527209"/>
                    <a:pt x="383858" y="527209"/>
                    <a:pt x="403384" y="527209"/>
                  </a:cubicBezTo>
                  <a:cubicBezTo>
                    <a:pt x="403384" y="506254"/>
                    <a:pt x="403384" y="486728"/>
                    <a:pt x="403384" y="466249"/>
                  </a:cubicBezTo>
                  <a:cubicBezTo>
                    <a:pt x="382429" y="466249"/>
                    <a:pt x="362426" y="466249"/>
                    <a:pt x="342424" y="466249"/>
                  </a:cubicBezTo>
                  <a:cubicBezTo>
                    <a:pt x="342424" y="487204"/>
                    <a:pt x="342424" y="506730"/>
                    <a:pt x="342424" y="527209"/>
                  </a:cubicBezTo>
                  <a:close/>
                  <a:moveTo>
                    <a:pt x="581978" y="465296"/>
                  </a:moveTo>
                  <a:cubicBezTo>
                    <a:pt x="581978" y="487680"/>
                    <a:pt x="581978" y="507683"/>
                    <a:pt x="581978" y="527685"/>
                  </a:cubicBezTo>
                  <a:cubicBezTo>
                    <a:pt x="602933" y="527685"/>
                    <a:pt x="621506" y="527685"/>
                    <a:pt x="641033" y="527685"/>
                  </a:cubicBezTo>
                  <a:cubicBezTo>
                    <a:pt x="641033" y="506254"/>
                    <a:pt x="641033" y="486251"/>
                    <a:pt x="641033" y="465296"/>
                  </a:cubicBezTo>
                  <a:cubicBezTo>
                    <a:pt x="621030" y="465296"/>
                    <a:pt x="602456" y="465296"/>
                    <a:pt x="581978" y="465296"/>
                  </a:cubicBezTo>
                  <a:close/>
                  <a:moveTo>
                    <a:pt x="700564" y="465773"/>
                  </a:moveTo>
                  <a:cubicBezTo>
                    <a:pt x="700564" y="488156"/>
                    <a:pt x="700564" y="507683"/>
                    <a:pt x="700564" y="527209"/>
                  </a:cubicBezTo>
                  <a:cubicBezTo>
                    <a:pt x="721519" y="527209"/>
                    <a:pt x="740569" y="527209"/>
                    <a:pt x="760095" y="527209"/>
                  </a:cubicBezTo>
                  <a:cubicBezTo>
                    <a:pt x="760095" y="505778"/>
                    <a:pt x="760095" y="485775"/>
                    <a:pt x="760095" y="465773"/>
                  </a:cubicBezTo>
                  <a:cubicBezTo>
                    <a:pt x="739616" y="465773"/>
                    <a:pt x="721043" y="465773"/>
                    <a:pt x="700564" y="465773"/>
                  </a:cubicBezTo>
                  <a:close/>
                  <a:moveTo>
                    <a:pt x="462439" y="465773"/>
                  </a:moveTo>
                  <a:cubicBezTo>
                    <a:pt x="462439" y="487204"/>
                    <a:pt x="462439" y="507206"/>
                    <a:pt x="462439" y="527209"/>
                  </a:cubicBezTo>
                  <a:cubicBezTo>
                    <a:pt x="483394" y="527209"/>
                    <a:pt x="502444" y="527209"/>
                    <a:pt x="521970" y="527209"/>
                  </a:cubicBezTo>
                  <a:cubicBezTo>
                    <a:pt x="521970" y="505301"/>
                    <a:pt x="521970" y="485299"/>
                    <a:pt x="521970" y="465773"/>
                  </a:cubicBezTo>
                  <a:cubicBezTo>
                    <a:pt x="501015" y="465773"/>
                    <a:pt x="482441" y="465773"/>
                    <a:pt x="462439" y="465773"/>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19" name="Freeform: Shape 18">
              <a:extLst>
                <a:ext uri="{FF2B5EF4-FFF2-40B4-BE49-F238E27FC236}">
                  <a16:creationId xmlns:a16="http://schemas.microsoft.com/office/drawing/2014/main" id="{271EDA86-8AEF-4FBB-91BC-B55639FCD6A7}"/>
                </a:ext>
              </a:extLst>
            </p:cNvPr>
            <p:cNvSpPr/>
            <p:nvPr/>
          </p:nvSpPr>
          <p:spPr>
            <a:xfrm>
              <a:off x="2800056" y="2978205"/>
              <a:ext cx="663212" cy="538167"/>
            </a:xfrm>
            <a:custGeom>
              <a:avLst/>
              <a:gdLst>
                <a:gd name="connsiteX0" fmla="*/ 270783 w 663212"/>
                <a:gd name="connsiteY0" fmla="*/ 439579 h 538167"/>
                <a:gd name="connsiteX1" fmla="*/ 162674 w 663212"/>
                <a:gd name="connsiteY1" fmla="*/ 537686 h 538167"/>
                <a:gd name="connsiteX2" fmla="*/ 70758 w 663212"/>
                <a:gd name="connsiteY2" fmla="*/ 438150 h 538167"/>
                <a:gd name="connsiteX3" fmla="*/ 22180 w 663212"/>
                <a:gd name="connsiteY3" fmla="*/ 437198 h 538167"/>
                <a:gd name="connsiteX4" fmla="*/ 273 w 663212"/>
                <a:gd name="connsiteY4" fmla="*/ 420529 h 538167"/>
                <a:gd name="connsiteX5" fmla="*/ 10750 w 663212"/>
                <a:gd name="connsiteY5" fmla="*/ 397193 h 538167"/>
                <a:gd name="connsiteX6" fmla="*/ 22180 w 663212"/>
                <a:gd name="connsiteY6" fmla="*/ 372904 h 538167"/>
                <a:gd name="connsiteX7" fmla="*/ 25990 w 663212"/>
                <a:gd name="connsiteY7" fmla="*/ 228600 h 538167"/>
                <a:gd name="connsiteX8" fmla="*/ 45040 w 663212"/>
                <a:gd name="connsiteY8" fmla="*/ 187643 h 538167"/>
                <a:gd name="connsiteX9" fmla="*/ 116001 w 663212"/>
                <a:gd name="connsiteY9" fmla="*/ 117634 h 538167"/>
                <a:gd name="connsiteX10" fmla="*/ 165055 w 663212"/>
                <a:gd name="connsiteY10" fmla="*/ 98584 h 538167"/>
                <a:gd name="connsiteX11" fmla="*/ 221253 w 663212"/>
                <a:gd name="connsiteY11" fmla="*/ 98108 h 538167"/>
                <a:gd name="connsiteX12" fmla="*/ 221253 w 663212"/>
                <a:gd name="connsiteY12" fmla="*/ 29528 h 538167"/>
                <a:gd name="connsiteX13" fmla="*/ 249828 w 663212"/>
                <a:gd name="connsiteY13" fmla="*/ 0 h 538167"/>
                <a:gd name="connsiteX14" fmla="*/ 634638 w 663212"/>
                <a:gd name="connsiteY14" fmla="*/ 0 h 538167"/>
                <a:gd name="connsiteX15" fmla="*/ 663213 w 663212"/>
                <a:gd name="connsiteY15" fmla="*/ 32385 h 538167"/>
                <a:gd name="connsiteX16" fmla="*/ 663213 w 663212"/>
                <a:gd name="connsiteY16" fmla="*/ 410051 h 538167"/>
                <a:gd name="connsiteX17" fmla="*/ 634638 w 663212"/>
                <a:gd name="connsiteY17" fmla="*/ 438626 h 538167"/>
                <a:gd name="connsiteX18" fmla="*/ 610825 w 663212"/>
                <a:gd name="connsiteY18" fmla="*/ 458629 h 538167"/>
                <a:gd name="connsiteX19" fmla="*/ 517956 w 663212"/>
                <a:gd name="connsiteY19" fmla="*/ 538163 h 538167"/>
                <a:gd name="connsiteX20" fmla="*/ 422230 w 663212"/>
                <a:gd name="connsiteY20" fmla="*/ 459581 h 538167"/>
                <a:gd name="connsiteX21" fmla="*/ 396513 w 663212"/>
                <a:gd name="connsiteY21" fmla="*/ 438626 h 538167"/>
                <a:gd name="connsiteX22" fmla="*/ 277926 w 663212"/>
                <a:gd name="connsiteY22" fmla="*/ 439103 h 538167"/>
                <a:gd name="connsiteX23" fmla="*/ 270783 w 663212"/>
                <a:gd name="connsiteY23" fmla="*/ 439579 h 538167"/>
                <a:gd name="connsiteX24" fmla="*/ 65995 w 663212"/>
                <a:gd name="connsiteY24" fmla="*/ 245269 h 538167"/>
                <a:gd name="connsiteX25" fmla="*/ 220300 w 663212"/>
                <a:gd name="connsiteY25" fmla="*/ 245269 h 538167"/>
                <a:gd name="connsiteX26" fmla="*/ 220300 w 663212"/>
                <a:gd name="connsiteY26" fmla="*/ 141446 h 538167"/>
                <a:gd name="connsiteX27" fmla="*/ 140766 w 663212"/>
                <a:gd name="connsiteY27" fmla="*/ 155258 h 538167"/>
                <a:gd name="connsiteX28" fmla="*/ 65995 w 663212"/>
                <a:gd name="connsiteY28" fmla="*/ 245269 h 538167"/>
                <a:gd name="connsiteX29" fmla="*/ 169818 w 663212"/>
                <a:gd name="connsiteY29" fmla="*/ 491490 h 538167"/>
                <a:gd name="connsiteX30" fmla="*/ 221729 w 663212"/>
                <a:gd name="connsiteY30" fmla="*/ 441960 h 538167"/>
                <a:gd name="connsiteX31" fmla="*/ 169341 w 663212"/>
                <a:gd name="connsiteY31" fmla="*/ 389573 h 538167"/>
                <a:gd name="connsiteX32" fmla="*/ 118383 w 663212"/>
                <a:gd name="connsiteY32" fmla="*/ 441008 h 538167"/>
                <a:gd name="connsiteX33" fmla="*/ 169818 w 663212"/>
                <a:gd name="connsiteY33" fmla="*/ 491490 h 538167"/>
                <a:gd name="connsiteX34" fmla="*/ 567963 w 663212"/>
                <a:gd name="connsiteY34" fmla="*/ 441960 h 538167"/>
                <a:gd name="connsiteX35" fmla="*/ 517956 w 663212"/>
                <a:gd name="connsiteY35" fmla="*/ 390049 h 538167"/>
                <a:gd name="connsiteX36" fmla="*/ 464616 w 663212"/>
                <a:gd name="connsiteY36" fmla="*/ 441484 h 538167"/>
                <a:gd name="connsiteX37" fmla="*/ 516528 w 663212"/>
                <a:gd name="connsiteY37" fmla="*/ 491490 h 538167"/>
                <a:gd name="connsiteX38" fmla="*/ 567963 w 663212"/>
                <a:gd name="connsiteY38" fmla="*/ 441960 h 53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63212" h="538167">
                  <a:moveTo>
                    <a:pt x="270783" y="439579"/>
                  </a:moveTo>
                  <a:cubicBezTo>
                    <a:pt x="243160" y="515303"/>
                    <a:pt x="214109" y="541496"/>
                    <a:pt x="162674" y="537686"/>
                  </a:cubicBezTo>
                  <a:cubicBezTo>
                    <a:pt x="114573" y="533876"/>
                    <a:pt x="83616" y="501015"/>
                    <a:pt x="70758" y="438150"/>
                  </a:cubicBezTo>
                  <a:cubicBezTo>
                    <a:pt x="55041" y="438150"/>
                    <a:pt x="38373" y="440055"/>
                    <a:pt x="22180" y="437198"/>
                  </a:cubicBezTo>
                  <a:cubicBezTo>
                    <a:pt x="14084" y="435769"/>
                    <a:pt x="3130" y="428149"/>
                    <a:pt x="273" y="420529"/>
                  </a:cubicBezTo>
                  <a:cubicBezTo>
                    <a:pt x="-1632" y="414814"/>
                    <a:pt x="6940" y="404813"/>
                    <a:pt x="10750" y="397193"/>
                  </a:cubicBezTo>
                  <a:cubicBezTo>
                    <a:pt x="14560" y="389096"/>
                    <a:pt x="21704" y="381476"/>
                    <a:pt x="22180" y="372904"/>
                  </a:cubicBezTo>
                  <a:cubicBezTo>
                    <a:pt x="24085" y="324803"/>
                    <a:pt x="22656" y="276225"/>
                    <a:pt x="25990" y="228600"/>
                  </a:cubicBezTo>
                  <a:cubicBezTo>
                    <a:pt x="26943" y="214313"/>
                    <a:pt x="35515" y="198596"/>
                    <a:pt x="45040" y="187643"/>
                  </a:cubicBezTo>
                  <a:cubicBezTo>
                    <a:pt x="66948" y="162878"/>
                    <a:pt x="90284" y="138589"/>
                    <a:pt x="116001" y="117634"/>
                  </a:cubicBezTo>
                  <a:cubicBezTo>
                    <a:pt x="128860" y="107156"/>
                    <a:pt x="147910" y="101918"/>
                    <a:pt x="165055" y="98584"/>
                  </a:cubicBezTo>
                  <a:cubicBezTo>
                    <a:pt x="182676" y="95250"/>
                    <a:pt x="200774" y="98108"/>
                    <a:pt x="221253" y="98108"/>
                  </a:cubicBezTo>
                  <a:cubicBezTo>
                    <a:pt x="221253" y="73343"/>
                    <a:pt x="221729" y="51435"/>
                    <a:pt x="221253" y="29528"/>
                  </a:cubicBezTo>
                  <a:cubicBezTo>
                    <a:pt x="220776" y="10001"/>
                    <a:pt x="230301" y="0"/>
                    <a:pt x="249828" y="0"/>
                  </a:cubicBezTo>
                  <a:cubicBezTo>
                    <a:pt x="377939" y="0"/>
                    <a:pt x="506526" y="0"/>
                    <a:pt x="634638" y="0"/>
                  </a:cubicBezTo>
                  <a:cubicBezTo>
                    <a:pt x="656545" y="0"/>
                    <a:pt x="663213" y="12859"/>
                    <a:pt x="663213" y="32385"/>
                  </a:cubicBezTo>
                  <a:cubicBezTo>
                    <a:pt x="663213" y="158115"/>
                    <a:pt x="663213" y="283845"/>
                    <a:pt x="663213" y="410051"/>
                  </a:cubicBezTo>
                  <a:cubicBezTo>
                    <a:pt x="663213" y="429578"/>
                    <a:pt x="654164" y="439579"/>
                    <a:pt x="634638" y="438626"/>
                  </a:cubicBezTo>
                  <a:cubicBezTo>
                    <a:pt x="619874" y="437674"/>
                    <a:pt x="613206" y="441008"/>
                    <a:pt x="610825" y="458629"/>
                  </a:cubicBezTo>
                  <a:cubicBezTo>
                    <a:pt x="605586" y="502920"/>
                    <a:pt x="563200" y="537686"/>
                    <a:pt x="517956" y="538163"/>
                  </a:cubicBezTo>
                  <a:cubicBezTo>
                    <a:pt x="471284" y="538639"/>
                    <a:pt x="428421" y="505301"/>
                    <a:pt x="422230" y="459581"/>
                  </a:cubicBezTo>
                  <a:cubicBezTo>
                    <a:pt x="419849" y="441008"/>
                    <a:pt x="412229" y="438150"/>
                    <a:pt x="396513" y="438626"/>
                  </a:cubicBezTo>
                  <a:cubicBezTo>
                    <a:pt x="356984" y="439579"/>
                    <a:pt x="317455" y="439103"/>
                    <a:pt x="277926" y="439103"/>
                  </a:cubicBezTo>
                  <a:cubicBezTo>
                    <a:pt x="275069" y="438626"/>
                    <a:pt x="272688" y="439579"/>
                    <a:pt x="270783" y="439579"/>
                  </a:cubicBezTo>
                  <a:close/>
                  <a:moveTo>
                    <a:pt x="65995" y="245269"/>
                  </a:moveTo>
                  <a:cubicBezTo>
                    <a:pt x="120288" y="245269"/>
                    <a:pt x="169818" y="245269"/>
                    <a:pt x="220300" y="245269"/>
                  </a:cubicBezTo>
                  <a:cubicBezTo>
                    <a:pt x="220300" y="210979"/>
                    <a:pt x="220300" y="178118"/>
                    <a:pt x="220300" y="141446"/>
                  </a:cubicBezTo>
                  <a:cubicBezTo>
                    <a:pt x="193154" y="150019"/>
                    <a:pt x="163150" y="129540"/>
                    <a:pt x="140766" y="155258"/>
                  </a:cubicBezTo>
                  <a:cubicBezTo>
                    <a:pt x="116001" y="183356"/>
                    <a:pt x="78854" y="202406"/>
                    <a:pt x="65995" y="245269"/>
                  </a:cubicBezTo>
                  <a:close/>
                  <a:moveTo>
                    <a:pt x="169818" y="491490"/>
                  </a:moveTo>
                  <a:cubicBezTo>
                    <a:pt x="198869" y="491490"/>
                    <a:pt x="221253" y="470535"/>
                    <a:pt x="221729" y="441960"/>
                  </a:cubicBezTo>
                  <a:cubicBezTo>
                    <a:pt x="222205" y="412433"/>
                    <a:pt x="199345" y="389573"/>
                    <a:pt x="169341" y="389573"/>
                  </a:cubicBezTo>
                  <a:cubicBezTo>
                    <a:pt x="141243" y="389573"/>
                    <a:pt x="118383" y="412433"/>
                    <a:pt x="118383" y="441008"/>
                  </a:cubicBezTo>
                  <a:cubicBezTo>
                    <a:pt x="118859" y="469583"/>
                    <a:pt x="140766" y="491490"/>
                    <a:pt x="169818" y="491490"/>
                  </a:cubicBezTo>
                  <a:close/>
                  <a:moveTo>
                    <a:pt x="567963" y="441960"/>
                  </a:moveTo>
                  <a:cubicBezTo>
                    <a:pt x="568439" y="413861"/>
                    <a:pt x="545579" y="390525"/>
                    <a:pt x="517956" y="390049"/>
                  </a:cubicBezTo>
                  <a:cubicBezTo>
                    <a:pt x="489381" y="389573"/>
                    <a:pt x="464140" y="413861"/>
                    <a:pt x="464616" y="441484"/>
                  </a:cubicBezTo>
                  <a:cubicBezTo>
                    <a:pt x="465093" y="469106"/>
                    <a:pt x="487953" y="491490"/>
                    <a:pt x="516528" y="491490"/>
                  </a:cubicBezTo>
                  <a:cubicBezTo>
                    <a:pt x="545579" y="491490"/>
                    <a:pt x="567486" y="470059"/>
                    <a:pt x="567963" y="44196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0" name="Freeform: Shape 19">
              <a:extLst>
                <a:ext uri="{FF2B5EF4-FFF2-40B4-BE49-F238E27FC236}">
                  <a16:creationId xmlns:a16="http://schemas.microsoft.com/office/drawing/2014/main" id="{4D9D0361-7B10-4F92-A42D-F10F95C1235E}"/>
                </a:ext>
              </a:extLst>
            </p:cNvPr>
            <p:cNvSpPr/>
            <p:nvPr/>
          </p:nvSpPr>
          <p:spPr>
            <a:xfrm>
              <a:off x="4071440" y="3634674"/>
              <a:ext cx="310460" cy="239063"/>
            </a:xfrm>
            <a:custGeom>
              <a:avLst/>
              <a:gdLst>
                <a:gd name="connsiteX0" fmla="*/ 0 w 310460"/>
                <a:gd name="connsiteY0" fmla="*/ 152681 h 239063"/>
                <a:gd name="connsiteX1" fmla="*/ 2858 w 310460"/>
                <a:gd name="connsiteY1" fmla="*/ 96007 h 239063"/>
                <a:gd name="connsiteX2" fmla="*/ 107156 w 310460"/>
                <a:gd name="connsiteY2" fmla="*/ 1709 h 239063"/>
                <a:gd name="connsiteX3" fmla="*/ 215741 w 310460"/>
                <a:gd name="connsiteY3" fmla="*/ 5043 h 239063"/>
                <a:gd name="connsiteX4" fmla="*/ 309086 w 310460"/>
                <a:gd name="connsiteY4" fmla="*/ 109818 h 239063"/>
                <a:gd name="connsiteX5" fmla="*/ 308610 w 310460"/>
                <a:gd name="connsiteY5" fmla="*/ 197448 h 239063"/>
                <a:gd name="connsiteX6" fmla="*/ 289084 w 310460"/>
                <a:gd name="connsiteY6" fmla="*/ 218403 h 239063"/>
                <a:gd name="connsiteX7" fmla="*/ 79058 w 310460"/>
                <a:gd name="connsiteY7" fmla="*/ 230786 h 239063"/>
                <a:gd name="connsiteX8" fmla="*/ 65246 w 310460"/>
                <a:gd name="connsiteY8" fmla="*/ 228404 h 239063"/>
                <a:gd name="connsiteX9" fmla="*/ 0 w 310460"/>
                <a:gd name="connsiteY9" fmla="*/ 152681 h 239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0460" h="239063">
                  <a:moveTo>
                    <a:pt x="0" y="152681"/>
                  </a:moveTo>
                  <a:cubicBezTo>
                    <a:pt x="953" y="133631"/>
                    <a:pt x="0" y="114580"/>
                    <a:pt x="2858" y="96007"/>
                  </a:cubicBezTo>
                  <a:cubicBezTo>
                    <a:pt x="11906" y="44572"/>
                    <a:pt x="53340" y="5519"/>
                    <a:pt x="107156" y="1709"/>
                  </a:cubicBezTo>
                  <a:cubicBezTo>
                    <a:pt x="142875" y="-1148"/>
                    <a:pt x="180023" y="-672"/>
                    <a:pt x="215741" y="5043"/>
                  </a:cubicBezTo>
                  <a:cubicBezTo>
                    <a:pt x="269081" y="13139"/>
                    <a:pt x="305753" y="56478"/>
                    <a:pt x="309086" y="109818"/>
                  </a:cubicBezTo>
                  <a:cubicBezTo>
                    <a:pt x="310991" y="138869"/>
                    <a:pt x="310991" y="168397"/>
                    <a:pt x="308610" y="197448"/>
                  </a:cubicBezTo>
                  <a:cubicBezTo>
                    <a:pt x="308134" y="205068"/>
                    <a:pt x="297180" y="215546"/>
                    <a:pt x="289084" y="218403"/>
                  </a:cubicBezTo>
                  <a:cubicBezTo>
                    <a:pt x="220504" y="243644"/>
                    <a:pt x="150019" y="243168"/>
                    <a:pt x="79058" y="230786"/>
                  </a:cubicBezTo>
                  <a:cubicBezTo>
                    <a:pt x="74295" y="229833"/>
                    <a:pt x="69533" y="228881"/>
                    <a:pt x="65246" y="228404"/>
                  </a:cubicBezTo>
                  <a:cubicBezTo>
                    <a:pt x="476" y="216974"/>
                    <a:pt x="476" y="216974"/>
                    <a:pt x="0" y="152681"/>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1" name="Freeform: Shape 20">
              <a:extLst>
                <a:ext uri="{FF2B5EF4-FFF2-40B4-BE49-F238E27FC236}">
                  <a16:creationId xmlns:a16="http://schemas.microsoft.com/office/drawing/2014/main" id="{0F71AF6C-48D7-42B9-B003-E92F078C60FE}"/>
                </a:ext>
              </a:extLst>
            </p:cNvPr>
            <p:cNvSpPr/>
            <p:nvPr/>
          </p:nvSpPr>
          <p:spPr>
            <a:xfrm>
              <a:off x="3908563" y="3540412"/>
              <a:ext cx="229076" cy="239798"/>
            </a:xfrm>
            <a:custGeom>
              <a:avLst/>
              <a:gdLst>
                <a:gd name="connsiteX0" fmla="*/ 196215 w 229076"/>
                <a:gd name="connsiteY0" fmla="*/ 721 h 239798"/>
                <a:gd name="connsiteX1" fmla="*/ 229076 w 229076"/>
                <a:gd name="connsiteY1" fmla="*/ 76921 h 239798"/>
                <a:gd name="connsiteX2" fmla="*/ 136208 w 229076"/>
                <a:gd name="connsiteY2" fmla="*/ 239799 h 239798"/>
                <a:gd name="connsiteX3" fmla="*/ 0 w 229076"/>
                <a:gd name="connsiteY3" fmla="*/ 212653 h 239798"/>
                <a:gd name="connsiteX4" fmla="*/ 7144 w 229076"/>
                <a:gd name="connsiteY4" fmla="*/ 87399 h 239798"/>
                <a:gd name="connsiteX5" fmla="*/ 104775 w 229076"/>
                <a:gd name="connsiteY5" fmla="*/ 1198 h 239798"/>
                <a:gd name="connsiteX6" fmla="*/ 196215 w 229076"/>
                <a:gd name="connsiteY6" fmla="*/ 721 h 239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076" h="239798">
                  <a:moveTo>
                    <a:pt x="196215" y="721"/>
                  </a:moveTo>
                  <a:cubicBezTo>
                    <a:pt x="207645" y="27391"/>
                    <a:pt x="218123" y="51680"/>
                    <a:pt x="229076" y="76921"/>
                  </a:cubicBezTo>
                  <a:cubicBezTo>
                    <a:pt x="161449" y="105973"/>
                    <a:pt x="132874" y="160741"/>
                    <a:pt x="136208" y="239799"/>
                  </a:cubicBezTo>
                  <a:cubicBezTo>
                    <a:pt x="90011" y="230750"/>
                    <a:pt x="46673" y="222178"/>
                    <a:pt x="0" y="212653"/>
                  </a:cubicBezTo>
                  <a:cubicBezTo>
                    <a:pt x="1905" y="168838"/>
                    <a:pt x="476" y="127404"/>
                    <a:pt x="7144" y="87399"/>
                  </a:cubicBezTo>
                  <a:cubicBezTo>
                    <a:pt x="14764" y="40250"/>
                    <a:pt x="57150" y="5008"/>
                    <a:pt x="104775" y="1198"/>
                  </a:cubicBezTo>
                  <a:cubicBezTo>
                    <a:pt x="136208" y="-1184"/>
                    <a:pt x="168116" y="721"/>
                    <a:pt x="196215" y="721"/>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2" name="Freeform: Shape 21">
              <a:extLst>
                <a:ext uri="{FF2B5EF4-FFF2-40B4-BE49-F238E27FC236}">
                  <a16:creationId xmlns:a16="http://schemas.microsoft.com/office/drawing/2014/main" id="{EF123CDB-590E-4585-9AC8-3F3F71E69998}"/>
                </a:ext>
              </a:extLst>
            </p:cNvPr>
            <p:cNvSpPr/>
            <p:nvPr/>
          </p:nvSpPr>
          <p:spPr>
            <a:xfrm>
              <a:off x="4315756" y="3542071"/>
              <a:ext cx="217646" cy="240996"/>
            </a:xfrm>
            <a:custGeom>
              <a:avLst/>
              <a:gdLst>
                <a:gd name="connsiteX0" fmla="*/ 0 w 217646"/>
                <a:gd name="connsiteY0" fmla="*/ 75262 h 240996"/>
                <a:gd name="connsiteX1" fmla="*/ 30956 w 217646"/>
                <a:gd name="connsiteY1" fmla="*/ 1443 h 240996"/>
                <a:gd name="connsiteX2" fmla="*/ 125254 w 217646"/>
                <a:gd name="connsiteY2" fmla="*/ 2395 h 240996"/>
                <a:gd name="connsiteX3" fmla="*/ 217170 w 217646"/>
                <a:gd name="connsiteY3" fmla="*/ 112885 h 240996"/>
                <a:gd name="connsiteX4" fmla="*/ 216694 w 217646"/>
                <a:gd name="connsiteY4" fmla="*/ 193372 h 240996"/>
                <a:gd name="connsiteX5" fmla="*/ 204311 w 217646"/>
                <a:gd name="connsiteY5" fmla="*/ 212422 h 240996"/>
                <a:gd name="connsiteX6" fmla="*/ 90488 w 217646"/>
                <a:gd name="connsiteY6" fmla="*/ 240997 h 240996"/>
                <a:gd name="connsiteX7" fmla="*/ 0 w 217646"/>
                <a:gd name="connsiteY7" fmla="*/ 75262 h 240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7646" h="240996">
                  <a:moveTo>
                    <a:pt x="0" y="75262"/>
                  </a:moveTo>
                  <a:cubicBezTo>
                    <a:pt x="10954" y="49068"/>
                    <a:pt x="20955" y="25255"/>
                    <a:pt x="30956" y="1443"/>
                  </a:cubicBezTo>
                  <a:cubicBezTo>
                    <a:pt x="60960" y="1443"/>
                    <a:pt x="93821" y="-2367"/>
                    <a:pt x="125254" y="2395"/>
                  </a:cubicBezTo>
                  <a:cubicBezTo>
                    <a:pt x="179546" y="10968"/>
                    <a:pt x="216218" y="58117"/>
                    <a:pt x="217170" y="112885"/>
                  </a:cubicBezTo>
                  <a:cubicBezTo>
                    <a:pt x="217646" y="139555"/>
                    <a:pt x="218123" y="166702"/>
                    <a:pt x="216694" y="193372"/>
                  </a:cubicBezTo>
                  <a:cubicBezTo>
                    <a:pt x="216218" y="200039"/>
                    <a:pt x="210026" y="210993"/>
                    <a:pt x="204311" y="212422"/>
                  </a:cubicBezTo>
                  <a:cubicBezTo>
                    <a:pt x="168116" y="222423"/>
                    <a:pt x="131921" y="230995"/>
                    <a:pt x="90488" y="240997"/>
                  </a:cubicBezTo>
                  <a:cubicBezTo>
                    <a:pt x="97155" y="160034"/>
                    <a:pt x="68104" y="105265"/>
                    <a:pt x="0" y="75262"/>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3" name="Freeform: Shape 22">
              <a:extLst>
                <a:ext uri="{FF2B5EF4-FFF2-40B4-BE49-F238E27FC236}">
                  <a16:creationId xmlns:a16="http://schemas.microsoft.com/office/drawing/2014/main" id="{24D85D27-0BBC-41D1-96AC-05C7B912B401}"/>
                </a:ext>
              </a:extLst>
            </p:cNvPr>
            <p:cNvSpPr/>
            <p:nvPr/>
          </p:nvSpPr>
          <p:spPr>
            <a:xfrm>
              <a:off x="4137639" y="3444930"/>
              <a:ext cx="178133" cy="180038"/>
            </a:xfrm>
            <a:custGeom>
              <a:avLst/>
              <a:gdLst>
                <a:gd name="connsiteX0" fmla="*/ 0 w 178133"/>
                <a:gd name="connsiteY0" fmla="*/ 89535 h 180038"/>
                <a:gd name="connsiteX1" fmla="*/ 88583 w 178133"/>
                <a:gd name="connsiteY1" fmla="*/ 0 h 180038"/>
                <a:gd name="connsiteX2" fmla="*/ 178118 w 178133"/>
                <a:gd name="connsiteY2" fmla="*/ 91440 h 180038"/>
                <a:gd name="connsiteX3" fmla="*/ 88106 w 178133"/>
                <a:gd name="connsiteY3" fmla="*/ 180023 h 180038"/>
                <a:gd name="connsiteX4" fmla="*/ 0 w 178133"/>
                <a:gd name="connsiteY4" fmla="*/ 89535 h 180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133" h="180038">
                  <a:moveTo>
                    <a:pt x="0" y="89535"/>
                  </a:moveTo>
                  <a:cubicBezTo>
                    <a:pt x="476" y="40958"/>
                    <a:pt x="40958" y="0"/>
                    <a:pt x="88583" y="0"/>
                  </a:cubicBezTo>
                  <a:cubicBezTo>
                    <a:pt x="137160" y="0"/>
                    <a:pt x="179070" y="42863"/>
                    <a:pt x="178118" y="91440"/>
                  </a:cubicBezTo>
                  <a:cubicBezTo>
                    <a:pt x="177165" y="139065"/>
                    <a:pt x="134779" y="180975"/>
                    <a:pt x="88106" y="180023"/>
                  </a:cubicBezTo>
                  <a:cubicBezTo>
                    <a:pt x="40005" y="178594"/>
                    <a:pt x="0" y="137636"/>
                    <a:pt x="0" y="89535"/>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4" name="Freeform: Shape 23">
              <a:extLst>
                <a:ext uri="{FF2B5EF4-FFF2-40B4-BE49-F238E27FC236}">
                  <a16:creationId xmlns:a16="http://schemas.microsoft.com/office/drawing/2014/main" id="{1D2A02A2-6BEF-40AF-8E16-4713ECFD8FB2}"/>
                </a:ext>
              </a:extLst>
            </p:cNvPr>
            <p:cNvSpPr/>
            <p:nvPr/>
          </p:nvSpPr>
          <p:spPr>
            <a:xfrm>
              <a:off x="3976666" y="3349653"/>
              <a:ext cx="176563" cy="180173"/>
            </a:xfrm>
            <a:custGeom>
              <a:avLst/>
              <a:gdLst>
                <a:gd name="connsiteX0" fmla="*/ 0 w 176563"/>
                <a:gd name="connsiteY0" fmla="*/ 89563 h 180173"/>
                <a:gd name="connsiteX1" fmla="*/ 79058 w 176563"/>
                <a:gd name="connsiteY1" fmla="*/ 504 h 180173"/>
                <a:gd name="connsiteX2" fmla="*/ 174308 w 176563"/>
                <a:gd name="connsiteY2" fmla="*/ 66226 h 180173"/>
                <a:gd name="connsiteX3" fmla="*/ 166211 w 176563"/>
                <a:gd name="connsiteY3" fmla="*/ 105279 h 180173"/>
                <a:gd name="connsiteX4" fmla="*/ 140970 w 176563"/>
                <a:gd name="connsiteY4" fmla="*/ 144808 h 180173"/>
                <a:gd name="connsiteX5" fmla="*/ 85249 w 176563"/>
                <a:gd name="connsiteY5" fmla="*/ 180050 h 180173"/>
                <a:gd name="connsiteX6" fmla="*/ 0 w 176563"/>
                <a:gd name="connsiteY6" fmla="*/ 89563 h 18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563" h="180173">
                  <a:moveTo>
                    <a:pt x="0" y="89563"/>
                  </a:moveTo>
                  <a:cubicBezTo>
                    <a:pt x="0" y="44319"/>
                    <a:pt x="33814" y="6219"/>
                    <a:pt x="79058" y="504"/>
                  </a:cubicBezTo>
                  <a:cubicBezTo>
                    <a:pt x="120015" y="-4258"/>
                    <a:pt x="162878" y="25269"/>
                    <a:pt x="174308" y="66226"/>
                  </a:cubicBezTo>
                  <a:cubicBezTo>
                    <a:pt x="178118" y="80514"/>
                    <a:pt x="178118" y="92897"/>
                    <a:pt x="166211" y="105279"/>
                  </a:cubicBezTo>
                  <a:cubicBezTo>
                    <a:pt x="155734" y="116233"/>
                    <a:pt x="147161" y="130520"/>
                    <a:pt x="140970" y="144808"/>
                  </a:cubicBezTo>
                  <a:cubicBezTo>
                    <a:pt x="130016" y="170525"/>
                    <a:pt x="113824" y="181479"/>
                    <a:pt x="85249" y="180050"/>
                  </a:cubicBezTo>
                  <a:cubicBezTo>
                    <a:pt x="37148" y="177193"/>
                    <a:pt x="0" y="137664"/>
                    <a:pt x="0" y="89563"/>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5" name="Freeform: Shape 24">
              <a:extLst>
                <a:ext uri="{FF2B5EF4-FFF2-40B4-BE49-F238E27FC236}">
                  <a16:creationId xmlns:a16="http://schemas.microsoft.com/office/drawing/2014/main" id="{58360F0E-60BA-463A-A804-6E1622A38C00}"/>
                </a:ext>
              </a:extLst>
            </p:cNvPr>
            <p:cNvSpPr/>
            <p:nvPr/>
          </p:nvSpPr>
          <p:spPr>
            <a:xfrm>
              <a:off x="4292115" y="3349203"/>
              <a:ext cx="175092" cy="179440"/>
            </a:xfrm>
            <a:custGeom>
              <a:avLst/>
              <a:gdLst>
                <a:gd name="connsiteX0" fmla="*/ 175089 w 175092"/>
                <a:gd name="connsiteY0" fmla="*/ 89536 h 179440"/>
                <a:gd name="connsiteX1" fmla="*/ 68886 w 175092"/>
                <a:gd name="connsiteY1" fmla="*/ 177166 h 179440"/>
                <a:gd name="connsiteX2" fmla="*/ 47931 w 175092"/>
                <a:gd name="connsiteY2" fmla="*/ 159069 h 179440"/>
                <a:gd name="connsiteX3" fmla="*/ 6973 w 175092"/>
                <a:gd name="connsiteY3" fmla="*/ 94299 h 179440"/>
                <a:gd name="connsiteX4" fmla="*/ 306 w 175092"/>
                <a:gd name="connsiteY4" fmla="*/ 69534 h 179440"/>
                <a:gd name="connsiteX5" fmla="*/ 95556 w 175092"/>
                <a:gd name="connsiteY5" fmla="*/ 477 h 179440"/>
                <a:gd name="connsiteX6" fmla="*/ 175089 w 175092"/>
                <a:gd name="connsiteY6" fmla="*/ 89536 h 17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092" h="179440">
                  <a:moveTo>
                    <a:pt x="175089" y="89536"/>
                  </a:moveTo>
                  <a:cubicBezTo>
                    <a:pt x="175566" y="146686"/>
                    <a:pt x="123178" y="190025"/>
                    <a:pt x="68886" y="177166"/>
                  </a:cubicBezTo>
                  <a:cubicBezTo>
                    <a:pt x="60789" y="175261"/>
                    <a:pt x="53169" y="166689"/>
                    <a:pt x="47931" y="159069"/>
                  </a:cubicBezTo>
                  <a:cubicBezTo>
                    <a:pt x="33643" y="138114"/>
                    <a:pt x="19832" y="116206"/>
                    <a:pt x="6973" y="94299"/>
                  </a:cubicBezTo>
                  <a:cubicBezTo>
                    <a:pt x="2687" y="87155"/>
                    <a:pt x="-1123" y="77154"/>
                    <a:pt x="306" y="69534"/>
                  </a:cubicBezTo>
                  <a:cubicBezTo>
                    <a:pt x="9354" y="27147"/>
                    <a:pt x="53646" y="-4285"/>
                    <a:pt x="95556" y="477"/>
                  </a:cubicBezTo>
                  <a:cubicBezTo>
                    <a:pt x="140799" y="6669"/>
                    <a:pt x="175089" y="44293"/>
                    <a:pt x="175089" y="89536"/>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6" name="Freeform: Shape 25">
              <a:extLst>
                <a:ext uri="{FF2B5EF4-FFF2-40B4-BE49-F238E27FC236}">
                  <a16:creationId xmlns:a16="http://schemas.microsoft.com/office/drawing/2014/main" id="{1B324C5E-F1AF-4517-A424-BE9E06AEB220}"/>
                </a:ext>
              </a:extLst>
            </p:cNvPr>
            <p:cNvSpPr/>
            <p:nvPr/>
          </p:nvSpPr>
          <p:spPr>
            <a:xfrm>
              <a:off x="3262291" y="3639240"/>
              <a:ext cx="64770" cy="66675"/>
            </a:xfrm>
            <a:custGeom>
              <a:avLst/>
              <a:gdLst>
                <a:gd name="connsiteX0" fmla="*/ 27146 w 64770"/>
                <a:gd name="connsiteY0" fmla="*/ 66675 h 66675"/>
                <a:gd name="connsiteX1" fmla="*/ 0 w 64770"/>
                <a:gd name="connsiteY1" fmla="*/ 38576 h 66675"/>
                <a:gd name="connsiteX2" fmla="*/ 30956 w 64770"/>
                <a:gd name="connsiteY2" fmla="*/ 0 h 66675"/>
                <a:gd name="connsiteX3" fmla="*/ 64770 w 64770"/>
                <a:gd name="connsiteY3" fmla="*/ 38100 h 66675"/>
                <a:gd name="connsiteX4" fmla="*/ 27146 w 64770"/>
                <a:gd name="connsiteY4" fmla="*/ 66675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70" h="66675">
                  <a:moveTo>
                    <a:pt x="27146" y="66675"/>
                  </a:moveTo>
                  <a:cubicBezTo>
                    <a:pt x="19526" y="58579"/>
                    <a:pt x="9049" y="48101"/>
                    <a:pt x="0" y="38576"/>
                  </a:cubicBezTo>
                  <a:cubicBezTo>
                    <a:pt x="9525" y="26670"/>
                    <a:pt x="19526" y="14288"/>
                    <a:pt x="30956" y="0"/>
                  </a:cubicBezTo>
                  <a:cubicBezTo>
                    <a:pt x="43339" y="14288"/>
                    <a:pt x="53340" y="25241"/>
                    <a:pt x="64770" y="38100"/>
                  </a:cubicBezTo>
                  <a:cubicBezTo>
                    <a:pt x="51911" y="47625"/>
                    <a:pt x="39529" y="56674"/>
                    <a:pt x="27146" y="66675"/>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7" name="Freeform: Shape 26">
              <a:extLst>
                <a:ext uri="{FF2B5EF4-FFF2-40B4-BE49-F238E27FC236}">
                  <a16:creationId xmlns:a16="http://schemas.microsoft.com/office/drawing/2014/main" id="{D9033D7C-F842-4D1F-8EAB-7C7D457B9A66}"/>
                </a:ext>
              </a:extLst>
            </p:cNvPr>
            <p:cNvSpPr/>
            <p:nvPr/>
          </p:nvSpPr>
          <p:spPr>
            <a:xfrm>
              <a:off x="4361476" y="2837235"/>
              <a:ext cx="65246" cy="65246"/>
            </a:xfrm>
            <a:custGeom>
              <a:avLst/>
              <a:gdLst>
                <a:gd name="connsiteX0" fmla="*/ 65246 w 65246"/>
                <a:gd name="connsiteY0" fmla="*/ 44291 h 65246"/>
                <a:gd name="connsiteX1" fmla="*/ 20479 w 65246"/>
                <a:gd name="connsiteY1" fmla="*/ 65246 h 65246"/>
                <a:gd name="connsiteX2" fmla="*/ 0 w 65246"/>
                <a:gd name="connsiteY2" fmla="*/ 22384 h 65246"/>
                <a:gd name="connsiteX3" fmla="*/ 44768 w 65246"/>
                <a:gd name="connsiteY3" fmla="*/ 0 h 65246"/>
                <a:gd name="connsiteX4" fmla="*/ 65246 w 65246"/>
                <a:gd name="connsiteY4" fmla="*/ 44291 h 65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46" h="65246">
                  <a:moveTo>
                    <a:pt x="65246" y="44291"/>
                  </a:moveTo>
                  <a:cubicBezTo>
                    <a:pt x="50006" y="51435"/>
                    <a:pt x="35719" y="58103"/>
                    <a:pt x="20479" y="65246"/>
                  </a:cubicBezTo>
                  <a:cubicBezTo>
                    <a:pt x="13811" y="50959"/>
                    <a:pt x="7620" y="38100"/>
                    <a:pt x="0" y="22384"/>
                  </a:cubicBezTo>
                  <a:cubicBezTo>
                    <a:pt x="14764" y="15240"/>
                    <a:pt x="28099" y="8096"/>
                    <a:pt x="44768" y="0"/>
                  </a:cubicBezTo>
                  <a:cubicBezTo>
                    <a:pt x="51911" y="14764"/>
                    <a:pt x="58103" y="28575"/>
                    <a:pt x="65246" y="44291"/>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8" name="Freeform: Shape 27">
              <a:extLst>
                <a:ext uri="{FF2B5EF4-FFF2-40B4-BE49-F238E27FC236}">
                  <a16:creationId xmlns:a16="http://schemas.microsoft.com/office/drawing/2014/main" id="{D2CF1561-B138-405E-B1B3-1F2B61A48AC4}"/>
                </a:ext>
              </a:extLst>
            </p:cNvPr>
            <p:cNvSpPr/>
            <p:nvPr/>
          </p:nvSpPr>
          <p:spPr>
            <a:xfrm>
              <a:off x="4439105" y="3142569"/>
              <a:ext cx="51837" cy="49472"/>
            </a:xfrm>
            <a:custGeom>
              <a:avLst/>
              <a:gdLst>
                <a:gd name="connsiteX0" fmla="*/ 0 w 51837"/>
                <a:gd name="connsiteY0" fmla="*/ 49473 h 49472"/>
                <a:gd name="connsiteX1" fmla="*/ 0 w 51837"/>
                <a:gd name="connsiteY1" fmla="*/ 5658 h 49472"/>
                <a:gd name="connsiteX2" fmla="*/ 48577 w 51837"/>
                <a:gd name="connsiteY2" fmla="*/ 49473 h 49472"/>
                <a:gd name="connsiteX3" fmla="*/ 0 w 51837"/>
                <a:gd name="connsiteY3" fmla="*/ 49473 h 49472"/>
              </a:gdLst>
              <a:ahLst/>
              <a:cxnLst>
                <a:cxn ang="0">
                  <a:pos x="connsiteX0" y="connsiteY0"/>
                </a:cxn>
                <a:cxn ang="0">
                  <a:pos x="connsiteX1" y="connsiteY1"/>
                </a:cxn>
                <a:cxn ang="0">
                  <a:pos x="connsiteX2" y="connsiteY2"/>
                </a:cxn>
                <a:cxn ang="0">
                  <a:pos x="connsiteX3" y="connsiteY3"/>
                </a:cxn>
              </a:cxnLst>
              <a:rect l="l" t="t" r="r" b="b"/>
              <a:pathLst>
                <a:path w="51837" h="49472">
                  <a:moveTo>
                    <a:pt x="0" y="49473"/>
                  </a:moveTo>
                  <a:cubicBezTo>
                    <a:pt x="0" y="33757"/>
                    <a:pt x="0" y="19469"/>
                    <a:pt x="0" y="5658"/>
                  </a:cubicBezTo>
                  <a:cubicBezTo>
                    <a:pt x="54292" y="-5772"/>
                    <a:pt x="56197" y="-3867"/>
                    <a:pt x="48577" y="49473"/>
                  </a:cubicBezTo>
                  <a:cubicBezTo>
                    <a:pt x="33338" y="49473"/>
                    <a:pt x="18097" y="49473"/>
                    <a:pt x="0" y="49473"/>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9" name="Freeform: Shape 28">
              <a:extLst>
                <a:ext uri="{FF2B5EF4-FFF2-40B4-BE49-F238E27FC236}">
                  <a16:creationId xmlns:a16="http://schemas.microsoft.com/office/drawing/2014/main" id="{032C3AF7-3D58-463E-9195-98138CA05550}"/>
                </a:ext>
              </a:extLst>
            </p:cNvPr>
            <p:cNvSpPr/>
            <p:nvPr/>
          </p:nvSpPr>
          <p:spPr>
            <a:xfrm>
              <a:off x="4426246" y="3037736"/>
              <a:ext cx="56673" cy="56197"/>
            </a:xfrm>
            <a:custGeom>
              <a:avLst/>
              <a:gdLst>
                <a:gd name="connsiteX0" fmla="*/ 49530 w 56673"/>
                <a:gd name="connsiteY0" fmla="*/ 0 h 56197"/>
                <a:gd name="connsiteX1" fmla="*/ 56674 w 56673"/>
                <a:gd name="connsiteY1" fmla="*/ 49530 h 56197"/>
                <a:gd name="connsiteX2" fmla="*/ 8573 w 56673"/>
                <a:gd name="connsiteY2" fmla="*/ 56198 h 56197"/>
                <a:gd name="connsiteX3" fmla="*/ 0 w 56673"/>
                <a:gd name="connsiteY3" fmla="*/ 9049 h 56197"/>
                <a:gd name="connsiteX4" fmla="*/ 49530 w 56673"/>
                <a:gd name="connsiteY4" fmla="*/ 0 h 56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73" h="56197">
                  <a:moveTo>
                    <a:pt x="49530" y="0"/>
                  </a:moveTo>
                  <a:cubicBezTo>
                    <a:pt x="51911" y="17145"/>
                    <a:pt x="54292" y="32385"/>
                    <a:pt x="56674" y="49530"/>
                  </a:cubicBezTo>
                  <a:cubicBezTo>
                    <a:pt x="40481" y="51911"/>
                    <a:pt x="25717" y="53816"/>
                    <a:pt x="8573" y="56198"/>
                  </a:cubicBezTo>
                  <a:cubicBezTo>
                    <a:pt x="5715" y="40958"/>
                    <a:pt x="3334" y="26194"/>
                    <a:pt x="0" y="9049"/>
                  </a:cubicBezTo>
                  <a:cubicBezTo>
                    <a:pt x="17145" y="5715"/>
                    <a:pt x="31909" y="2858"/>
                    <a:pt x="49530" y="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0" name="Freeform: Shape 29">
              <a:extLst>
                <a:ext uri="{FF2B5EF4-FFF2-40B4-BE49-F238E27FC236}">
                  <a16:creationId xmlns:a16="http://schemas.microsoft.com/office/drawing/2014/main" id="{BE2A3F8E-4B69-4A11-B8D0-1D0F6AD7D62E}"/>
                </a:ext>
              </a:extLst>
            </p:cNvPr>
            <p:cNvSpPr/>
            <p:nvPr/>
          </p:nvSpPr>
          <p:spPr>
            <a:xfrm>
              <a:off x="4399100" y="2934867"/>
              <a:ext cx="63817" cy="60960"/>
            </a:xfrm>
            <a:custGeom>
              <a:avLst/>
              <a:gdLst>
                <a:gd name="connsiteX0" fmla="*/ 63817 w 63817"/>
                <a:gd name="connsiteY0" fmla="*/ 47149 h 60960"/>
                <a:gd name="connsiteX1" fmla="*/ 16669 w 63817"/>
                <a:gd name="connsiteY1" fmla="*/ 60960 h 60960"/>
                <a:gd name="connsiteX2" fmla="*/ 0 w 63817"/>
                <a:gd name="connsiteY2" fmla="*/ 15240 h 60960"/>
                <a:gd name="connsiteX3" fmla="*/ 48577 w 63817"/>
                <a:gd name="connsiteY3" fmla="*/ 0 h 60960"/>
                <a:gd name="connsiteX4" fmla="*/ 63817 w 63817"/>
                <a:gd name="connsiteY4" fmla="*/ 47149 h 60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17" h="60960">
                  <a:moveTo>
                    <a:pt x="63817" y="47149"/>
                  </a:moveTo>
                  <a:cubicBezTo>
                    <a:pt x="47149" y="51911"/>
                    <a:pt x="32861" y="56198"/>
                    <a:pt x="16669" y="60960"/>
                  </a:cubicBezTo>
                  <a:cubicBezTo>
                    <a:pt x="10954" y="45244"/>
                    <a:pt x="5715" y="31432"/>
                    <a:pt x="0" y="15240"/>
                  </a:cubicBezTo>
                  <a:cubicBezTo>
                    <a:pt x="16669" y="10001"/>
                    <a:pt x="30956" y="5239"/>
                    <a:pt x="48577" y="0"/>
                  </a:cubicBezTo>
                  <a:cubicBezTo>
                    <a:pt x="53816" y="15240"/>
                    <a:pt x="58102" y="29527"/>
                    <a:pt x="63817" y="47149"/>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1" name="Freeform: Shape 30">
              <a:extLst>
                <a:ext uri="{FF2B5EF4-FFF2-40B4-BE49-F238E27FC236}">
                  <a16:creationId xmlns:a16="http://schemas.microsoft.com/office/drawing/2014/main" id="{79F1F8F7-B990-4C1C-BB4B-DB89476107AA}"/>
                </a:ext>
              </a:extLst>
            </p:cNvPr>
            <p:cNvSpPr/>
            <p:nvPr/>
          </p:nvSpPr>
          <p:spPr>
            <a:xfrm>
              <a:off x="4431009" y="3246810"/>
              <a:ext cx="54768" cy="52387"/>
            </a:xfrm>
            <a:custGeom>
              <a:avLst/>
              <a:gdLst>
                <a:gd name="connsiteX0" fmla="*/ 0 w 54768"/>
                <a:gd name="connsiteY0" fmla="*/ 44768 h 52387"/>
                <a:gd name="connsiteX1" fmla="*/ 5239 w 54768"/>
                <a:gd name="connsiteY1" fmla="*/ 0 h 52387"/>
                <a:gd name="connsiteX2" fmla="*/ 54769 w 54768"/>
                <a:gd name="connsiteY2" fmla="*/ 2858 h 52387"/>
                <a:gd name="connsiteX3" fmla="*/ 49054 w 54768"/>
                <a:gd name="connsiteY3" fmla="*/ 52388 h 52387"/>
                <a:gd name="connsiteX4" fmla="*/ 0 w 54768"/>
                <a:gd name="connsiteY4" fmla="*/ 44768 h 5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8" h="52387">
                  <a:moveTo>
                    <a:pt x="0" y="44768"/>
                  </a:moveTo>
                  <a:cubicBezTo>
                    <a:pt x="1905" y="30004"/>
                    <a:pt x="3334" y="16669"/>
                    <a:pt x="5239" y="0"/>
                  </a:cubicBezTo>
                  <a:cubicBezTo>
                    <a:pt x="21431" y="953"/>
                    <a:pt x="36671" y="1905"/>
                    <a:pt x="54769" y="2858"/>
                  </a:cubicBezTo>
                  <a:cubicBezTo>
                    <a:pt x="52864" y="19526"/>
                    <a:pt x="50959" y="34290"/>
                    <a:pt x="49054" y="52388"/>
                  </a:cubicBezTo>
                  <a:cubicBezTo>
                    <a:pt x="32385" y="50006"/>
                    <a:pt x="16669" y="47625"/>
                    <a:pt x="0" y="44768"/>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2" name="Freeform: Shape 31">
              <a:extLst>
                <a:ext uri="{FF2B5EF4-FFF2-40B4-BE49-F238E27FC236}">
                  <a16:creationId xmlns:a16="http://schemas.microsoft.com/office/drawing/2014/main" id="{FC5B9FD8-DDE6-4A0E-BA6B-F1BD48369C16}"/>
                </a:ext>
              </a:extLst>
            </p:cNvPr>
            <p:cNvSpPr/>
            <p:nvPr/>
          </p:nvSpPr>
          <p:spPr>
            <a:xfrm>
              <a:off x="4308136" y="2745795"/>
              <a:ext cx="69532" cy="67627"/>
            </a:xfrm>
            <a:custGeom>
              <a:avLst/>
              <a:gdLst>
                <a:gd name="connsiteX0" fmla="*/ 41910 w 69532"/>
                <a:gd name="connsiteY0" fmla="*/ 0 h 67627"/>
                <a:gd name="connsiteX1" fmla="*/ 69533 w 69532"/>
                <a:gd name="connsiteY1" fmla="*/ 40957 h 67627"/>
                <a:gd name="connsiteX2" fmla="*/ 28099 w 69532"/>
                <a:gd name="connsiteY2" fmla="*/ 67628 h 67627"/>
                <a:gd name="connsiteX3" fmla="*/ 0 w 69532"/>
                <a:gd name="connsiteY3" fmla="*/ 28099 h 67627"/>
                <a:gd name="connsiteX4" fmla="*/ 41910 w 69532"/>
                <a:gd name="connsiteY4" fmla="*/ 0 h 67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32" h="67627">
                  <a:moveTo>
                    <a:pt x="41910" y="0"/>
                  </a:moveTo>
                  <a:cubicBezTo>
                    <a:pt x="51911" y="14288"/>
                    <a:pt x="60008" y="26670"/>
                    <a:pt x="69533" y="40957"/>
                  </a:cubicBezTo>
                  <a:cubicBezTo>
                    <a:pt x="55721" y="50006"/>
                    <a:pt x="42863" y="58579"/>
                    <a:pt x="28099" y="67628"/>
                  </a:cubicBezTo>
                  <a:cubicBezTo>
                    <a:pt x="18574" y="54292"/>
                    <a:pt x="9525" y="41910"/>
                    <a:pt x="0" y="28099"/>
                  </a:cubicBezTo>
                  <a:cubicBezTo>
                    <a:pt x="14288" y="18574"/>
                    <a:pt x="27146" y="10001"/>
                    <a:pt x="41910" y="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3" name="Freeform: Shape 32">
              <a:extLst>
                <a:ext uri="{FF2B5EF4-FFF2-40B4-BE49-F238E27FC236}">
                  <a16:creationId xmlns:a16="http://schemas.microsoft.com/office/drawing/2014/main" id="{CBEBE053-4D83-4E89-B8E0-A326E2D7D54E}"/>
                </a:ext>
              </a:extLst>
            </p:cNvPr>
            <p:cNvSpPr/>
            <p:nvPr/>
          </p:nvSpPr>
          <p:spPr>
            <a:xfrm>
              <a:off x="3335157" y="3710678"/>
              <a:ext cx="69056" cy="69056"/>
            </a:xfrm>
            <a:custGeom>
              <a:avLst/>
              <a:gdLst>
                <a:gd name="connsiteX0" fmla="*/ 69056 w 69056"/>
                <a:gd name="connsiteY0" fmla="*/ 28575 h 69056"/>
                <a:gd name="connsiteX1" fmla="*/ 39529 w 69056"/>
                <a:gd name="connsiteY1" fmla="*/ 69056 h 69056"/>
                <a:gd name="connsiteX2" fmla="*/ 0 w 69056"/>
                <a:gd name="connsiteY2" fmla="*/ 39529 h 69056"/>
                <a:gd name="connsiteX3" fmla="*/ 30956 w 69056"/>
                <a:gd name="connsiteY3" fmla="*/ 0 h 69056"/>
                <a:gd name="connsiteX4" fmla="*/ 69056 w 69056"/>
                <a:gd name="connsiteY4" fmla="*/ 28575 h 6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56" h="69056">
                  <a:moveTo>
                    <a:pt x="69056" y="28575"/>
                  </a:moveTo>
                  <a:cubicBezTo>
                    <a:pt x="58579" y="42863"/>
                    <a:pt x="50006" y="54769"/>
                    <a:pt x="39529" y="69056"/>
                  </a:cubicBezTo>
                  <a:cubicBezTo>
                    <a:pt x="26194" y="59055"/>
                    <a:pt x="13811" y="50006"/>
                    <a:pt x="0" y="39529"/>
                  </a:cubicBezTo>
                  <a:cubicBezTo>
                    <a:pt x="10477" y="25717"/>
                    <a:pt x="20002" y="13811"/>
                    <a:pt x="30956" y="0"/>
                  </a:cubicBezTo>
                  <a:cubicBezTo>
                    <a:pt x="43339" y="9525"/>
                    <a:pt x="54769" y="18574"/>
                    <a:pt x="69056" y="28575"/>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4" name="Freeform: Shape 33">
              <a:extLst>
                <a:ext uri="{FF2B5EF4-FFF2-40B4-BE49-F238E27FC236}">
                  <a16:creationId xmlns:a16="http://schemas.microsoft.com/office/drawing/2014/main" id="{2F92B15A-D0F0-4B4A-9EE5-43CB6AB631BE}"/>
                </a:ext>
              </a:extLst>
            </p:cNvPr>
            <p:cNvSpPr/>
            <p:nvPr/>
          </p:nvSpPr>
          <p:spPr>
            <a:xfrm>
              <a:off x="3923803" y="3832122"/>
              <a:ext cx="60007" cy="60959"/>
            </a:xfrm>
            <a:custGeom>
              <a:avLst/>
              <a:gdLst>
                <a:gd name="connsiteX0" fmla="*/ 11430 w 60007"/>
                <a:gd name="connsiteY0" fmla="*/ 60960 h 60959"/>
                <a:gd name="connsiteX1" fmla="*/ 0 w 60007"/>
                <a:gd name="connsiteY1" fmla="*/ 11430 h 60959"/>
                <a:gd name="connsiteX2" fmla="*/ 45720 w 60007"/>
                <a:gd name="connsiteY2" fmla="*/ 0 h 60959"/>
                <a:gd name="connsiteX3" fmla="*/ 60008 w 60007"/>
                <a:gd name="connsiteY3" fmla="*/ 47625 h 60959"/>
                <a:gd name="connsiteX4" fmla="*/ 11430 w 60007"/>
                <a:gd name="connsiteY4" fmla="*/ 60960 h 60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959">
                  <a:moveTo>
                    <a:pt x="11430" y="60960"/>
                  </a:moveTo>
                  <a:cubicBezTo>
                    <a:pt x="7144" y="43339"/>
                    <a:pt x="3810" y="29051"/>
                    <a:pt x="0" y="11430"/>
                  </a:cubicBezTo>
                  <a:cubicBezTo>
                    <a:pt x="15716" y="7620"/>
                    <a:pt x="30480" y="3810"/>
                    <a:pt x="45720" y="0"/>
                  </a:cubicBezTo>
                  <a:cubicBezTo>
                    <a:pt x="50483" y="16669"/>
                    <a:pt x="54769" y="30480"/>
                    <a:pt x="60008" y="47625"/>
                  </a:cubicBezTo>
                  <a:cubicBezTo>
                    <a:pt x="43815" y="52388"/>
                    <a:pt x="29051" y="56197"/>
                    <a:pt x="11430" y="6096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5" name="Freeform: Shape 34">
              <a:extLst>
                <a:ext uri="{FF2B5EF4-FFF2-40B4-BE49-F238E27FC236}">
                  <a16:creationId xmlns:a16="http://schemas.microsoft.com/office/drawing/2014/main" id="{73D9D878-C8B7-4E62-BC8C-FF00B0611110}"/>
                </a:ext>
              </a:extLst>
            </p:cNvPr>
            <p:cNvSpPr/>
            <p:nvPr/>
          </p:nvSpPr>
          <p:spPr>
            <a:xfrm>
              <a:off x="3825219" y="3852600"/>
              <a:ext cx="55245" cy="55245"/>
            </a:xfrm>
            <a:custGeom>
              <a:avLst/>
              <a:gdLst>
                <a:gd name="connsiteX0" fmla="*/ 47625 w 55245"/>
                <a:gd name="connsiteY0" fmla="*/ 0 h 55245"/>
                <a:gd name="connsiteX1" fmla="*/ 55245 w 55245"/>
                <a:gd name="connsiteY1" fmla="*/ 50959 h 55245"/>
                <a:gd name="connsiteX2" fmla="*/ 5239 w 55245"/>
                <a:gd name="connsiteY2" fmla="*/ 55245 h 55245"/>
                <a:gd name="connsiteX3" fmla="*/ 0 w 55245"/>
                <a:gd name="connsiteY3" fmla="*/ 7144 h 55245"/>
                <a:gd name="connsiteX4" fmla="*/ 47625 w 55245"/>
                <a:gd name="connsiteY4" fmla="*/ 0 h 55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245" h="55245">
                  <a:moveTo>
                    <a:pt x="47625" y="0"/>
                  </a:moveTo>
                  <a:cubicBezTo>
                    <a:pt x="50006" y="17621"/>
                    <a:pt x="52388" y="32861"/>
                    <a:pt x="55245" y="50959"/>
                  </a:cubicBezTo>
                  <a:cubicBezTo>
                    <a:pt x="38100" y="52388"/>
                    <a:pt x="22384" y="53816"/>
                    <a:pt x="5239" y="55245"/>
                  </a:cubicBezTo>
                  <a:cubicBezTo>
                    <a:pt x="3334" y="39053"/>
                    <a:pt x="1905" y="24765"/>
                    <a:pt x="0" y="7144"/>
                  </a:cubicBezTo>
                  <a:cubicBezTo>
                    <a:pt x="15240" y="4763"/>
                    <a:pt x="30004" y="2858"/>
                    <a:pt x="47625" y="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6" name="Freeform: Shape 35">
              <a:extLst>
                <a:ext uri="{FF2B5EF4-FFF2-40B4-BE49-F238E27FC236}">
                  <a16:creationId xmlns:a16="http://schemas.microsoft.com/office/drawing/2014/main" id="{9EA8EFA5-6959-4277-88F1-D9704DF38A24}"/>
                </a:ext>
              </a:extLst>
            </p:cNvPr>
            <p:cNvSpPr/>
            <p:nvPr/>
          </p:nvSpPr>
          <p:spPr>
            <a:xfrm>
              <a:off x="3158945" y="2782466"/>
              <a:ext cx="66675" cy="68103"/>
            </a:xfrm>
            <a:custGeom>
              <a:avLst/>
              <a:gdLst>
                <a:gd name="connsiteX0" fmla="*/ 43339 w 66675"/>
                <a:gd name="connsiteY0" fmla="*/ 68104 h 68103"/>
                <a:gd name="connsiteX1" fmla="*/ 0 w 66675"/>
                <a:gd name="connsiteY1" fmla="*/ 43815 h 68103"/>
                <a:gd name="connsiteX2" fmla="*/ 24765 w 66675"/>
                <a:gd name="connsiteY2" fmla="*/ 0 h 68103"/>
                <a:gd name="connsiteX3" fmla="*/ 66675 w 66675"/>
                <a:gd name="connsiteY3" fmla="*/ 26194 h 68103"/>
                <a:gd name="connsiteX4" fmla="*/ 43339 w 66675"/>
                <a:gd name="connsiteY4" fmla="*/ 68104 h 68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8103">
                  <a:moveTo>
                    <a:pt x="43339" y="68104"/>
                  </a:moveTo>
                  <a:cubicBezTo>
                    <a:pt x="28099" y="59531"/>
                    <a:pt x="15240" y="52388"/>
                    <a:pt x="0" y="43815"/>
                  </a:cubicBezTo>
                  <a:cubicBezTo>
                    <a:pt x="8096" y="29527"/>
                    <a:pt x="16192" y="15716"/>
                    <a:pt x="24765" y="0"/>
                  </a:cubicBezTo>
                  <a:cubicBezTo>
                    <a:pt x="39529" y="9525"/>
                    <a:pt x="52864" y="17621"/>
                    <a:pt x="66675" y="26194"/>
                  </a:cubicBezTo>
                  <a:cubicBezTo>
                    <a:pt x="59055" y="40481"/>
                    <a:pt x="51911" y="53340"/>
                    <a:pt x="43339" y="68104"/>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7" name="Freeform: Shape 36">
              <a:extLst>
                <a:ext uri="{FF2B5EF4-FFF2-40B4-BE49-F238E27FC236}">
                  <a16:creationId xmlns:a16="http://schemas.microsoft.com/office/drawing/2014/main" id="{5E7D23A0-4113-4983-AAE9-F01373C8EF1B}"/>
                </a:ext>
              </a:extLst>
            </p:cNvPr>
            <p:cNvSpPr/>
            <p:nvPr/>
          </p:nvSpPr>
          <p:spPr>
            <a:xfrm>
              <a:off x="3215619" y="2697218"/>
              <a:ext cx="70008" cy="69056"/>
            </a:xfrm>
            <a:custGeom>
              <a:avLst/>
              <a:gdLst>
                <a:gd name="connsiteX0" fmla="*/ 0 w 70008"/>
                <a:gd name="connsiteY0" fmla="*/ 39053 h 69056"/>
                <a:gd name="connsiteX1" fmla="*/ 31433 w 70008"/>
                <a:gd name="connsiteY1" fmla="*/ 0 h 69056"/>
                <a:gd name="connsiteX2" fmla="*/ 70009 w 70008"/>
                <a:gd name="connsiteY2" fmla="*/ 31909 h 69056"/>
                <a:gd name="connsiteX3" fmla="*/ 40958 w 70008"/>
                <a:gd name="connsiteY3" fmla="*/ 69056 h 69056"/>
                <a:gd name="connsiteX4" fmla="*/ 0 w 70008"/>
                <a:gd name="connsiteY4" fmla="*/ 39053 h 6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08" h="69056">
                  <a:moveTo>
                    <a:pt x="0" y="39053"/>
                  </a:moveTo>
                  <a:cubicBezTo>
                    <a:pt x="10954" y="25241"/>
                    <a:pt x="20479" y="13811"/>
                    <a:pt x="31433" y="0"/>
                  </a:cubicBezTo>
                  <a:cubicBezTo>
                    <a:pt x="44768" y="10954"/>
                    <a:pt x="56674" y="21431"/>
                    <a:pt x="70009" y="31909"/>
                  </a:cubicBezTo>
                  <a:cubicBezTo>
                    <a:pt x="60008" y="44768"/>
                    <a:pt x="51435" y="55721"/>
                    <a:pt x="40958" y="69056"/>
                  </a:cubicBezTo>
                  <a:cubicBezTo>
                    <a:pt x="27623" y="59531"/>
                    <a:pt x="14764" y="50006"/>
                    <a:pt x="0" y="39053"/>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8" name="Freeform: Shape 37">
              <a:extLst>
                <a:ext uri="{FF2B5EF4-FFF2-40B4-BE49-F238E27FC236}">
                  <a16:creationId xmlns:a16="http://schemas.microsoft.com/office/drawing/2014/main" id="{7707A09D-7E7D-4C3F-A4FE-86FDAE552E17}"/>
                </a:ext>
              </a:extLst>
            </p:cNvPr>
            <p:cNvSpPr/>
            <p:nvPr/>
          </p:nvSpPr>
          <p:spPr>
            <a:xfrm>
              <a:off x="3114654" y="2877716"/>
              <a:ext cx="64770" cy="63817"/>
            </a:xfrm>
            <a:custGeom>
              <a:avLst/>
              <a:gdLst>
                <a:gd name="connsiteX0" fmla="*/ 64770 w 64770"/>
                <a:gd name="connsiteY0" fmla="*/ 20002 h 63817"/>
                <a:gd name="connsiteX1" fmla="*/ 46196 w 64770"/>
                <a:gd name="connsiteY1" fmla="*/ 63817 h 63817"/>
                <a:gd name="connsiteX2" fmla="*/ 0 w 64770"/>
                <a:gd name="connsiteY2" fmla="*/ 46673 h 63817"/>
                <a:gd name="connsiteX3" fmla="*/ 19050 w 64770"/>
                <a:gd name="connsiteY3" fmla="*/ 0 h 63817"/>
                <a:gd name="connsiteX4" fmla="*/ 64770 w 64770"/>
                <a:gd name="connsiteY4" fmla="*/ 20002 h 63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70" h="63817">
                  <a:moveTo>
                    <a:pt x="64770" y="20002"/>
                  </a:moveTo>
                  <a:cubicBezTo>
                    <a:pt x="58103" y="36195"/>
                    <a:pt x="52388" y="49054"/>
                    <a:pt x="46196" y="63817"/>
                  </a:cubicBezTo>
                  <a:cubicBezTo>
                    <a:pt x="30004" y="57626"/>
                    <a:pt x="15716" y="52388"/>
                    <a:pt x="0" y="46673"/>
                  </a:cubicBezTo>
                  <a:cubicBezTo>
                    <a:pt x="6668" y="30004"/>
                    <a:pt x="12382" y="15716"/>
                    <a:pt x="19050" y="0"/>
                  </a:cubicBezTo>
                  <a:cubicBezTo>
                    <a:pt x="35243" y="6667"/>
                    <a:pt x="49054" y="12859"/>
                    <a:pt x="64770" y="20002"/>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9" name="Freeform: Shape 38">
              <a:extLst>
                <a:ext uri="{FF2B5EF4-FFF2-40B4-BE49-F238E27FC236}">
                  <a16:creationId xmlns:a16="http://schemas.microsoft.com/office/drawing/2014/main" id="{BBFEADD3-3203-4D1C-9BD8-1F308A941963}"/>
                </a:ext>
              </a:extLst>
            </p:cNvPr>
            <p:cNvSpPr/>
            <p:nvPr/>
          </p:nvSpPr>
          <p:spPr>
            <a:xfrm>
              <a:off x="3723777" y="3856411"/>
              <a:ext cx="50787" cy="51910"/>
            </a:xfrm>
            <a:custGeom>
              <a:avLst/>
              <a:gdLst>
                <a:gd name="connsiteX0" fmla="*/ 0 w 50787"/>
                <a:gd name="connsiteY0" fmla="*/ 51911 h 51910"/>
                <a:gd name="connsiteX1" fmla="*/ 2381 w 50787"/>
                <a:gd name="connsiteY1" fmla="*/ 5714 h 51910"/>
                <a:gd name="connsiteX2" fmla="*/ 49054 w 50787"/>
                <a:gd name="connsiteY2" fmla="*/ 51911 h 51910"/>
                <a:gd name="connsiteX3" fmla="*/ 0 w 50787"/>
                <a:gd name="connsiteY3" fmla="*/ 51911 h 51910"/>
              </a:gdLst>
              <a:ahLst/>
              <a:cxnLst>
                <a:cxn ang="0">
                  <a:pos x="connsiteX0" y="connsiteY0"/>
                </a:cxn>
                <a:cxn ang="0">
                  <a:pos x="connsiteX1" y="connsiteY1"/>
                </a:cxn>
                <a:cxn ang="0">
                  <a:pos x="connsiteX2" y="connsiteY2"/>
                </a:cxn>
                <a:cxn ang="0">
                  <a:pos x="connsiteX3" y="connsiteY3"/>
                </a:cxn>
              </a:cxnLst>
              <a:rect l="l" t="t" r="r" b="b"/>
              <a:pathLst>
                <a:path w="50787" h="51910">
                  <a:moveTo>
                    <a:pt x="0" y="51911"/>
                  </a:moveTo>
                  <a:cubicBezTo>
                    <a:pt x="953" y="35242"/>
                    <a:pt x="1429" y="20002"/>
                    <a:pt x="2381" y="5714"/>
                  </a:cubicBezTo>
                  <a:cubicBezTo>
                    <a:pt x="48101" y="-7144"/>
                    <a:pt x="54769" y="-953"/>
                    <a:pt x="49054" y="51911"/>
                  </a:cubicBezTo>
                  <a:cubicBezTo>
                    <a:pt x="33814" y="51911"/>
                    <a:pt x="18574" y="51911"/>
                    <a:pt x="0" y="51911"/>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40" name="Freeform: Shape 39">
              <a:extLst>
                <a:ext uri="{FF2B5EF4-FFF2-40B4-BE49-F238E27FC236}">
                  <a16:creationId xmlns:a16="http://schemas.microsoft.com/office/drawing/2014/main" id="{9870D832-8C9A-4834-AF49-29F8C9B57CB3}"/>
                </a:ext>
              </a:extLst>
            </p:cNvPr>
            <p:cNvSpPr/>
            <p:nvPr/>
          </p:nvSpPr>
          <p:spPr>
            <a:xfrm>
              <a:off x="3517085" y="3813548"/>
              <a:ext cx="62388" cy="62865"/>
            </a:xfrm>
            <a:custGeom>
              <a:avLst/>
              <a:gdLst>
                <a:gd name="connsiteX0" fmla="*/ 0 w 62388"/>
                <a:gd name="connsiteY0" fmla="*/ 45720 h 62865"/>
                <a:gd name="connsiteX1" fmla="*/ 13811 w 62388"/>
                <a:gd name="connsiteY1" fmla="*/ 10001 h 62865"/>
                <a:gd name="connsiteX2" fmla="*/ 19526 w 62388"/>
                <a:gd name="connsiteY2" fmla="*/ 0 h 62865"/>
                <a:gd name="connsiteX3" fmla="*/ 62389 w 62388"/>
                <a:gd name="connsiteY3" fmla="*/ 14764 h 62865"/>
                <a:gd name="connsiteX4" fmla="*/ 46673 w 62388"/>
                <a:gd name="connsiteY4" fmla="*/ 62865 h 62865"/>
                <a:gd name="connsiteX5" fmla="*/ 0 w 62388"/>
                <a:gd name="connsiteY5" fmla="*/ 45720 h 62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388" h="62865">
                  <a:moveTo>
                    <a:pt x="0" y="45720"/>
                  </a:moveTo>
                  <a:cubicBezTo>
                    <a:pt x="5239" y="31909"/>
                    <a:pt x="9525" y="20479"/>
                    <a:pt x="13811" y="10001"/>
                  </a:cubicBezTo>
                  <a:cubicBezTo>
                    <a:pt x="14764" y="7144"/>
                    <a:pt x="16669" y="4763"/>
                    <a:pt x="19526" y="0"/>
                  </a:cubicBezTo>
                  <a:cubicBezTo>
                    <a:pt x="33338" y="4763"/>
                    <a:pt x="46673" y="9525"/>
                    <a:pt x="62389" y="14764"/>
                  </a:cubicBezTo>
                  <a:cubicBezTo>
                    <a:pt x="57150" y="31433"/>
                    <a:pt x="52388" y="46196"/>
                    <a:pt x="46673" y="62865"/>
                  </a:cubicBezTo>
                  <a:cubicBezTo>
                    <a:pt x="30956" y="56674"/>
                    <a:pt x="16669" y="51435"/>
                    <a:pt x="0" y="4572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41" name="Freeform: Shape 40">
              <a:extLst>
                <a:ext uri="{FF2B5EF4-FFF2-40B4-BE49-F238E27FC236}">
                  <a16:creationId xmlns:a16="http://schemas.microsoft.com/office/drawing/2014/main" id="{2C39E4CE-0E98-4FBB-A980-930C85799F7B}"/>
                </a:ext>
              </a:extLst>
            </p:cNvPr>
            <p:cNvSpPr/>
            <p:nvPr/>
          </p:nvSpPr>
          <p:spPr>
            <a:xfrm>
              <a:off x="3620149" y="3843075"/>
              <a:ext cx="56479" cy="56197"/>
            </a:xfrm>
            <a:custGeom>
              <a:avLst/>
              <a:gdLst>
                <a:gd name="connsiteX0" fmla="*/ 13141 w 56479"/>
                <a:gd name="connsiteY0" fmla="*/ 0 h 56197"/>
                <a:gd name="connsiteX1" fmla="*/ 56479 w 56479"/>
                <a:gd name="connsiteY1" fmla="*/ 8572 h 56197"/>
                <a:gd name="connsiteX2" fmla="*/ 47431 w 56479"/>
                <a:gd name="connsiteY2" fmla="*/ 56197 h 56197"/>
                <a:gd name="connsiteX3" fmla="*/ 13141 w 56479"/>
                <a:gd name="connsiteY3" fmla="*/ 0 h 56197"/>
              </a:gdLst>
              <a:ahLst/>
              <a:cxnLst>
                <a:cxn ang="0">
                  <a:pos x="connsiteX0" y="connsiteY0"/>
                </a:cxn>
                <a:cxn ang="0">
                  <a:pos x="connsiteX1" y="connsiteY1"/>
                </a:cxn>
                <a:cxn ang="0">
                  <a:pos x="connsiteX2" y="connsiteY2"/>
                </a:cxn>
                <a:cxn ang="0">
                  <a:pos x="connsiteX3" y="connsiteY3"/>
                </a:cxn>
              </a:cxnLst>
              <a:rect l="l" t="t" r="r" b="b"/>
              <a:pathLst>
                <a:path w="56479" h="56197">
                  <a:moveTo>
                    <a:pt x="13141" y="0"/>
                  </a:moveTo>
                  <a:cubicBezTo>
                    <a:pt x="27428" y="2858"/>
                    <a:pt x="40287" y="5239"/>
                    <a:pt x="56479" y="8572"/>
                  </a:cubicBezTo>
                  <a:cubicBezTo>
                    <a:pt x="53146" y="25241"/>
                    <a:pt x="50288" y="40958"/>
                    <a:pt x="47431" y="56197"/>
                  </a:cubicBezTo>
                  <a:cubicBezTo>
                    <a:pt x="-5433" y="53340"/>
                    <a:pt x="-9719" y="46672"/>
                    <a:pt x="13141" y="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42" name="Freeform: Shape 41">
              <a:extLst>
                <a:ext uri="{FF2B5EF4-FFF2-40B4-BE49-F238E27FC236}">
                  <a16:creationId xmlns:a16="http://schemas.microsoft.com/office/drawing/2014/main" id="{FAF7D952-9F1D-4590-981A-CDF50469CAD9}"/>
                </a:ext>
              </a:extLst>
            </p:cNvPr>
            <p:cNvSpPr/>
            <p:nvPr/>
          </p:nvSpPr>
          <p:spPr>
            <a:xfrm>
              <a:off x="3366590" y="2558629"/>
              <a:ext cx="69056" cy="68103"/>
            </a:xfrm>
            <a:custGeom>
              <a:avLst/>
              <a:gdLst>
                <a:gd name="connsiteX0" fmla="*/ 41434 w 69056"/>
                <a:gd name="connsiteY0" fmla="*/ 0 h 68103"/>
                <a:gd name="connsiteX1" fmla="*/ 69056 w 69056"/>
                <a:gd name="connsiteY1" fmla="*/ 40958 h 68103"/>
                <a:gd name="connsiteX2" fmla="*/ 30480 w 69056"/>
                <a:gd name="connsiteY2" fmla="*/ 68104 h 68103"/>
                <a:gd name="connsiteX3" fmla="*/ 0 w 69056"/>
                <a:gd name="connsiteY3" fmla="*/ 27622 h 68103"/>
                <a:gd name="connsiteX4" fmla="*/ 41434 w 69056"/>
                <a:gd name="connsiteY4" fmla="*/ 0 h 68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56" h="68103">
                  <a:moveTo>
                    <a:pt x="41434" y="0"/>
                  </a:moveTo>
                  <a:cubicBezTo>
                    <a:pt x="50959" y="14288"/>
                    <a:pt x="59531" y="26670"/>
                    <a:pt x="69056" y="40958"/>
                  </a:cubicBezTo>
                  <a:cubicBezTo>
                    <a:pt x="56197" y="50006"/>
                    <a:pt x="44291" y="58579"/>
                    <a:pt x="30480" y="68104"/>
                  </a:cubicBezTo>
                  <a:cubicBezTo>
                    <a:pt x="20479" y="55245"/>
                    <a:pt x="11430" y="42863"/>
                    <a:pt x="0" y="27622"/>
                  </a:cubicBezTo>
                  <a:cubicBezTo>
                    <a:pt x="14288" y="18097"/>
                    <a:pt x="27146" y="9525"/>
                    <a:pt x="41434" y="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43" name="Freeform: Shape 42">
              <a:extLst>
                <a:ext uri="{FF2B5EF4-FFF2-40B4-BE49-F238E27FC236}">
                  <a16:creationId xmlns:a16="http://schemas.microsoft.com/office/drawing/2014/main" id="{D6556D96-831B-4147-8C31-9CE91BB888C3}"/>
                </a:ext>
              </a:extLst>
            </p:cNvPr>
            <p:cNvSpPr/>
            <p:nvPr/>
          </p:nvSpPr>
          <p:spPr>
            <a:xfrm>
              <a:off x="3421835" y="3768304"/>
              <a:ext cx="66675" cy="67627"/>
            </a:xfrm>
            <a:custGeom>
              <a:avLst/>
              <a:gdLst>
                <a:gd name="connsiteX0" fmla="*/ 43339 w 66675"/>
                <a:gd name="connsiteY0" fmla="*/ 67628 h 67627"/>
                <a:gd name="connsiteX1" fmla="*/ 0 w 66675"/>
                <a:gd name="connsiteY1" fmla="*/ 42863 h 67627"/>
                <a:gd name="connsiteX2" fmla="*/ 25241 w 66675"/>
                <a:gd name="connsiteY2" fmla="*/ 0 h 67627"/>
                <a:gd name="connsiteX3" fmla="*/ 66675 w 66675"/>
                <a:gd name="connsiteY3" fmla="*/ 22384 h 67627"/>
                <a:gd name="connsiteX4" fmla="*/ 43339 w 66675"/>
                <a:gd name="connsiteY4" fmla="*/ 67628 h 67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7627">
                  <a:moveTo>
                    <a:pt x="43339" y="67628"/>
                  </a:moveTo>
                  <a:cubicBezTo>
                    <a:pt x="27623" y="58579"/>
                    <a:pt x="14764" y="51435"/>
                    <a:pt x="0" y="42863"/>
                  </a:cubicBezTo>
                  <a:cubicBezTo>
                    <a:pt x="8573" y="28099"/>
                    <a:pt x="16669" y="14764"/>
                    <a:pt x="25241" y="0"/>
                  </a:cubicBezTo>
                  <a:cubicBezTo>
                    <a:pt x="39529" y="7620"/>
                    <a:pt x="52388" y="14764"/>
                    <a:pt x="66675" y="22384"/>
                  </a:cubicBezTo>
                  <a:cubicBezTo>
                    <a:pt x="58579" y="37624"/>
                    <a:pt x="51435" y="51435"/>
                    <a:pt x="43339" y="67628"/>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44" name="Freeform: Shape 43">
              <a:extLst>
                <a:ext uri="{FF2B5EF4-FFF2-40B4-BE49-F238E27FC236}">
                  <a16:creationId xmlns:a16="http://schemas.microsoft.com/office/drawing/2014/main" id="{EC69B5A0-312B-420D-B4E0-11AA03927089}"/>
                </a:ext>
              </a:extLst>
            </p:cNvPr>
            <p:cNvSpPr/>
            <p:nvPr/>
          </p:nvSpPr>
          <p:spPr>
            <a:xfrm>
              <a:off x="3139895" y="3476839"/>
              <a:ext cx="66675" cy="66198"/>
            </a:xfrm>
            <a:custGeom>
              <a:avLst/>
              <a:gdLst>
                <a:gd name="connsiteX0" fmla="*/ 45244 w 66675"/>
                <a:gd name="connsiteY0" fmla="*/ 0 h 66198"/>
                <a:gd name="connsiteX1" fmla="*/ 66675 w 66675"/>
                <a:gd name="connsiteY1" fmla="*/ 41434 h 66198"/>
                <a:gd name="connsiteX2" fmla="*/ 23336 w 66675"/>
                <a:gd name="connsiteY2" fmla="*/ 66199 h 66198"/>
                <a:gd name="connsiteX3" fmla="*/ 0 w 66675"/>
                <a:gd name="connsiteY3" fmla="*/ 22384 h 66198"/>
                <a:gd name="connsiteX4" fmla="*/ 45244 w 66675"/>
                <a:gd name="connsiteY4" fmla="*/ 0 h 66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198">
                  <a:moveTo>
                    <a:pt x="45244" y="0"/>
                  </a:moveTo>
                  <a:cubicBezTo>
                    <a:pt x="52864" y="14764"/>
                    <a:pt x="59531" y="27622"/>
                    <a:pt x="66675" y="41434"/>
                  </a:cubicBezTo>
                  <a:cubicBezTo>
                    <a:pt x="53340" y="49054"/>
                    <a:pt x="40005" y="56674"/>
                    <a:pt x="23336" y="66199"/>
                  </a:cubicBezTo>
                  <a:cubicBezTo>
                    <a:pt x="15240" y="50959"/>
                    <a:pt x="7620" y="37147"/>
                    <a:pt x="0" y="22384"/>
                  </a:cubicBezTo>
                  <a:cubicBezTo>
                    <a:pt x="15716" y="14764"/>
                    <a:pt x="29527" y="7620"/>
                    <a:pt x="45244" y="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45" name="Freeform: Shape 44">
              <a:extLst>
                <a:ext uri="{FF2B5EF4-FFF2-40B4-BE49-F238E27FC236}">
                  <a16:creationId xmlns:a16="http://schemas.microsoft.com/office/drawing/2014/main" id="{51EC3461-D7F6-4A93-86BD-97318A4A0D26}"/>
                </a:ext>
              </a:extLst>
            </p:cNvPr>
            <p:cNvSpPr/>
            <p:nvPr/>
          </p:nvSpPr>
          <p:spPr>
            <a:xfrm>
              <a:off x="3192282" y="3562564"/>
              <a:ext cx="68579" cy="69056"/>
            </a:xfrm>
            <a:custGeom>
              <a:avLst/>
              <a:gdLst>
                <a:gd name="connsiteX0" fmla="*/ 68580 w 68579"/>
                <a:gd name="connsiteY0" fmla="*/ 39052 h 69056"/>
                <a:gd name="connsiteX1" fmla="*/ 30004 w 68579"/>
                <a:gd name="connsiteY1" fmla="*/ 69056 h 69056"/>
                <a:gd name="connsiteX2" fmla="*/ 0 w 68579"/>
                <a:gd name="connsiteY2" fmla="*/ 29051 h 69056"/>
                <a:gd name="connsiteX3" fmla="*/ 41434 w 68579"/>
                <a:gd name="connsiteY3" fmla="*/ 0 h 69056"/>
                <a:gd name="connsiteX4" fmla="*/ 68580 w 68579"/>
                <a:gd name="connsiteY4" fmla="*/ 39052 h 6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79" h="69056">
                  <a:moveTo>
                    <a:pt x="68580" y="39052"/>
                  </a:moveTo>
                  <a:cubicBezTo>
                    <a:pt x="54769" y="49530"/>
                    <a:pt x="43339" y="58579"/>
                    <a:pt x="30004" y="69056"/>
                  </a:cubicBezTo>
                  <a:cubicBezTo>
                    <a:pt x="20002" y="55721"/>
                    <a:pt x="10954" y="43339"/>
                    <a:pt x="0" y="29051"/>
                  </a:cubicBezTo>
                  <a:cubicBezTo>
                    <a:pt x="14288" y="19050"/>
                    <a:pt x="27622" y="10001"/>
                    <a:pt x="41434" y="0"/>
                  </a:cubicBezTo>
                  <a:cubicBezTo>
                    <a:pt x="50483" y="13335"/>
                    <a:pt x="59055" y="25241"/>
                    <a:pt x="68580" y="39052"/>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46" name="Freeform: Shape 45">
              <a:extLst>
                <a:ext uri="{FF2B5EF4-FFF2-40B4-BE49-F238E27FC236}">
                  <a16:creationId xmlns:a16="http://schemas.microsoft.com/office/drawing/2014/main" id="{C90EBF46-2C14-4D86-9735-4CEB6DD15DBC}"/>
                </a:ext>
              </a:extLst>
            </p:cNvPr>
            <p:cNvSpPr/>
            <p:nvPr/>
          </p:nvSpPr>
          <p:spPr>
            <a:xfrm>
              <a:off x="3286104" y="2621494"/>
              <a:ext cx="69056" cy="68103"/>
            </a:xfrm>
            <a:custGeom>
              <a:avLst/>
              <a:gdLst>
                <a:gd name="connsiteX0" fmla="*/ 35719 w 69056"/>
                <a:gd name="connsiteY0" fmla="*/ 68104 h 68103"/>
                <a:gd name="connsiteX1" fmla="*/ 0 w 69056"/>
                <a:gd name="connsiteY1" fmla="*/ 33814 h 68103"/>
                <a:gd name="connsiteX2" fmla="*/ 36195 w 69056"/>
                <a:gd name="connsiteY2" fmla="*/ 0 h 68103"/>
                <a:gd name="connsiteX3" fmla="*/ 69056 w 69056"/>
                <a:gd name="connsiteY3" fmla="*/ 37148 h 68103"/>
                <a:gd name="connsiteX4" fmla="*/ 35719 w 69056"/>
                <a:gd name="connsiteY4" fmla="*/ 68104 h 68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56" h="68103">
                  <a:moveTo>
                    <a:pt x="35719" y="68104"/>
                  </a:moveTo>
                  <a:cubicBezTo>
                    <a:pt x="23336" y="56198"/>
                    <a:pt x="12859" y="46196"/>
                    <a:pt x="0" y="33814"/>
                  </a:cubicBezTo>
                  <a:cubicBezTo>
                    <a:pt x="12382" y="22384"/>
                    <a:pt x="23813" y="11906"/>
                    <a:pt x="36195" y="0"/>
                  </a:cubicBezTo>
                  <a:cubicBezTo>
                    <a:pt x="47625" y="12859"/>
                    <a:pt x="57150" y="23813"/>
                    <a:pt x="69056" y="37148"/>
                  </a:cubicBezTo>
                  <a:cubicBezTo>
                    <a:pt x="58579" y="47149"/>
                    <a:pt x="47625" y="57150"/>
                    <a:pt x="35719" y="68104"/>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47" name="Freeform: Shape 46">
              <a:extLst>
                <a:ext uri="{FF2B5EF4-FFF2-40B4-BE49-F238E27FC236}">
                  <a16:creationId xmlns:a16="http://schemas.microsoft.com/office/drawing/2014/main" id="{2304BD2A-A5DE-4919-8728-5C4B6F52311B}"/>
                </a:ext>
              </a:extLst>
            </p:cNvPr>
            <p:cNvSpPr/>
            <p:nvPr/>
          </p:nvSpPr>
          <p:spPr>
            <a:xfrm>
              <a:off x="3456601" y="2507194"/>
              <a:ext cx="64769" cy="66675"/>
            </a:xfrm>
            <a:custGeom>
              <a:avLst/>
              <a:gdLst>
                <a:gd name="connsiteX0" fmla="*/ 64770 w 64769"/>
                <a:gd name="connsiteY0" fmla="*/ 47149 h 66675"/>
                <a:gd name="connsiteX1" fmla="*/ 24765 w 64769"/>
                <a:gd name="connsiteY1" fmla="*/ 66675 h 66675"/>
                <a:gd name="connsiteX2" fmla="*/ 0 w 64769"/>
                <a:gd name="connsiteY2" fmla="*/ 22860 h 66675"/>
                <a:gd name="connsiteX3" fmla="*/ 45244 w 64769"/>
                <a:gd name="connsiteY3" fmla="*/ 0 h 66675"/>
                <a:gd name="connsiteX4" fmla="*/ 64770 w 64769"/>
                <a:gd name="connsiteY4" fmla="*/ 47149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69" h="66675">
                  <a:moveTo>
                    <a:pt x="64770" y="47149"/>
                  </a:moveTo>
                  <a:cubicBezTo>
                    <a:pt x="50006" y="54293"/>
                    <a:pt x="38100" y="60484"/>
                    <a:pt x="24765" y="66675"/>
                  </a:cubicBezTo>
                  <a:cubicBezTo>
                    <a:pt x="16669" y="51911"/>
                    <a:pt x="9049" y="38576"/>
                    <a:pt x="0" y="22860"/>
                  </a:cubicBezTo>
                  <a:cubicBezTo>
                    <a:pt x="15240" y="15240"/>
                    <a:pt x="29051" y="8096"/>
                    <a:pt x="45244" y="0"/>
                  </a:cubicBezTo>
                  <a:cubicBezTo>
                    <a:pt x="51911" y="15716"/>
                    <a:pt x="57626" y="30480"/>
                    <a:pt x="64770" y="47149"/>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48" name="Freeform: Shape 47">
              <a:extLst>
                <a:ext uri="{FF2B5EF4-FFF2-40B4-BE49-F238E27FC236}">
                  <a16:creationId xmlns:a16="http://schemas.microsoft.com/office/drawing/2014/main" id="{9890EC16-E381-4B5A-912E-96B648373D3F}"/>
                </a:ext>
              </a:extLst>
            </p:cNvPr>
            <p:cNvSpPr/>
            <p:nvPr/>
          </p:nvSpPr>
          <p:spPr>
            <a:xfrm>
              <a:off x="3555185" y="2473380"/>
              <a:ext cx="60483" cy="61912"/>
            </a:xfrm>
            <a:custGeom>
              <a:avLst/>
              <a:gdLst>
                <a:gd name="connsiteX0" fmla="*/ 16669 w 60483"/>
                <a:gd name="connsiteY0" fmla="*/ 61913 h 61912"/>
                <a:gd name="connsiteX1" fmla="*/ 0 w 60483"/>
                <a:gd name="connsiteY1" fmla="*/ 14288 h 61912"/>
                <a:gd name="connsiteX2" fmla="*/ 46673 w 60483"/>
                <a:gd name="connsiteY2" fmla="*/ 0 h 61912"/>
                <a:gd name="connsiteX3" fmla="*/ 60484 w 60483"/>
                <a:gd name="connsiteY3" fmla="*/ 47625 h 61912"/>
                <a:gd name="connsiteX4" fmla="*/ 16669 w 60483"/>
                <a:gd name="connsiteY4" fmla="*/ 61913 h 61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483" h="61912">
                  <a:moveTo>
                    <a:pt x="16669" y="61913"/>
                  </a:moveTo>
                  <a:cubicBezTo>
                    <a:pt x="10477" y="44291"/>
                    <a:pt x="5715" y="30480"/>
                    <a:pt x="0" y="14288"/>
                  </a:cubicBezTo>
                  <a:cubicBezTo>
                    <a:pt x="15716" y="9525"/>
                    <a:pt x="29527" y="5239"/>
                    <a:pt x="46673" y="0"/>
                  </a:cubicBezTo>
                  <a:cubicBezTo>
                    <a:pt x="50959" y="15716"/>
                    <a:pt x="55245" y="30480"/>
                    <a:pt x="60484" y="47625"/>
                  </a:cubicBezTo>
                  <a:cubicBezTo>
                    <a:pt x="45720" y="52388"/>
                    <a:pt x="32385" y="56674"/>
                    <a:pt x="16669" y="61913"/>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grpSp>
      <p:grpSp>
        <p:nvGrpSpPr>
          <p:cNvPr id="50" name="Graphic 46">
            <a:extLst>
              <a:ext uri="{FF2B5EF4-FFF2-40B4-BE49-F238E27FC236}">
                <a16:creationId xmlns:a16="http://schemas.microsoft.com/office/drawing/2014/main" id="{BD1E822D-28D3-41A7-8CC8-D5DB6D28EB15}"/>
              </a:ext>
            </a:extLst>
          </p:cNvPr>
          <p:cNvGrpSpPr>
            <a:grpSpLocks noChangeAspect="1"/>
          </p:cNvGrpSpPr>
          <p:nvPr/>
        </p:nvGrpSpPr>
        <p:grpSpPr>
          <a:xfrm>
            <a:off x="3380359" y="2728734"/>
            <a:ext cx="941303" cy="871617"/>
            <a:chOff x="3742861" y="1805208"/>
            <a:chExt cx="1659715" cy="1536841"/>
          </a:xfrm>
          <a:solidFill>
            <a:srgbClr val="FFFFFF"/>
          </a:solidFill>
        </p:grpSpPr>
        <p:sp>
          <p:nvSpPr>
            <p:cNvPr id="51" name="Freeform: Shape 50">
              <a:extLst>
                <a:ext uri="{FF2B5EF4-FFF2-40B4-BE49-F238E27FC236}">
                  <a16:creationId xmlns:a16="http://schemas.microsoft.com/office/drawing/2014/main" id="{A3E9A3C4-0629-47C7-84EA-15C8905C6A79}"/>
                </a:ext>
              </a:extLst>
            </p:cNvPr>
            <p:cNvSpPr/>
            <p:nvPr/>
          </p:nvSpPr>
          <p:spPr>
            <a:xfrm>
              <a:off x="3851822" y="2344718"/>
              <a:ext cx="1440357" cy="773142"/>
            </a:xfrm>
            <a:custGeom>
              <a:avLst/>
              <a:gdLst>
                <a:gd name="connsiteX0" fmla="*/ 55333 w 1440357"/>
                <a:gd name="connsiteY0" fmla="*/ 665181 h 773142"/>
                <a:gd name="connsiteX1" fmla="*/ 88 w 1440357"/>
                <a:gd name="connsiteY1" fmla="*/ 732808 h 773142"/>
                <a:gd name="connsiteX2" fmla="*/ 56285 w 1440357"/>
                <a:gd name="connsiteY2" fmla="*/ 772813 h 773142"/>
                <a:gd name="connsiteX3" fmla="*/ 719225 w 1440357"/>
                <a:gd name="connsiteY3" fmla="*/ 772813 h 773142"/>
                <a:gd name="connsiteX4" fmla="*/ 1386928 w 1440357"/>
                <a:gd name="connsiteY4" fmla="*/ 772813 h 773142"/>
                <a:gd name="connsiteX5" fmla="*/ 1440268 w 1440357"/>
                <a:gd name="connsiteY5" fmla="*/ 734713 h 773142"/>
                <a:gd name="connsiteX6" fmla="*/ 1386928 w 1440357"/>
                <a:gd name="connsiteY6" fmla="*/ 665181 h 773142"/>
                <a:gd name="connsiteX7" fmla="*/ 1325968 w 1440357"/>
                <a:gd name="connsiteY7" fmla="*/ 598506 h 773142"/>
                <a:gd name="connsiteX8" fmla="*/ 1327873 w 1440357"/>
                <a:gd name="connsiteY8" fmla="*/ 49866 h 773142"/>
                <a:gd name="connsiteX9" fmla="*/ 1279295 w 1440357"/>
                <a:gd name="connsiteY9" fmla="*/ 1288 h 773142"/>
                <a:gd name="connsiteX10" fmla="*/ 1170710 w 1440357"/>
                <a:gd name="connsiteY10" fmla="*/ 1288 h 773142"/>
                <a:gd name="connsiteX11" fmla="*/ 1108798 w 1440357"/>
                <a:gd name="connsiteY11" fmla="*/ 64153 h 773142"/>
                <a:gd name="connsiteX12" fmla="*/ 1107845 w 1440357"/>
                <a:gd name="connsiteY12" fmla="*/ 612793 h 773142"/>
                <a:gd name="connsiteX13" fmla="*/ 1090700 w 1440357"/>
                <a:gd name="connsiteY13" fmla="*/ 659466 h 773142"/>
                <a:gd name="connsiteX14" fmla="*/ 996403 w 1440357"/>
                <a:gd name="connsiteY14" fmla="*/ 600411 h 773142"/>
                <a:gd name="connsiteX15" fmla="*/ 997355 w 1440357"/>
                <a:gd name="connsiteY15" fmla="*/ 47008 h 773142"/>
                <a:gd name="connsiteX16" fmla="*/ 951635 w 1440357"/>
                <a:gd name="connsiteY16" fmla="*/ 336 h 773142"/>
                <a:gd name="connsiteX17" fmla="*/ 828763 w 1440357"/>
                <a:gd name="connsiteY17" fmla="*/ 336 h 773142"/>
                <a:gd name="connsiteX18" fmla="*/ 778280 w 1440357"/>
                <a:gd name="connsiteY18" fmla="*/ 51771 h 773142"/>
                <a:gd name="connsiteX19" fmla="*/ 780185 w 1440357"/>
                <a:gd name="connsiteY19" fmla="*/ 609936 h 773142"/>
                <a:gd name="connsiteX20" fmla="*/ 726845 w 1440357"/>
                <a:gd name="connsiteY20" fmla="*/ 664228 h 773142"/>
                <a:gd name="connsiteX21" fmla="*/ 666838 w 1440357"/>
                <a:gd name="connsiteY21" fmla="*/ 603268 h 773142"/>
                <a:gd name="connsiteX22" fmla="*/ 667790 w 1440357"/>
                <a:gd name="connsiteY22" fmla="*/ 49866 h 773142"/>
                <a:gd name="connsiteX23" fmla="*/ 619213 w 1440357"/>
                <a:gd name="connsiteY23" fmla="*/ 1288 h 773142"/>
                <a:gd name="connsiteX24" fmla="*/ 510628 w 1440357"/>
                <a:gd name="connsiteY24" fmla="*/ 2241 h 773142"/>
                <a:gd name="connsiteX25" fmla="*/ 448715 w 1440357"/>
                <a:gd name="connsiteY25" fmla="*/ 65106 h 773142"/>
                <a:gd name="connsiteX26" fmla="*/ 447763 w 1440357"/>
                <a:gd name="connsiteY26" fmla="*/ 613746 h 773142"/>
                <a:gd name="connsiteX27" fmla="*/ 430618 w 1440357"/>
                <a:gd name="connsiteY27" fmla="*/ 660418 h 773142"/>
                <a:gd name="connsiteX28" fmla="*/ 336320 w 1440357"/>
                <a:gd name="connsiteY28" fmla="*/ 601363 h 773142"/>
                <a:gd name="connsiteX29" fmla="*/ 337273 w 1440357"/>
                <a:gd name="connsiteY29" fmla="*/ 47961 h 773142"/>
                <a:gd name="connsiteX30" fmla="*/ 290600 w 1440357"/>
                <a:gd name="connsiteY30" fmla="*/ 1288 h 773142"/>
                <a:gd name="connsiteX31" fmla="*/ 167728 w 1440357"/>
                <a:gd name="connsiteY31" fmla="*/ 1288 h 773142"/>
                <a:gd name="connsiteX32" fmla="*/ 117245 w 1440357"/>
                <a:gd name="connsiteY32" fmla="*/ 52723 h 773142"/>
                <a:gd name="connsiteX33" fmla="*/ 119150 w 1440357"/>
                <a:gd name="connsiteY33" fmla="*/ 601363 h 773142"/>
                <a:gd name="connsiteX34" fmla="*/ 55333 w 1440357"/>
                <a:gd name="connsiteY34" fmla="*/ 665181 h 773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440357" h="773142">
                  <a:moveTo>
                    <a:pt x="55333" y="665181"/>
                  </a:moveTo>
                  <a:cubicBezTo>
                    <a:pt x="6755" y="660418"/>
                    <a:pt x="1040" y="693756"/>
                    <a:pt x="88" y="732808"/>
                  </a:cubicBezTo>
                  <a:cubicBezTo>
                    <a:pt x="-1817" y="779481"/>
                    <a:pt x="27710" y="772813"/>
                    <a:pt x="56285" y="772813"/>
                  </a:cubicBezTo>
                  <a:cubicBezTo>
                    <a:pt x="277265" y="772813"/>
                    <a:pt x="498245" y="772813"/>
                    <a:pt x="719225" y="772813"/>
                  </a:cubicBezTo>
                  <a:cubicBezTo>
                    <a:pt x="942110" y="772813"/>
                    <a:pt x="1164043" y="772813"/>
                    <a:pt x="1386928" y="772813"/>
                  </a:cubicBezTo>
                  <a:cubicBezTo>
                    <a:pt x="1413598" y="772813"/>
                    <a:pt x="1442173" y="778528"/>
                    <a:pt x="1440268" y="734713"/>
                  </a:cubicBezTo>
                  <a:cubicBezTo>
                    <a:pt x="1438363" y="696613"/>
                    <a:pt x="1436458" y="660418"/>
                    <a:pt x="1386928" y="665181"/>
                  </a:cubicBezTo>
                  <a:cubicBezTo>
                    <a:pt x="1332635" y="669943"/>
                    <a:pt x="1325968" y="644226"/>
                    <a:pt x="1325968" y="598506"/>
                  </a:cubicBezTo>
                  <a:cubicBezTo>
                    <a:pt x="1327873" y="415626"/>
                    <a:pt x="1325968" y="232746"/>
                    <a:pt x="1327873" y="49866"/>
                  </a:cubicBezTo>
                  <a:cubicBezTo>
                    <a:pt x="1327873" y="12718"/>
                    <a:pt x="1316443" y="-1569"/>
                    <a:pt x="1279295" y="1288"/>
                  </a:cubicBezTo>
                  <a:cubicBezTo>
                    <a:pt x="1243100" y="3193"/>
                    <a:pt x="1206905" y="1288"/>
                    <a:pt x="1170710" y="1288"/>
                  </a:cubicBezTo>
                  <a:cubicBezTo>
                    <a:pt x="1108798" y="1288"/>
                    <a:pt x="1108798" y="1288"/>
                    <a:pt x="1108798" y="64153"/>
                  </a:cubicBezTo>
                  <a:cubicBezTo>
                    <a:pt x="1108798" y="247033"/>
                    <a:pt x="1108798" y="429913"/>
                    <a:pt x="1107845" y="612793"/>
                  </a:cubicBezTo>
                  <a:cubicBezTo>
                    <a:pt x="1107845" y="628986"/>
                    <a:pt x="1101178" y="654703"/>
                    <a:pt x="1090700" y="659466"/>
                  </a:cubicBezTo>
                  <a:cubicBezTo>
                    <a:pt x="1036408" y="685183"/>
                    <a:pt x="996403" y="658513"/>
                    <a:pt x="996403" y="600411"/>
                  </a:cubicBezTo>
                  <a:cubicBezTo>
                    <a:pt x="996403" y="415626"/>
                    <a:pt x="995450" y="230841"/>
                    <a:pt x="997355" y="47008"/>
                  </a:cubicBezTo>
                  <a:cubicBezTo>
                    <a:pt x="997355" y="11766"/>
                    <a:pt x="986878" y="-1569"/>
                    <a:pt x="951635" y="336"/>
                  </a:cubicBezTo>
                  <a:cubicBezTo>
                    <a:pt x="910678" y="2241"/>
                    <a:pt x="869720" y="3193"/>
                    <a:pt x="828763" y="336"/>
                  </a:cubicBezTo>
                  <a:cubicBezTo>
                    <a:pt x="788758" y="-2522"/>
                    <a:pt x="777328" y="12718"/>
                    <a:pt x="778280" y="51771"/>
                  </a:cubicBezTo>
                  <a:cubicBezTo>
                    <a:pt x="780185" y="237508"/>
                    <a:pt x="778280" y="424198"/>
                    <a:pt x="780185" y="609936"/>
                  </a:cubicBezTo>
                  <a:cubicBezTo>
                    <a:pt x="780185" y="651846"/>
                    <a:pt x="767803" y="666133"/>
                    <a:pt x="726845" y="664228"/>
                  </a:cubicBezTo>
                  <a:cubicBezTo>
                    <a:pt x="667790" y="661371"/>
                    <a:pt x="666838" y="663276"/>
                    <a:pt x="666838" y="603268"/>
                  </a:cubicBezTo>
                  <a:cubicBezTo>
                    <a:pt x="666838" y="418483"/>
                    <a:pt x="665885" y="233698"/>
                    <a:pt x="667790" y="49866"/>
                  </a:cubicBezTo>
                  <a:cubicBezTo>
                    <a:pt x="667790" y="12718"/>
                    <a:pt x="656360" y="-1569"/>
                    <a:pt x="619213" y="1288"/>
                  </a:cubicBezTo>
                  <a:cubicBezTo>
                    <a:pt x="583018" y="3193"/>
                    <a:pt x="546823" y="1288"/>
                    <a:pt x="510628" y="2241"/>
                  </a:cubicBezTo>
                  <a:cubicBezTo>
                    <a:pt x="448715" y="2241"/>
                    <a:pt x="448715" y="2241"/>
                    <a:pt x="448715" y="65106"/>
                  </a:cubicBezTo>
                  <a:cubicBezTo>
                    <a:pt x="448715" y="247986"/>
                    <a:pt x="448715" y="430866"/>
                    <a:pt x="447763" y="613746"/>
                  </a:cubicBezTo>
                  <a:cubicBezTo>
                    <a:pt x="447763" y="629938"/>
                    <a:pt x="441095" y="655656"/>
                    <a:pt x="430618" y="660418"/>
                  </a:cubicBezTo>
                  <a:cubicBezTo>
                    <a:pt x="376325" y="686136"/>
                    <a:pt x="336320" y="659466"/>
                    <a:pt x="336320" y="601363"/>
                  </a:cubicBezTo>
                  <a:cubicBezTo>
                    <a:pt x="336320" y="416578"/>
                    <a:pt x="335368" y="231793"/>
                    <a:pt x="337273" y="47961"/>
                  </a:cubicBezTo>
                  <a:cubicBezTo>
                    <a:pt x="337273" y="12718"/>
                    <a:pt x="325843" y="-617"/>
                    <a:pt x="290600" y="1288"/>
                  </a:cubicBezTo>
                  <a:cubicBezTo>
                    <a:pt x="249643" y="3193"/>
                    <a:pt x="208685" y="4146"/>
                    <a:pt x="167728" y="1288"/>
                  </a:cubicBezTo>
                  <a:cubicBezTo>
                    <a:pt x="127723" y="-1569"/>
                    <a:pt x="116293" y="13671"/>
                    <a:pt x="117245" y="52723"/>
                  </a:cubicBezTo>
                  <a:cubicBezTo>
                    <a:pt x="119150" y="235603"/>
                    <a:pt x="116293" y="418483"/>
                    <a:pt x="119150" y="601363"/>
                  </a:cubicBezTo>
                  <a:cubicBezTo>
                    <a:pt x="114388" y="646131"/>
                    <a:pt x="106768" y="670896"/>
                    <a:pt x="55333" y="665181"/>
                  </a:cubicBezTo>
                  <a:close/>
                </a:path>
              </a:pathLst>
            </a:custGeom>
            <a:solidFill>
              <a:srgbClr val="FFFFFF"/>
            </a:solidFill>
            <a:ln w="9525" cap="flat">
              <a:noFill/>
              <a:prstDash val="solid"/>
              <a:miter/>
            </a:ln>
          </p:spPr>
          <p:txBody>
            <a:bodyPr rtlCol="0" anchor="ctr"/>
            <a:lstStyle/>
            <a:p>
              <a:pPr defTabSz="1219170"/>
              <a:endParaRPr lang="en-US" sz="3200">
                <a:solidFill>
                  <a:srgbClr val="102B62"/>
                </a:solidFill>
                <a:latin typeface="Arial"/>
              </a:endParaRPr>
            </a:p>
          </p:txBody>
        </p:sp>
        <p:sp>
          <p:nvSpPr>
            <p:cNvPr id="52" name="Freeform: Shape 51">
              <a:extLst>
                <a:ext uri="{FF2B5EF4-FFF2-40B4-BE49-F238E27FC236}">
                  <a16:creationId xmlns:a16="http://schemas.microsoft.com/office/drawing/2014/main" id="{D1AE118A-5009-4C59-B573-68AC74A107E8}"/>
                </a:ext>
              </a:extLst>
            </p:cNvPr>
            <p:cNvSpPr/>
            <p:nvPr/>
          </p:nvSpPr>
          <p:spPr>
            <a:xfrm>
              <a:off x="4586287" y="2084069"/>
              <a:ext cx="30479" cy="60007"/>
            </a:xfrm>
            <a:custGeom>
              <a:avLst/>
              <a:gdLst>
                <a:gd name="connsiteX0" fmla="*/ 30480 w 30479"/>
                <a:gd name="connsiteY0" fmla="*/ 27623 h 60007"/>
                <a:gd name="connsiteX1" fmla="*/ 23813 w 30479"/>
                <a:gd name="connsiteY1" fmla="*/ 10478 h 60007"/>
                <a:gd name="connsiteX2" fmla="*/ 5715 w 30479"/>
                <a:gd name="connsiteY2" fmla="*/ 0 h 60007"/>
                <a:gd name="connsiteX3" fmla="*/ 0 w 30479"/>
                <a:gd name="connsiteY3" fmla="*/ 60007 h 60007"/>
                <a:gd name="connsiteX4" fmla="*/ 30480 w 30479"/>
                <a:gd name="connsiteY4" fmla="*/ 27623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60007">
                  <a:moveTo>
                    <a:pt x="30480" y="27623"/>
                  </a:moveTo>
                  <a:cubicBezTo>
                    <a:pt x="30480" y="20955"/>
                    <a:pt x="28575" y="15240"/>
                    <a:pt x="23813" y="10478"/>
                  </a:cubicBezTo>
                  <a:cubicBezTo>
                    <a:pt x="19050" y="6668"/>
                    <a:pt x="13335" y="2858"/>
                    <a:pt x="5715" y="0"/>
                  </a:cubicBezTo>
                  <a:lnTo>
                    <a:pt x="0" y="60007"/>
                  </a:lnTo>
                  <a:cubicBezTo>
                    <a:pt x="20002" y="57150"/>
                    <a:pt x="30480" y="45720"/>
                    <a:pt x="30480" y="27623"/>
                  </a:cubicBezTo>
                  <a:close/>
                </a:path>
              </a:pathLst>
            </a:custGeom>
            <a:solidFill>
              <a:srgbClr val="FFFFFF"/>
            </a:solidFill>
            <a:ln w="9525" cap="flat">
              <a:noFill/>
              <a:prstDash val="solid"/>
              <a:miter/>
            </a:ln>
          </p:spPr>
          <p:txBody>
            <a:bodyPr rtlCol="0" anchor="ctr"/>
            <a:lstStyle/>
            <a:p>
              <a:pPr defTabSz="1219170"/>
              <a:endParaRPr lang="en-US" sz="3200">
                <a:solidFill>
                  <a:srgbClr val="102B62"/>
                </a:solidFill>
                <a:latin typeface="Arial"/>
              </a:endParaRPr>
            </a:p>
          </p:txBody>
        </p:sp>
        <p:sp>
          <p:nvSpPr>
            <p:cNvPr id="53" name="Freeform: Shape 52">
              <a:extLst>
                <a:ext uri="{FF2B5EF4-FFF2-40B4-BE49-F238E27FC236}">
                  <a16:creationId xmlns:a16="http://schemas.microsoft.com/office/drawing/2014/main" id="{50AE098F-6213-4298-9957-7CBC9FD68C08}"/>
                </a:ext>
              </a:extLst>
            </p:cNvPr>
            <p:cNvSpPr/>
            <p:nvPr/>
          </p:nvSpPr>
          <p:spPr>
            <a:xfrm>
              <a:off x="4538662" y="1966912"/>
              <a:ext cx="30479" cy="54292"/>
            </a:xfrm>
            <a:custGeom>
              <a:avLst/>
              <a:gdLst>
                <a:gd name="connsiteX0" fmla="*/ 30480 w 30479"/>
                <a:gd name="connsiteY0" fmla="*/ 0 h 54292"/>
                <a:gd name="connsiteX1" fmla="*/ 16192 w 30479"/>
                <a:gd name="connsiteY1" fmla="*/ 3810 h 54292"/>
                <a:gd name="connsiteX2" fmla="*/ 6667 w 30479"/>
                <a:gd name="connsiteY2" fmla="*/ 9525 h 54292"/>
                <a:gd name="connsiteX3" fmla="*/ 1905 w 30479"/>
                <a:gd name="connsiteY3" fmla="*/ 17145 h 54292"/>
                <a:gd name="connsiteX4" fmla="*/ 0 w 30479"/>
                <a:gd name="connsiteY4" fmla="*/ 25718 h 54292"/>
                <a:gd name="connsiteX5" fmla="*/ 6667 w 30479"/>
                <a:gd name="connsiteY5" fmla="*/ 42863 h 54292"/>
                <a:gd name="connsiteX6" fmla="*/ 24765 w 30479"/>
                <a:gd name="connsiteY6" fmla="*/ 54293 h 54292"/>
                <a:gd name="connsiteX7" fmla="*/ 30480 w 30479"/>
                <a:gd name="connsiteY7" fmla="*/ 0 h 54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79" h="54292">
                  <a:moveTo>
                    <a:pt x="30480" y="0"/>
                  </a:moveTo>
                  <a:cubicBezTo>
                    <a:pt x="24765" y="953"/>
                    <a:pt x="20002" y="1905"/>
                    <a:pt x="16192" y="3810"/>
                  </a:cubicBezTo>
                  <a:cubicBezTo>
                    <a:pt x="12383" y="5715"/>
                    <a:pt x="9525" y="7620"/>
                    <a:pt x="6667" y="9525"/>
                  </a:cubicBezTo>
                  <a:cubicBezTo>
                    <a:pt x="3810" y="11430"/>
                    <a:pt x="2858" y="14288"/>
                    <a:pt x="1905" y="17145"/>
                  </a:cubicBezTo>
                  <a:cubicBezTo>
                    <a:pt x="952" y="20003"/>
                    <a:pt x="0" y="22860"/>
                    <a:pt x="0" y="25718"/>
                  </a:cubicBezTo>
                  <a:cubicBezTo>
                    <a:pt x="0" y="33338"/>
                    <a:pt x="1905" y="39053"/>
                    <a:pt x="6667" y="42863"/>
                  </a:cubicBezTo>
                  <a:cubicBezTo>
                    <a:pt x="11430" y="47625"/>
                    <a:pt x="17145" y="51435"/>
                    <a:pt x="24765" y="54293"/>
                  </a:cubicBezTo>
                  <a:lnTo>
                    <a:pt x="30480" y="0"/>
                  </a:lnTo>
                  <a:close/>
                </a:path>
              </a:pathLst>
            </a:custGeom>
            <a:solidFill>
              <a:srgbClr val="FFFFFF"/>
            </a:solidFill>
            <a:ln w="9525" cap="flat">
              <a:noFill/>
              <a:prstDash val="solid"/>
              <a:miter/>
            </a:ln>
          </p:spPr>
          <p:txBody>
            <a:bodyPr rtlCol="0" anchor="ctr"/>
            <a:lstStyle/>
            <a:p>
              <a:pPr defTabSz="1219170"/>
              <a:endParaRPr lang="en-US" sz="3200">
                <a:solidFill>
                  <a:srgbClr val="102B62"/>
                </a:solidFill>
                <a:latin typeface="Arial"/>
              </a:endParaRPr>
            </a:p>
          </p:txBody>
        </p:sp>
        <p:sp>
          <p:nvSpPr>
            <p:cNvPr id="54" name="Freeform: Shape 53">
              <a:extLst>
                <a:ext uri="{FF2B5EF4-FFF2-40B4-BE49-F238E27FC236}">
                  <a16:creationId xmlns:a16="http://schemas.microsoft.com/office/drawing/2014/main" id="{00491265-6B67-4E74-B7FC-056E4EC63F04}"/>
                </a:ext>
              </a:extLst>
            </p:cNvPr>
            <p:cNvSpPr/>
            <p:nvPr/>
          </p:nvSpPr>
          <p:spPr>
            <a:xfrm>
              <a:off x="3744085" y="1805208"/>
              <a:ext cx="1658491" cy="486505"/>
            </a:xfrm>
            <a:custGeom>
              <a:avLst/>
              <a:gdLst>
                <a:gd name="connsiteX0" fmla="*/ 55437 w 1658491"/>
                <a:gd name="connsiteY0" fmla="*/ 402686 h 486505"/>
                <a:gd name="connsiteX1" fmla="*/ 104015 w 1658491"/>
                <a:gd name="connsiteY1" fmla="*/ 405543 h 486505"/>
                <a:gd name="connsiteX2" fmla="*/ 195455 w 1658491"/>
                <a:gd name="connsiteY2" fmla="*/ 486506 h 486505"/>
                <a:gd name="connsiteX3" fmla="*/ 1453707 w 1658491"/>
                <a:gd name="connsiteY3" fmla="*/ 486506 h 486505"/>
                <a:gd name="connsiteX4" fmla="*/ 1553720 w 1658491"/>
                <a:gd name="connsiteY4" fmla="*/ 404591 h 486505"/>
                <a:gd name="connsiteX5" fmla="*/ 1603250 w 1658491"/>
                <a:gd name="connsiteY5" fmla="*/ 401733 h 486505"/>
                <a:gd name="connsiteX6" fmla="*/ 1649922 w 1658491"/>
                <a:gd name="connsiteY6" fmla="*/ 380778 h 486505"/>
                <a:gd name="connsiteX7" fmla="*/ 1609917 w 1658491"/>
                <a:gd name="connsiteY7" fmla="*/ 283623 h 486505"/>
                <a:gd name="connsiteX8" fmla="*/ 875540 w 1658491"/>
                <a:gd name="connsiteY8" fmla="*/ 7398 h 486505"/>
                <a:gd name="connsiteX9" fmla="*/ 776480 w 1658491"/>
                <a:gd name="connsiteY9" fmla="*/ 8351 h 486505"/>
                <a:gd name="connsiteX10" fmla="*/ 413577 w 1658491"/>
                <a:gd name="connsiteY10" fmla="*/ 144558 h 486505"/>
                <a:gd name="connsiteX11" fmla="*/ 37340 w 1658491"/>
                <a:gd name="connsiteY11" fmla="*/ 285528 h 486505"/>
                <a:gd name="connsiteX12" fmla="*/ 2097 w 1658491"/>
                <a:gd name="connsiteY12" fmla="*/ 370301 h 486505"/>
                <a:gd name="connsiteX13" fmla="*/ 55437 w 1658491"/>
                <a:gd name="connsiteY13" fmla="*/ 402686 h 486505"/>
                <a:gd name="connsiteX14" fmla="*/ 788862 w 1658491"/>
                <a:gd name="connsiteY14" fmla="*/ 260763 h 486505"/>
                <a:gd name="connsiteX15" fmla="*/ 765050 w 1658491"/>
                <a:gd name="connsiteY15" fmla="*/ 247428 h 486505"/>
                <a:gd name="connsiteX16" fmla="*/ 747905 w 1658491"/>
                <a:gd name="connsiteY16" fmla="*/ 226473 h 486505"/>
                <a:gd name="connsiteX17" fmla="*/ 741237 w 1658491"/>
                <a:gd name="connsiteY17" fmla="*/ 194088 h 486505"/>
                <a:gd name="connsiteX18" fmla="*/ 746952 w 1658491"/>
                <a:gd name="connsiteY18" fmla="*/ 165513 h 486505"/>
                <a:gd name="connsiteX19" fmla="*/ 764097 w 1658491"/>
                <a:gd name="connsiteY19" fmla="*/ 140748 h 486505"/>
                <a:gd name="connsiteX20" fmla="*/ 791720 w 1658491"/>
                <a:gd name="connsiteY20" fmla="*/ 122651 h 486505"/>
                <a:gd name="connsiteX21" fmla="*/ 829820 w 1658491"/>
                <a:gd name="connsiteY21" fmla="*/ 114078 h 486505"/>
                <a:gd name="connsiteX22" fmla="*/ 831725 w 1658491"/>
                <a:gd name="connsiteY22" fmla="*/ 94076 h 486505"/>
                <a:gd name="connsiteX23" fmla="*/ 836487 w 1658491"/>
                <a:gd name="connsiteY23" fmla="*/ 84551 h 486505"/>
                <a:gd name="connsiteX24" fmla="*/ 846965 w 1658491"/>
                <a:gd name="connsiteY24" fmla="*/ 80741 h 486505"/>
                <a:gd name="connsiteX25" fmla="*/ 867920 w 1658491"/>
                <a:gd name="connsiteY25" fmla="*/ 80741 h 486505"/>
                <a:gd name="connsiteX26" fmla="*/ 864110 w 1658491"/>
                <a:gd name="connsiteY26" fmla="*/ 116936 h 486505"/>
                <a:gd name="connsiteX27" fmla="*/ 898400 w 1658491"/>
                <a:gd name="connsiteY27" fmla="*/ 128366 h 486505"/>
                <a:gd name="connsiteX28" fmla="*/ 922212 w 1658491"/>
                <a:gd name="connsiteY28" fmla="*/ 145511 h 486505"/>
                <a:gd name="connsiteX29" fmla="*/ 907925 w 1658491"/>
                <a:gd name="connsiteY29" fmla="*/ 165513 h 486505"/>
                <a:gd name="connsiteX30" fmla="*/ 901257 w 1658491"/>
                <a:gd name="connsiteY30" fmla="*/ 172181 h 486505"/>
                <a:gd name="connsiteX31" fmla="*/ 893637 w 1658491"/>
                <a:gd name="connsiteY31" fmla="*/ 174086 h 486505"/>
                <a:gd name="connsiteX32" fmla="*/ 886970 w 1658491"/>
                <a:gd name="connsiteY32" fmla="*/ 173133 h 486505"/>
                <a:gd name="connsiteX33" fmla="*/ 878397 w 1658491"/>
                <a:gd name="connsiteY33" fmla="*/ 170276 h 486505"/>
                <a:gd name="connsiteX34" fmla="*/ 868872 w 1658491"/>
                <a:gd name="connsiteY34" fmla="*/ 166466 h 486505"/>
                <a:gd name="connsiteX35" fmla="*/ 858395 w 1658491"/>
                <a:gd name="connsiteY35" fmla="*/ 162656 h 486505"/>
                <a:gd name="connsiteX36" fmla="*/ 851727 w 1658491"/>
                <a:gd name="connsiteY36" fmla="*/ 227426 h 486505"/>
                <a:gd name="connsiteX37" fmla="*/ 868872 w 1658491"/>
                <a:gd name="connsiteY37" fmla="*/ 233141 h 486505"/>
                <a:gd name="connsiteX38" fmla="*/ 886017 w 1658491"/>
                <a:gd name="connsiteY38" fmla="*/ 239808 h 486505"/>
                <a:gd name="connsiteX39" fmla="*/ 901257 w 1658491"/>
                <a:gd name="connsiteY39" fmla="*/ 248381 h 486505"/>
                <a:gd name="connsiteX40" fmla="*/ 913640 w 1658491"/>
                <a:gd name="connsiteY40" fmla="*/ 260763 h 486505"/>
                <a:gd name="connsiteX41" fmla="*/ 922212 w 1658491"/>
                <a:gd name="connsiteY41" fmla="*/ 276956 h 486505"/>
                <a:gd name="connsiteX42" fmla="*/ 925070 w 1658491"/>
                <a:gd name="connsiteY42" fmla="*/ 297911 h 486505"/>
                <a:gd name="connsiteX43" fmla="*/ 919355 w 1658491"/>
                <a:gd name="connsiteY43" fmla="*/ 330296 h 486505"/>
                <a:gd name="connsiteX44" fmla="*/ 902210 w 1658491"/>
                <a:gd name="connsiteY44" fmla="*/ 356966 h 486505"/>
                <a:gd name="connsiteX45" fmla="*/ 874587 w 1658491"/>
                <a:gd name="connsiteY45" fmla="*/ 376016 h 486505"/>
                <a:gd name="connsiteX46" fmla="*/ 836487 w 1658491"/>
                <a:gd name="connsiteY46" fmla="*/ 384588 h 486505"/>
                <a:gd name="connsiteX47" fmla="*/ 834582 w 1658491"/>
                <a:gd name="connsiteY47" fmla="*/ 407448 h 486505"/>
                <a:gd name="connsiteX48" fmla="*/ 829820 w 1658491"/>
                <a:gd name="connsiteY48" fmla="*/ 416973 h 486505"/>
                <a:gd name="connsiteX49" fmla="*/ 819342 w 1658491"/>
                <a:gd name="connsiteY49" fmla="*/ 420783 h 486505"/>
                <a:gd name="connsiteX50" fmla="*/ 799340 w 1658491"/>
                <a:gd name="connsiteY50" fmla="*/ 420783 h 486505"/>
                <a:gd name="connsiteX51" fmla="*/ 803150 w 1658491"/>
                <a:gd name="connsiteY51" fmla="*/ 382683 h 486505"/>
                <a:gd name="connsiteX52" fmla="*/ 763145 w 1658491"/>
                <a:gd name="connsiteY52" fmla="*/ 370301 h 486505"/>
                <a:gd name="connsiteX53" fmla="*/ 730760 w 1658491"/>
                <a:gd name="connsiteY53" fmla="*/ 349346 h 486505"/>
                <a:gd name="connsiteX54" fmla="*/ 747905 w 1658491"/>
                <a:gd name="connsiteY54" fmla="*/ 323628 h 486505"/>
                <a:gd name="connsiteX55" fmla="*/ 753620 w 1658491"/>
                <a:gd name="connsiteY55" fmla="*/ 318866 h 486505"/>
                <a:gd name="connsiteX56" fmla="*/ 761240 w 1658491"/>
                <a:gd name="connsiteY56" fmla="*/ 316961 h 486505"/>
                <a:gd name="connsiteX57" fmla="*/ 769812 w 1658491"/>
                <a:gd name="connsiteY57" fmla="*/ 318866 h 486505"/>
                <a:gd name="connsiteX58" fmla="*/ 779337 w 1658491"/>
                <a:gd name="connsiteY58" fmla="*/ 324581 h 486505"/>
                <a:gd name="connsiteX59" fmla="*/ 790767 w 1658491"/>
                <a:gd name="connsiteY59" fmla="*/ 331248 h 486505"/>
                <a:gd name="connsiteX60" fmla="*/ 805055 w 1658491"/>
                <a:gd name="connsiteY60" fmla="*/ 336963 h 486505"/>
                <a:gd name="connsiteX61" fmla="*/ 811722 w 1658491"/>
                <a:gd name="connsiteY61" fmla="*/ 268383 h 486505"/>
                <a:gd name="connsiteX62" fmla="*/ 788862 w 1658491"/>
                <a:gd name="connsiteY62" fmla="*/ 260763 h 486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658491" h="486505">
                  <a:moveTo>
                    <a:pt x="55437" y="402686"/>
                  </a:moveTo>
                  <a:cubicBezTo>
                    <a:pt x="71630" y="403638"/>
                    <a:pt x="88775" y="404591"/>
                    <a:pt x="104015" y="405543"/>
                  </a:cubicBezTo>
                  <a:cubicBezTo>
                    <a:pt x="115445" y="483648"/>
                    <a:pt x="118302" y="486506"/>
                    <a:pt x="195455" y="486506"/>
                  </a:cubicBezTo>
                  <a:cubicBezTo>
                    <a:pt x="614555" y="486506"/>
                    <a:pt x="1034607" y="486506"/>
                    <a:pt x="1453707" y="486506"/>
                  </a:cubicBezTo>
                  <a:cubicBezTo>
                    <a:pt x="1536575" y="486506"/>
                    <a:pt x="1536575" y="486506"/>
                    <a:pt x="1553720" y="404591"/>
                  </a:cubicBezTo>
                  <a:cubicBezTo>
                    <a:pt x="1569912" y="403638"/>
                    <a:pt x="1587057" y="405543"/>
                    <a:pt x="1603250" y="401733"/>
                  </a:cubicBezTo>
                  <a:cubicBezTo>
                    <a:pt x="1619442" y="397923"/>
                    <a:pt x="1643255" y="393161"/>
                    <a:pt x="1649922" y="380778"/>
                  </a:cubicBezTo>
                  <a:cubicBezTo>
                    <a:pt x="1670877" y="341726"/>
                    <a:pt x="1651827" y="299816"/>
                    <a:pt x="1609917" y="283623"/>
                  </a:cubicBezTo>
                  <a:cubicBezTo>
                    <a:pt x="1365125" y="191231"/>
                    <a:pt x="1121285" y="96933"/>
                    <a:pt x="875540" y="7398"/>
                  </a:cubicBezTo>
                  <a:cubicBezTo>
                    <a:pt x="846012" y="-3079"/>
                    <a:pt x="806960" y="-2127"/>
                    <a:pt x="776480" y="8351"/>
                  </a:cubicBezTo>
                  <a:cubicBezTo>
                    <a:pt x="654560" y="50261"/>
                    <a:pt x="534545" y="98838"/>
                    <a:pt x="413577" y="144558"/>
                  </a:cubicBezTo>
                  <a:cubicBezTo>
                    <a:pt x="288800" y="192183"/>
                    <a:pt x="164022" y="241713"/>
                    <a:pt x="37340" y="285528"/>
                  </a:cubicBezTo>
                  <a:cubicBezTo>
                    <a:pt x="-11238" y="302673"/>
                    <a:pt x="1145" y="337916"/>
                    <a:pt x="2097" y="370301"/>
                  </a:cubicBezTo>
                  <a:cubicBezTo>
                    <a:pt x="4002" y="405543"/>
                    <a:pt x="31625" y="401733"/>
                    <a:pt x="55437" y="402686"/>
                  </a:cubicBezTo>
                  <a:close/>
                  <a:moveTo>
                    <a:pt x="788862" y="260763"/>
                  </a:moveTo>
                  <a:cubicBezTo>
                    <a:pt x="780290" y="257906"/>
                    <a:pt x="772670" y="253143"/>
                    <a:pt x="765050" y="247428"/>
                  </a:cubicBezTo>
                  <a:cubicBezTo>
                    <a:pt x="758382" y="241713"/>
                    <a:pt x="752667" y="235046"/>
                    <a:pt x="747905" y="226473"/>
                  </a:cubicBezTo>
                  <a:cubicBezTo>
                    <a:pt x="743142" y="217901"/>
                    <a:pt x="741237" y="207423"/>
                    <a:pt x="741237" y="194088"/>
                  </a:cubicBezTo>
                  <a:cubicBezTo>
                    <a:pt x="741237" y="184563"/>
                    <a:pt x="743142" y="175038"/>
                    <a:pt x="746952" y="165513"/>
                  </a:cubicBezTo>
                  <a:cubicBezTo>
                    <a:pt x="750762" y="155988"/>
                    <a:pt x="756477" y="148368"/>
                    <a:pt x="764097" y="140748"/>
                  </a:cubicBezTo>
                  <a:cubicBezTo>
                    <a:pt x="771717" y="133128"/>
                    <a:pt x="781242" y="127413"/>
                    <a:pt x="791720" y="122651"/>
                  </a:cubicBezTo>
                  <a:cubicBezTo>
                    <a:pt x="803150" y="117888"/>
                    <a:pt x="815532" y="115031"/>
                    <a:pt x="829820" y="114078"/>
                  </a:cubicBezTo>
                  <a:lnTo>
                    <a:pt x="831725" y="94076"/>
                  </a:lnTo>
                  <a:cubicBezTo>
                    <a:pt x="831725" y="90266"/>
                    <a:pt x="833630" y="87408"/>
                    <a:pt x="836487" y="84551"/>
                  </a:cubicBezTo>
                  <a:cubicBezTo>
                    <a:pt x="839345" y="81693"/>
                    <a:pt x="843155" y="80741"/>
                    <a:pt x="846965" y="80741"/>
                  </a:cubicBezTo>
                  <a:lnTo>
                    <a:pt x="867920" y="80741"/>
                  </a:lnTo>
                  <a:lnTo>
                    <a:pt x="864110" y="116936"/>
                  </a:lnTo>
                  <a:cubicBezTo>
                    <a:pt x="877445" y="119793"/>
                    <a:pt x="888875" y="123603"/>
                    <a:pt x="898400" y="128366"/>
                  </a:cubicBezTo>
                  <a:cubicBezTo>
                    <a:pt x="907925" y="134081"/>
                    <a:pt x="915545" y="139796"/>
                    <a:pt x="922212" y="145511"/>
                  </a:cubicBezTo>
                  <a:lnTo>
                    <a:pt x="907925" y="165513"/>
                  </a:lnTo>
                  <a:cubicBezTo>
                    <a:pt x="906020" y="168371"/>
                    <a:pt x="904115" y="171228"/>
                    <a:pt x="901257" y="172181"/>
                  </a:cubicBezTo>
                  <a:cubicBezTo>
                    <a:pt x="899352" y="173133"/>
                    <a:pt x="896495" y="174086"/>
                    <a:pt x="893637" y="174086"/>
                  </a:cubicBezTo>
                  <a:cubicBezTo>
                    <a:pt x="891732" y="174086"/>
                    <a:pt x="889827" y="174086"/>
                    <a:pt x="886970" y="173133"/>
                  </a:cubicBezTo>
                  <a:cubicBezTo>
                    <a:pt x="884112" y="172181"/>
                    <a:pt x="882207" y="171228"/>
                    <a:pt x="878397" y="170276"/>
                  </a:cubicBezTo>
                  <a:cubicBezTo>
                    <a:pt x="875540" y="169323"/>
                    <a:pt x="872682" y="167418"/>
                    <a:pt x="868872" y="166466"/>
                  </a:cubicBezTo>
                  <a:cubicBezTo>
                    <a:pt x="865062" y="165513"/>
                    <a:pt x="862205" y="163608"/>
                    <a:pt x="858395" y="162656"/>
                  </a:cubicBezTo>
                  <a:lnTo>
                    <a:pt x="851727" y="227426"/>
                  </a:lnTo>
                  <a:cubicBezTo>
                    <a:pt x="857442" y="229331"/>
                    <a:pt x="863157" y="231236"/>
                    <a:pt x="868872" y="233141"/>
                  </a:cubicBezTo>
                  <a:cubicBezTo>
                    <a:pt x="874587" y="235046"/>
                    <a:pt x="880302" y="237903"/>
                    <a:pt x="886017" y="239808"/>
                  </a:cubicBezTo>
                  <a:cubicBezTo>
                    <a:pt x="891732" y="242666"/>
                    <a:pt x="896495" y="245523"/>
                    <a:pt x="901257" y="248381"/>
                  </a:cubicBezTo>
                  <a:cubicBezTo>
                    <a:pt x="906020" y="252191"/>
                    <a:pt x="909830" y="256001"/>
                    <a:pt x="913640" y="260763"/>
                  </a:cubicBezTo>
                  <a:cubicBezTo>
                    <a:pt x="917450" y="265526"/>
                    <a:pt x="919355" y="270288"/>
                    <a:pt x="922212" y="276956"/>
                  </a:cubicBezTo>
                  <a:cubicBezTo>
                    <a:pt x="924117" y="282671"/>
                    <a:pt x="925070" y="289338"/>
                    <a:pt x="925070" y="297911"/>
                  </a:cubicBezTo>
                  <a:cubicBezTo>
                    <a:pt x="925070" y="309341"/>
                    <a:pt x="923165" y="320771"/>
                    <a:pt x="919355" y="330296"/>
                  </a:cubicBezTo>
                  <a:cubicBezTo>
                    <a:pt x="915545" y="340773"/>
                    <a:pt x="909830" y="349346"/>
                    <a:pt x="902210" y="356966"/>
                  </a:cubicBezTo>
                  <a:cubicBezTo>
                    <a:pt x="894590" y="364586"/>
                    <a:pt x="885065" y="371253"/>
                    <a:pt x="874587" y="376016"/>
                  </a:cubicBezTo>
                  <a:cubicBezTo>
                    <a:pt x="863157" y="380778"/>
                    <a:pt x="850775" y="383636"/>
                    <a:pt x="836487" y="384588"/>
                  </a:cubicBezTo>
                  <a:lnTo>
                    <a:pt x="834582" y="407448"/>
                  </a:lnTo>
                  <a:cubicBezTo>
                    <a:pt x="834582" y="411258"/>
                    <a:pt x="832677" y="414116"/>
                    <a:pt x="829820" y="416973"/>
                  </a:cubicBezTo>
                  <a:cubicBezTo>
                    <a:pt x="826962" y="419831"/>
                    <a:pt x="823152" y="420783"/>
                    <a:pt x="819342" y="420783"/>
                  </a:cubicBezTo>
                  <a:lnTo>
                    <a:pt x="799340" y="420783"/>
                  </a:lnTo>
                  <a:lnTo>
                    <a:pt x="803150" y="382683"/>
                  </a:lnTo>
                  <a:cubicBezTo>
                    <a:pt x="788862" y="380778"/>
                    <a:pt x="775527" y="376016"/>
                    <a:pt x="763145" y="370301"/>
                  </a:cubicBezTo>
                  <a:cubicBezTo>
                    <a:pt x="750762" y="364586"/>
                    <a:pt x="739332" y="357918"/>
                    <a:pt x="730760" y="349346"/>
                  </a:cubicBezTo>
                  <a:lnTo>
                    <a:pt x="747905" y="323628"/>
                  </a:lnTo>
                  <a:cubicBezTo>
                    <a:pt x="749810" y="321723"/>
                    <a:pt x="751715" y="319818"/>
                    <a:pt x="753620" y="318866"/>
                  </a:cubicBezTo>
                  <a:cubicBezTo>
                    <a:pt x="756477" y="317913"/>
                    <a:pt x="758382" y="316961"/>
                    <a:pt x="761240" y="316961"/>
                  </a:cubicBezTo>
                  <a:cubicBezTo>
                    <a:pt x="764097" y="316961"/>
                    <a:pt x="766955" y="317913"/>
                    <a:pt x="769812" y="318866"/>
                  </a:cubicBezTo>
                  <a:cubicBezTo>
                    <a:pt x="772670" y="320771"/>
                    <a:pt x="776480" y="322676"/>
                    <a:pt x="779337" y="324581"/>
                  </a:cubicBezTo>
                  <a:cubicBezTo>
                    <a:pt x="783147" y="326486"/>
                    <a:pt x="786957" y="329343"/>
                    <a:pt x="790767" y="331248"/>
                  </a:cubicBezTo>
                  <a:cubicBezTo>
                    <a:pt x="795530" y="333153"/>
                    <a:pt x="800292" y="335058"/>
                    <a:pt x="805055" y="336963"/>
                  </a:cubicBezTo>
                  <a:lnTo>
                    <a:pt x="811722" y="268383"/>
                  </a:lnTo>
                  <a:cubicBezTo>
                    <a:pt x="806007" y="266478"/>
                    <a:pt x="797435" y="263621"/>
                    <a:pt x="788862" y="260763"/>
                  </a:cubicBezTo>
                  <a:close/>
                </a:path>
              </a:pathLst>
            </a:custGeom>
            <a:solidFill>
              <a:srgbClr val="FFFFFF"/>
            </a:solidFill>
            <a:ln w="9525" cap="flat">
              <a:noFill/>
              <a:prstDash val="solid"/>
              <a:miter/>
            </a:ln>
          </p:spPr>
          <p:txBody>
            <a:bodyPr rtlCol="0" anchor="ctr"/>
            <a:lstStyle/>
            <a:p>
              <a:pPr defTabSz="1219170"/>
              <a:endParaRPr lang="en-US" sz="3200">
                <a:solidFill>
                  <a:srgbClr val="102B62"/>
                </a:solidFill>
                <a:latin typeface="Arial"/>
              </a:endParaRPr>
            </a:p>
          </p:txBody>
        </p:sp>
        <p:sp>
          <p:nvSpPr>
            <p:cNvPr id="55" name="Freeform: Shape 54">
              <a:extLst>
                <a:ext uri="{FF2B5EF4-FFF2-40B4-BE49-F238E27FC236}">
                  <a16:creationId xmlns:a16="http://schemas.microsoft.com/office/drawing/2014/main" id="{2A0600BA-8163-4C8C-A671-262E1F331937}"/>
                </a:ext>
              </a:extLst>
            </p:cNvPr>
            <p:cNvSpPr/>
            <p:nvPr/>
          </p:nvSpPr>
          <p:spPr>
            <a:xfrm>
              <a:off x="3742861" y="3173729"/>
              <a:ext cx="1656008" cy="168321"/>
            </a:xfrm>
            <a:custGeom>
              <a:avLst/>
              <a:gdLst>
                <a:gd name="connsiteX0" fmla="*/ 1543513 w 1656008"/>
                <a:gd name="connsiteY0" fmla="*/ 0 h 168321"/>
                <a:gd name="connsiteX1" fmla="*/ 113811 w 1656008"/>
                <a:gd name="connsiteY1" fmla="*/ 0 h 168321"/>
                <a:gd name="connsiteX2" fmla="*/ 62376 w 1656008"/>
                <a:gd name="connsiteY2" fmla="*/ 3810 h 168321"/>
                <a:gd name="connsiteX3" fmla="*/ 2368 w 1656008"/>
                <a:gd name="connsiteY3" fmla="*/ 130492 h 168321"/>
                <a:gd name="connsiteX4" fmla="*/ 75711 w 1656008"/>
                <a:gd name="connsiteY4" fmla="*/ 166688 h 168321"/>
                <a:gd name="connsiteX5" fmla="*/ 823423 w 1656008"/>
                <a:gd name="connsiteY5" fmla="*/ 167640 h 168321"/>
                <a:gd name="connsiteX6" fmla="*/ 1386351 w 1656008"/>
                <a:gd name="connsiteY6" fmla="*/ 167640 h 168321"/>
                <a:gd name="connsiteX7" fmla="*/ 1604473 w 1656008"/>
                <a:gd name="connsiteY7" fmla="*/ 167640 h 168321"/>
                <a:gd name="connsiteX8" fmla="*/ 1655908 w 1656008"/>
                <a:gd name="connsiteY8" fmla="*/ 117158 h 168321"/>
                <a:gd name="connsiteX9" fmla="*/ 1543513 w 1656008"/>
                <a:gd name="connsiteY9" fmla="*/ 0 h 168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56008" h="168321">
                  <a:moveTo>
                    <a:pt x="1543513" y="0"/>
                  </a:moveTo>
                  <a:cubicBezTo>
                    <a:pt x="1067263" y="0"/>
                    <a:pt x="591013" y="0"/>
                    <a:pt x="113811" y="0"/>
                  </a:cubicBezTo>
                  <a:cubicBezTo>
                    <a:pt x="96666" y="0"/>
                    <a:pt x="78568" y="0"/>
                    <a:pt x="62376" y="3810"/>
                  </a:cubicBezTo>
                  <a:cubicBezTo>
                    <a:pt x="11893" y="16192"/>
                    <a:pt x="-7157" y="59055"/>
                    <a:pt x="2368" y="130492"/>
                  </a:cubicBezTo>
                  <a:cubicBezTo>
                    <a:pt x="9036" y="180023"/>
                    <a:pt x="47136" y="166688"/>
                    <a:pt x="75711" y="166688"/>
                  </a:cubicBezTo>
                  <a:cubicBezTo>
                    <a:pt x="325266" y="167640"/>
                    <a:pt x="573868" y="167640"/>
                    <a:pt x="823423" y="167640"/>
                  </a:cubicBezTo>
                  <a:cubicBezTo>
                    <a:pt x="1011066" y="167640"/>
                    <a:pt x="1198708" y="167640"/>
                    <a:pt x="1386351" y="167640"/>
                  </a:cubicBezTo>
                  <a:cubicBezTo>
                    <a:pt x="1458741" y="167640"/>
                    <a:pt x="1531131" y="166688"/>
                    <a:pt x="1604473" y="167640"/>
                  </a:cubicBezTo>
                  <a:cubicBezTo>
                    <a:pt x="1639716" y="167640"/>
                    <a:pt x="1654956" y="154305"/>
                    <a:pt x="1655908" y="117158"/>
                  </a:cubicBezTo>
                  <a:cubicBezTo>
                    <a:pt x="1657813" y="26670"/>
                    <a:pt x="1633048" y="0"/>
                    <a:pt x="1543513" y="0"/>
                  </a:cubicBezTo>
                  <a:close/>
                </a:path>
              </a:pathLst>
            </a:custGeom>
            <a:solidFill>
              <a:srgbClr val="FFFFFF"/>
            </a:solidFill>
            <a:ln w="9525" cap="flat">
              <a:noFill/>
              <a:prstDash val="solid"/>
              <a:miter/>
            </a:ln>
          </p:spPr>
          <p:txBody>
            <a:bodyPr rtlCol="0" anchor="ctr"/>
            <a:lstStyle/>
            <a:p>
              <a:pPr defTabSz="1219170"/>
              <a:endParaRPr lang="en-US" sz="3200">
                <a:solidFill>
                  <a:srgbClr val="102B62"/>
                </a:solidFill>
                <a:latin typeface="Arial"/>
              </a:endParaRPr>
            </a:p>
          </p:txBody>
        </p:sp>
      </p:grpSp>
      <p:sp>
        <p:nvSpPr>
          <p:cNvPr id="56" name="Graphic 109" descr="Needle">
            <a:extLst>
              <a:ext uri="{FF2B5EF4-FFF2-40B4-BE49-F238E27FC236}">
                <a16:creationId xmlns:a16="http://schemas.microsoft.com/office/drawing/2014/main" id="{F0613449-9AC5-4FAA-9D22-C2B4B5DFAEB2}"/>
              </a:ext>
            </a:extLst>
          </p:cNvPr>
          <p:cNvSpPr/>
          <p:nvPr/>
        </p:nvSpPr>
        <p:spPr>
          <a:xfrm rot="11700000">
            <a:off x="4330528" y="4667152"/>
            <a:ext cx="1105464" cy="1105464"/>
          </a:xfrm>
          <a:custGeom>
            <a:avLst/>
            <a:gdLst>
              <a:gd name="connsiteX0" fmla="*/ 534564 w 715135"/>
              <a:gd name="connsiteY0" fmla="*/ 241358 h 715135"/>
              <a:gd name="connsiteX1" fmla="*/ 504171 w 715135"/>
              <a:gd name="connsiteY1" fmla="*/ 210965 h 715135"/>
              <a:gd name="connsiteX2" fmla="*/ 479141 w 715135"/>
              <a:gd name="connsiteY2" fmla="*/ 235995 h 715135"/>
              <a:gd name="connsiteX3" fmla="*/ 509534 w 715135"/>
              <a:gd name="connsiteY3" fmla="*/ 266388 h 715135"/>
              <a:gd name="connsiteX4" fmla="*/ 480929 w 715135"/>
              <a:gd name="connsiteY4" fmla="*/ 294994 h 715135"/>
              <a:gd name="connsiteX5" fmla="*/ 450536 w 715135"/>
              <a:gd name="connsiteY5" fmla="*/ 264600 h 715135"/>
              <a:gd name="connsiteX6" fmla="*/ 425506 w 715135"/>
              <a:gd name="connsiteY6" fmla="*/ 289630 h 715135"/>
              <a:gd name="connsiteX7" fmla="*/ 455899 w 715135"/>
              <a:gd name="connsiteY7" fmla="*/ 320023 h 715135"/>
              <a:gd name="connsiteX8" fmla="*/ 427294 w 715135"/>
              <a:gd name="connsiteY8" fmla="*/ 348629 h 715135"/>
              <a:gd name="connsiteX9" fmla="*/ 396900 w 715135"/>
              <a:gd name="connsiteY9" fmla="*/ 318235 h 715135"/>
              <a:gd name="connsiteX10" fmla="*/ 371871 w 715135"/>
              <a:gd name="connsiteY10" fmla="*/ 343265 h 715135"/>
              <a:gd name="connsiteX11" fmla="*/ 402264 w 715135"/>
              <a:gd name="connsiteY11" fmla="*/ 373658 h 715135"/>
              <a:gd name="connsiteX12" fmla="*/ 374552 w 715135"/>
              <a:gd name="connsiteY12" fmla="*/ 401370 h 715135"/>
              <a:gd name="connsiteX13" fmla="*/ 313766 w 715135"/>
              <a:gd name="connsiteY13" fmla="*/ 340583 h 715135"/>
              <a:gd name="connsiteX14" fmla="*/ 500595 w 715135"/>
              <a:gd name="connsiteY14" fmla="*/ 153754 h 715135"/>
              <a:gd name="connsiteX15" fmla="*/ 561382 w 715135"/>
              <a:gd name="connsiteY15" fmla="*/ 214541 h 715135"/>
              <a:gd name="connsiteX16" fmla="*/ 534564 w 715135"/>
              <a:gd name="connsiteY16" fmla="*/ 241358 h 715135"/>
              <a:gd name="connsiteX17" fmla="*/ 707091 w 715135"/>
              <a:gd name="connsiteY17" fmla="*/ 115316 h 715135"/>
              <a:gd name="connsiteX18" fmla="*/ 599820 w 715135"/>
              <a:gd name="connsiteY18" fmla="*/ 8045 h 715135"/>
              <a:gd name="connsiteX19" fmla="*/ 562276 w 715135"/>
              <a:gd name="connsiteY19" fmla="*/ 8045 h 715135"/>
              <a:gd name="connsiteX20" fmla="*/ 562276 w 715135"/>
              <a:gd name="connsiteY20" fmla="*/ 45590 h 715135"/>
              <a:gd name="connsiteX21" fmla="*/ 584624 w 715135"/>
              <a:gd name="connsiteY21" fmla="*/ 67938 h 715135"/>
              <a:gd name="connsiteX22" fmla="*/ 537246 w 715135"/>
              <a:gd name="connsiteY22" fmla="*/ 115316 h 715135"/>
              <a:gd name="connsiteX23" fmla="*/ 500595 w 715135"/>
              <a:gd name="connsiteY23" fmla="*/ 78665 h 715135"/>
              <a:gd name="connsiteX24" fmla="*/ 483611 w 715135"/>
              <a:gd name="connsiteY24" fmla="*/ 61680 h 715135"/>
              <a:gd name="connsiteX25" fmla="*/ 446066 w 715135"/>
              <a:gd name="connsiteY25" fmla="*/ 61680 h 715135"/>
              <a:gd name="connsiteX26" fmla="*/ 446066 w 715135"/>
              <a:gd name="connsiteY26" fmla="*/ 99225 h 715135"/>
              <a:gd name="connsiteX27" fmla="*/ 463050 w 715135"/>
              <a:gd name="connsiteY27" fmla="*/ 116210 h 715135"/>
              <a:gd name="connsiteX28" fmla="*/ 227056 w 715135"/>
              <a:gd name="connsiteY28" fmla="*/ 352204 h 715135"/>
              <a:gd name="connsiteX29" fmla="*/ 198450 w 715135"/>
              <a:gd name="connsiteY29" fmla="*/ 420142 h 715135"/>
              <a:gd name="connsiteX30" fmla="*/ 202920 w 715135"/>
              <a:gd name="connsiteY30" fmla="*/ 449642 h 715135"/>
              <a:gd name="connsiteX31" fmla="*/ 156436 w 715135"/>
              <a:gd name="connsiteY31" fmla="*/ 496126 h 715135"/>
              <a:gd name="connsiteX32" fmla="*/ 146603 w 715135"/>
              <a:gd name="connsiteY32" fmla="*/ 543503 h 715135"/>
              <a:gd name="connsiteX33" fmla="*/ 5364 w 715135"/>
              <a:gd name="connsiteY33" fmla="*/ 684743 h 715135"/>
              <a:gd name="connsiteX34" fmla="*/ 5364 w 715135"/>
              <a:gd name="connsiteY34" fmla="*/ 709772 h 715135"/>
              <a:gd name="connsiteX35" fmla="*/ 17878 w 715135"/>
              <a:gd name="connsiteY35" fmla="*/ 715136 h 715135"/>
              <a:gd name="connsiteX36" fmla="*/ 30393 w 715135"/>
              <a:gd name="connsiteY36" fmla="*/ 709772 h 715135"/>
              <a:gd name="connsiteX37" fmla="*/ 171633 w 715135"/>
              <a:gd name="connsiteY37" fmla="*/ 568533 h 715135"/>
              <a:gd name="connsiteX38" fmla="*/ 219010 w 715135"/>
              <a:gd name="connsiteY38" fmla="*/ 558700 h 715135"/>
              <a:gd name="connsiteX39" fmla="*/ 265494 w 715135"/>
              <a:gd name="connsiteY39" fmla="*/ 512216 h 715135"/>
              <a:gd name="connsiteX40" fmla="*/ 294994 w 715135"/>
              <a:gd name="connsiteY40" fmla="*/ 516686 h 715135"/>
              <a:gd name="connsiteX41" fmla="*/ 362931 w 715135"/>
              <a:gd name="connsiteY41" fmla="*/ 488080 h 715135"/>
              <a:gd name="connsiteX42" fmla="*/ 598926 w 715135"/>
              <a:gd name="connsiteY42" fmla="*/ 252085 h 715135"/>
              <a:gd name="connsiteX43" fmla="*/ 615911 w 715135"/>
              <a:gd name="connsiteY43" fmla="*/ 269070 h 715135"/>
              <a:gd name="connsiteX44" fmla="*/ 634683 w 715135"/>
              <a:gd name="connsiteY44" fmla="*/ 277115 h 715135"/>
              <a:gd name="connsiteX45" fmla="*/ 653455 w 715135"/>
              <a:gd name="connsiteY45" fmla="*/ 269070 h 715135"/>
              <a:gd name="connsiteX46" fmla="*/ 653455 w 715135"/>
              <a:gd name="connsiteY46" fmla="*/ 231525 h 715135"/>
              <a:gd name="connsiteX47" fmla="*/ 636471 w 715135"/>
              <a:gd name="connsiteY47" fmla="*/ 214541 h 715135"/>
              <a:gd name="connsiteX48" fmla="*/ 599820 w 715135"/>
              <a:gd name="connsiteY48" fmla="*/ 177890 h 715135"/>
              <a:gd name="connsiteX49" fmla="*/ 647198 w 715135"/>
              <a:gd name="connsiteY49" fmla="*/ 130512 h 715135"/>
              <a:gd name="connsiteX50" fmla="*/ 669546 w 715135"/>
              <a:gd name="connsiteY50" fmla="*/ 152860 h 715135"/>
              <a:gd name="connsiteX51" fmla="*/ 688318 w 715135"/>
              <a:gd name="connsiteY51" fmla="*/ 160906 h 715135"/>
              <a:gd name="connsiteX52" fmla="*/ 707091 w 715135"/>
              <a:gd name="connsiteY52" fmla="*/ 152860 h 715135"/>
              <a:gd name="connsiteX53" fmla="*/ 707091 w 715135"/>
              <a:gd name="connsiteY53" fmla="*/ 115316 h 715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15135" h="715135">
                <a:moveTo>
                  <a:pt x="534564" y="241358"/>
                </a:moveTo>
                <a:lnTo>
                  <a:pt x="504171" y="210965"/>
                </a:lnTo>
                <a:lnTo>
                  <a:pt x="479141" y="235995"/>
                </a:lnTo>
                <a:lnTo>
                  <a:pt x="509534" y="266388"/>
                </a:lnTo>
                <a:lnTo>
                  <a:pt x="480929" y="294994"/>
                </a:lnTo>
                <a:lnTo>
                  <a:pt x="450536" y="264600"/>
                </a:lnTo>
                <a:lnTo>
                  <a:pt x="425506" y="289630"/>
                </a:lnTo>
                <a:lnTo>
                  <a:pt x="455899" y="320023"/>
                </a:lnTo>
                <a:lnTo>
                  <a:pt x="427294" y="348629"/>
                </a:lnTo>
                <a:lnTo>
                  <a:pt x="396900" y="318235"/>
                </a:lnTo>
                <a:lnTo>
                  <a:pt x="371871" y="343265"/>
                </a:lnTo>
                <a:lnTo>
                  <a:pt x="402264" y="373658"/>
                </a:lnTo>
                <a:lnTo>
                  <a:pt x="374552" y="401370"/>
                </a:lnTo>
                <a:lnTo>
                  <a:pt x="313766" y="340583"/>
                </a:lnTo>
                <a:lnTo>
                  <a:pt x="500595" y="153754"/>
                </a:lnTo>
                <a:lnTo>
                  <a:pt x="561382" y="214541"/>
                </a:lnTo>
                <a:lnTo>
                  <a:pt x="534564" y="241358"/>
                </a:lnTo>
                <a:close/>
                <a:moveTo>
                  <a:pt x="707091" y="115316"/>
                </a:moveTo>
                <a:lnTo>
                  <a:pt x="599820" y="8045"/>
                </a:lnTo>
                <a:cubicBezTo>
                  <a:pt x="589093" y="-2682"/>
                  <a:pt x="572109" y="-2682"/>
                  <a:pt x="562276" y="8045"/>
                </a:cubicBezTo>
                <a:cubicBezTo>
                  <a:pt x="551549" y="18772"/>
                  <a:pt x="551549" y="35757"/>
                  <a:pt x="562276" y="45590"/>
                </a:cubicBezTo>
                <a:lnTo>
                  <a:pt x="584624" y="67938"/>
                </a:lnTo>
                <a:lnTo>
                  <a:pt x="537246" y="115316"/>
                </a:lnTo>
                <a:lnTo>
                  <a:pt x="500595" y="78665"/>
                </a:lnTo>
                <a:lnTo>
                  <a:pt x="483611" y="61680"/>
                </a:lnTo>
                <a:cubicBezTo>
                  <a:pt x="472884" y="50953"/>
                  <a:pt x="455899" y="50953"/>
                  <a:pt x="446066" y="61680"/>
                </a:cubicBezTo>
                <a:cubicBezTo>
                  <a:pt x="435339" y="72408"/>
                  <a:pt x="435339" y="89392"/>
                  <a:pt x="446066" y="99225"/>
                </a:cubicBezTo>
                <a:lnTo>
                  <a:pt x="463050" y="116210"/>
                </a:lnTo>
                <a:lnTo>
                  <a:pt x="227056" y="352204"/>
                </a:lnTo>
                <a:cubicBezTo>
                  <a:pt x="209177" y="370083"/>
                  <a:pt x="198450" y="394219"/>
                  <a:pt x="198450" y="420142"/>
                </a:cubicBezTo>
                <a:cubicBezTo>
                  <a:pt x="198450" y="429975"/>
                  <a:pt x="200238" y="439809"/>
                  <a:pt x="202920" y="449642"/>
                </a:cubicBezTo>
                <a:lnTo>
                  <a:pt x="156436" y="496126"/>
                </a:lnTo>
                <a:cubicBezTo>
                  <a:pt x="143921" y="508640"/>
                  <a:pt x="140345" y="527413"/>
                  <a:pt x="146603" y="543503"/>
                </a:cubicBezTo>
                <a:lnTo>
                  <a:pt x="5364" y="684743"/>
                </a:lnTo>
                <a:cubicBezTo>
                  <a:pt x="-1788" y="691894"/>
                  <a:pt x="-1788" y="702621"/>
                  <a:pt x="5364" y="709772"/>
                </a:cubicBezTo>
                <a:cubicBezTo>
                  <a:pt x="8939" y="713348"/>
                  <a:pt x="13409" y="715136"/>
                  <a:pt x="17878" y="715136"/>
                </a:cubicBezTo>
                <a:cubicBezTo>
                  <a:pt x="22348" y="715136"/>
                  <a:pt x="26818" y="713348"/>
                  <a:pt x="30393" y="709772"/>
                </a:cubicBezTo>
                <a:lnTo>
                  <a:pt x="171633" y="568533"/>
                </a:lnTo>
                <a:cubicBezTo>
                  <a:pt x="187723" y="574790"/>
                  <a:pt x="206495" y="571215"/>
                  <a:pt x="219010" y="558700"/>
                </a:cubicBezTo>
                <a:lnTo>
                  <a:pt x="265494" y="512216"/>
                </a:lnTo>
                <a:cubicBezTo>
                  <a:pt x="275327" y="514898"/>
                  <a:pt x="285160" y="516686"/>
                  <a:pt x="294994" y="516686"/>
                </a:cubicBezTo>
                <a:cubicBezTo>
                  <a:pt x="320023" y="516686"/>
                  <a:pt x="344159" y="507746"/>
                  <a:pt x="362931" y="488080"/>
                </a:cubicBezTo>
                <a:lnTo>
                  <a:pt x="598926" y="252085"/>
                </a:lnTo>
                <a:lnTo>
                  <a:pt x="615911" y="269070"/>
                </a:lnTo>
                <a:cubicBezTo>
                  <a:pt x="621274" y="274433"/>
                  <a:pt x="628426" y="277115"/>
                  <a:pt x="634683" y="277115"/>
                </a:cubicBezTo>
                <a:cubicBezTo>
                  <a:pt x="640940" y="277115"/>
                  <a:pt x="648092" y="274433"/>
                  <a:pt x="653455" y="269070"/>
                </a:cubicBezTo>
                <a:cubicBezTo>
                  <a:pt x="664182" y="258343"/>
                  <a:pt x="664182" y="241358"/>
                  <a:pt x="653455" y="231525"/>
                </a:cubicBezTo>
                <a:lnTo>
                  <a:pt x="636471" y="214541"/>
                </a:lnTo>
                <a:lnTo>
                  <a:pt x="599820" y="177890"/>
                </a:lnTo>
                <a:lnTo>
                  <a:pt x="647198" y="130512"/>
                </a:lnTo>
                <a:lnTo>
                  <a:pt x="669546" y="152860"/>
                </a:lnTo>
                <a:cubicBezTo>
                  <a:pt x="674909" y="158224"/>
                  <a:pt x="682061" y="160906"/>
                  <a:pt x="688318" y="160906"/>
                </a:cubicBezTo>
                <a:cubicBezTo>
                  <a:pt x="694576" y="160906"/>
                  <a:pt x="701727" y="158224"/>
                  <a:pt x="707091" y="152860"/>
                </a:cubicBezTo>
                <a:cubicBezTo>
                  <a:pt x="717818" y="142133"/>
                  <a:pt x="717818" y="126043"/>
                  <a:pt x="707091" y="115316"/>
                </a:cubicBezTo>
                <a:close/>
              </a:path>
            </a:pathLst>
          </a:custGeom>
          <a:solidFill>
            <a:schemeClr val="bg1">
              <a:lumMod val="95000"/>
            </a:schemeClr>
          </a:solidFill>
          <a:ln w="8930" cap="flat">
            <a:noFill/>
            <a:prstDash val="solid"/>
            <a:miter/>
          </a:ln>
        </p:spPr>
        <p:txBody>
          <a:bodyPr rtlCol="0" anchor="ctr"/>
          <a:lstStyle/>
          <a:p>
            <a:pPr defTabSz="1219170"/>
            <a:endParaRPr lang="en-US" sz="2400">
              <a:solidFill>
                <a:srgbClr val="102B62"/>
              </a:solidFill>
              <a:latin typeface="Arial"/>
            </a:endParaRPr>
          </a:p>
        </p:txBody>
      </p:sp>
      <p:sp>
        <p:nvSpPr>
          <p:cNvPr id="4" name="Slide Number Placeholder 3">
            <a:extLst>
              <a:ext uri="{FF2B5EF4-FFF2-40B4-BE49-F238E27FC236}">
                <a16:creationId xmlns:a16="http://schemas.microsoft.com/office/drawing/2014/main" id="{96EA857E-1FE6-4896-9B71-3DE587523E1E}"/>
              </a:ext>
            </a:extLst>
          </p:cNvPr>
          <p:cNvSpPr>
            <a:spLocks noGrp="1"/>
          </p:cNvSpPr>
          <p:nvPr>
            <p:ph type="sldNum" sz="quarter" idx="12"/>
          </p:nvPr>
        </p:nvSpPr>
        <p:spPr/>
        <p:txBody>
          <a:bodyPr/>
          <a:lstStyle/>
          <a:p>
            <a:fld id="{D1541BB9-6530-43D2-B7E0-33A89042A350}" type="slidenum">
              <a:rPr lang="en-US" smtClean="0"/>
              <a:t>19</a:t>
            </a:fld>
            <a:endParaRPr lang="en-US"/>
          </a:p>
        </p:txBody>
      </p:sp>
    </p:spTree>
    <p:extLst>
      <p:ext uri="{BB962C8B-B14F-4D97-AF65-F5344CB8AC3E}">
        <p14:creationId xmlns:p14="http://schemas.microsoft.com/office/powerpoint/2010/main" val="6322153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C6CF9-458E-43CC-B116-82FE76779BAB}"/>
              </a:ext>
            </a:extLst>
          </p:cNvPr>
          <p:cNvSpPr>
            <a:spLocks noGrp="1"/>
          </p:cNvSpPr>
          <p:nvPr>
            <p:ph type="title"/>
          </p:nvPr>
        </p:nvSpPr>
        <p:spPr/>
        <p:txBody>
          <a:bodyPr>
            <a:normAutofit fontScale="90000"/>
          </a:bodyPr>
          <a:lstStyle/>
          <a:p>
            <a:pPr algn="ctr"/>
            <a:r>
              <a:rPr lang="en-US" dirty="0">
                <a:solidFill>
                  <a:schemeClr val="bg1"/>
                </a:solidFill>
              </a:rPr>
              <a:t>Learning Objectives</a:t>
            </a:r>
          </a:p>
        </p:txBody>
      </p:sp>
      <p:sp>
        <p:nvSpPr>
          <p:cNvPr id="3" name="Content Placeholder 2">
            <a:extLst>
              <a:ext uri="{FF2B5EF4-FFF2-40B4-BE49-F238E27FC236}">
                <a16:creationId xmlns:a16="http://schemas.microsoft.com/office/drawing/2014/main" id="{65DE850C-5BA3-49DE-8867-ABB2D7CA705F}"/>
              </a:ext>
            </a:extLst>
          </p:cNvPr>
          <p:cNvSpPr>
            <a:spLocks noGrp="1"/>
          </p:cNvSpPr>
          <p:nvPr>
            <p:ph idx="1"/>
          </p:nvPr>
        </p:nvSpPr>
        <p:spPr/>
        <p:txBody>
          <a:bodyPr/>
          <a:lstStyle/>
          <a:p>
            <a:r>
              <a:rPr lang="en-US" sz="3200" dirty="0"/>
              <a:t>How ongoing vaccine development prior to the pandemic was advancing new technologies </a:t>
            </a:r>
          </a:p>
          <a:p>
            <a:r>
              <a:rPr lang="en-US" sz="3200" dirty="0"/>
              <a:t>How technologies were selected to develop emergency vaccines against SARS-CoV-2 at the start of the pandemic </a:t>
            </a:r>
          </a:p>
          <a:p>
            <a:r>
              <a:rPr lang="en-US" sz="3200" dirty="0"/>
              <a:t>How the development/manufacturing of vaccines was accelerated  </a:t>
            </a:r>
          </a:p>
          <a:p>
            <a:r>
              <a:rPr lang="en-US" sz="3200" dirty="0"/>
              <a:t>The future of vaccines against SARS-CoV-2 </a:t>
            </a:r>
          </a:p>
          <a:p>
            <a:endParaRPr lang="en-US" dirty="0"/>
          </a:p>
        </p:txBody>
      </p:sp>
      <p:sp>
        <p:nvSpPr>
          <p:cNvPr id="4" name="Slide Number Placeholder 3">
            <a:extLst>
              <a:ext uri="{FF2B5EF4-FFF2-40B4-BE49-F238E27FC236}">
                <a16:creationId xmlns:a16="http://schemas.microsoft.com/office/drawing/2014/main" id="{DA264834-C200-4A24-A2D6-061449ECD230}"/>
              </a:ext>
            </a:extLst>
          </p:cNvPr>
          <p:cNvSpPr>
            <a:spLocks noGrp="1"/>
          </p:cNvSpPr>
          <p:nvPr>
            <p:ph type="sldNum" sz="quarter" idx="12"/>
          </p:nvPr>
        </p:nvSpPr>
        <p:spPr/>
        <p:txBody>
          <a:bodyPr/>
          <a:lstStyle/>
          <a:p>
            <a:fld id="{D1541BB9-6530-43D2-B7E0-33A89042A350}" type="slidenum">
              <a:rPr lang="en-US" smtClean="0"/>
              <a:t>2</a:t>
            </a:fld>
            <a:endParaRPr lang="en-US"/>
          </a:p>
        </p:txBody>
      </p:sp>
    </p:spTree>
    <p:extLst>
      <p:ext uri="{BB962C8B-B14F-4D97-AF65-F5344CB8AC3E}">
        <p14:creationId xmlns:p14="http://schemas.microsoft.com/office/powerpoint/2010/main" val="1688701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B8276E-2A97-4C8B-AFEF-850651352429}"/>
              </a:ext>
            </a:extLst>
          </p:cNvPr>
          <p:cNvSpPr>
            <a:spLocks noGrp="1"/>
          </p:cNvSpPr>
          <p:nvPr>
            <p:ph type="title"/>
          </p:nvPr>
        </p:nvSpPr>
        <p:spPr/>
        <p:txBody>
          <a:bodyPr>
            <a:normAutofit fontScale="90000"/>
          </a:bodyPr>
          <a:lstStyle/>
          <a:p>
            <a:pPr algn="ctr"/>
            <a:r>
              <a:rPr lang="en-US" dirty="0">
                <a:solidFill>
                  <a:schemeClr val="bg1"/>
                </a:solidFill>
              </a:rPr>
              <a:t>Vaccine Development</a:t>
            </a:r>
          </a:p>
        </p:txBody>
      </p:sp>
      <p:sp>
        <p:nvSpPr>
          <p:cNvPr id="14" name="TextBox 13">
            <a:extLst>
              <a:ext uri="{FF2B5EF4-FFF2-40B4-BE49-F238E27FC236}">
                <a16:creationId xmlns:a16="http://schemas.microsoft.com/office/drawing/2014/main" id="{CCB9E7A5-7A39-409D-9D4E-0F92D865B4FB}"/>
              </a:ext>
            </a:extLst>
          </p:cNvPr>
          <p:cNvSpPr txBox="1"/>
          <p:nvPr/>
        </p:nvSpPr>
        <p:spPr>
          <a:xfrm>
            <a:off x="3381602" y="3797658"/>
            <a:ext cx="2829727" cy="830997"/>
          </a:xfrm>
          <a:prstGeom prst="rect">
            <a:avLst/>
          </a:prstGeom>
          <a:noFill/>
        </p:spPr>
        <p:txBody>
          <a:bodyPr wrap="square" rtlCol="0">
            <a:spAutoFit/>
          </a:bodyPr>
          <a:lstStyle/>
          <a:p>
            <a:pPr algn="ctr" defTabSz="1219170"/>
            <a:r>
              <a:rPr lang="en-US" sz="1600" dirty="0">
                <a:solidFill>
                  <a:srgbClr val="000000"/>
                </a:solidFill>
                <a:latin typeface="Arial"/>
              </a:rPr>
              <a:t>e.g., viral vectors with demonstrated safety and efficacy</a:t>
            </a:r>
            <a:endParaRPr lang="en-US" sz="1600" b="1" dirty="0">
              <a:solidFill>
                <a:srgbClr val="5482E1">
                  <a:lumMod val="75000"/>
                </a:srgbClr>
              </a:solidFill>
              <a:latin typeface="Arial"/>
            </a:endParaRPr>
          </a:p>
        </p:txBody>
      </p:sp>
      <p:sp>
        <p:nvSpPr>
          <p:cNvPr id="15" name="TextBox 14">
            <a:extLst>
              <a:ext uri="{FF2B5EF4-FFF2-40B4-BE49-F238E27FC236}">
                <a16:creationId xmlns:a16="http://schemas.microsoft.com/office/drawing/2014/main" id="{167A87A7-207A-44CC-B4E5-9F6987A8D54E}"/>
              </a:ext>
            </a:extLst>
          </p:cNvPr>
          <p:cNvSpPr txBox="1"/>
          <p:nvPr/>
        </p:nvSpPr>
        <p:spPr>
          <a:xfrm>
            <a:off x="6602279" y="3797657"/>
            <a:ext cx="2498405" cy="1077218"/>
          </a:xfrm>
          <a:prstGeom prst="rect">
            <a:avLst/>
          </a:prstGeom>
          <a:noFill/>
        </p:spPr>
        <p:txBody>
          <a:bodyPr wrap="square" rtlCol="0">
            <a:spAutoFit/>
          </a:bodyPr>
          <a:lstStyle/>
          <a:p>
            <a:pPr algn="ctr" defTabSz="1219170"/>
            <a:r>
              <a:rPr lang="en-US" sz="1600" dirty="0">
                <a:solidFill>
                  <a:srgbClr val="000000"/>
                </a:solidFill>
                <a:latin typeface="Arial"/>
              </a:rPr>
              <a:t>e.g., existing or readily amenable to large scale manufacturing, including experienced workforce</a:t>
            </a:r>
            <a:endParaRPr lang="en-US" sz="1600" b="1" dirty="0">
              <a:solidFill>
                <a:srgbClr val="5482E1">
                  <a:lumMod val="75000"/>
                </a:srgbClr>
              </a:solidFill>
              <a:latin typeface="Arial"/>
            </a:endParaRPr>
          </a:p>
        </p:txBody>
      </p:sp>
      <p:sp>
        <p:nvSpPr>
          <p:cNvPr id="16" name="TextBox 15">
            <a:extLst>
              <a:ext uri="{FF2B5EF4-FFF2-40B4-BE49-F238E27FC236}">
                <a16:creationId xmlns:a16="http://schemas.microsoft.com/office/drawing/2014/main" id="{CC5C39BF-826A-49BE-BDAA-B45B8A9E57B0}"/>
              </a:ext>
            </a:extLst>
          </p:cNvPr>
          <p:cNvSpPr txBox="1"/>
          <p:nvPr/>
        </p:nvSpPr>
        <p:spPr>
          <a:xfrm>
            <a:off x="9491637" y="3797657"/>
            <a:ext cx="2343084" cy="1077218"/>
          </a:xfrm>
          <a:prstGeom prst="rect">
            <a:avLst/>
          </a:prstGeom>
          <a:noFill/>
        </p:spPr>
        <p:txBody>
          <a:bodyPr wrap="square" rtlCol="0">
            <a:spAutoFit/>
          </a:bodyPr>
          <a:lstStyle/>
          <a:p>
            <a:pPr algn="ctr" defTabSz="1219170"/>
            <a:r>
              <a:rPr lang="en-US" sz="1600" dirty="0">
                <a:solidFill>
                  <a:srgbClr val="000000"/>
                </a:solidFill>
                <a:latin typeface="Arial"/>
              </a:rPr>
              <a:t>e.g., novel platforms, delivery approaches, or new thinking to transform the field</a:t>
            </a:r>
            <a:endParaRPr lang="en-US" sz="1600" b="1" dirty="0">
              <a:solidFill>
                <a:srgbClr val="5482E1">
                  <a:lumMod val="75000"/>
                </a:srgbClr>
              </a:solidFill>
              <a:latin typeface="Arial"/>
            </a:endParaRPr>
          </a:p>
        </p:txBody>
      </p:sp>
      <p:sp>
        <p:nvSpPr>
          <p:cNvPr id="18" name="TextBox 17">
            <a:extLst>
              <a:ext uri="{FF2B5EF4-FFF2-40B4-BE49-F238E27FC236}">
                <a16:creationId xmlns:a16="http://schemas.microsoft.com/office/drawing/2014/main" id="{F09B38CA-06F6-495E-906F-C0CCBEB3A38D}"/>
              </a:ext>
            </a:extLst>
          </p:cNvPr>
          <p:cNvSpPr txBox="1"/>
          <p:nvPr/>
        </p:nvSpPr>
        <p:spPr>
          <a:xfrm>
            <a:off x="687409" y="5092377"/>
            <a:ext cx="10769600" cy="748795"/>
          </a:xfrm>
          <a:prstGeom prst="rect">
            <a:avLst/>
          </a:prstGeom>
          <a:gradFill>
            <a:gsLst>
              <a:gs pos="0">
                <a:schemeClr val="accent4">
                  <a:lumMod val="50000"/>
                </a:schemeClr>
              </a:gs>
              <a:gs pos="100000">
                <a:srgbClr val="A8302A"/>
              </a:gs>
            </a:gsLst>
          </a:gradFill>
        </p:spPr>
        <p:style>
          <a:lnRef idx="0">
            <a:schemeClr val="accent4"/>
          </a:lnRef>
          <a:fillRef idx="3">
            <a:schemeClr val="accent4"/>
          </a:fillRef>
          <a:effectRef idx="3">
            <a:schemeClr val="accent4"/>
          </a:effectRef>
          <a:fontRef idx="minor">
            <a:schemeClr val="lt1"/>
          </a:fontRef>
        </p:style>
        <p:txBody>
          <a:bodyPr wrap="square" rtlCol="0">
            <a:spAutoFit/>
          </a:bodyPr>
          <a:lstStyle/>
          <a:p>
            <a:pPr algn="ctr" defTabSz="1219170"/>
            <a:r>
              <a:rPr lang="en-US" sz="2133" dirty="0">
                <a:solidFill>
                  <a:prstClr val="white"/>
                </a:solidFill>
                <a:effectLst>
                  <a:outerShdw blurRad="38100" dist="38100" dir="2700000" algn="tl">
                    <a:srgbClr val="000000">
                      <a:alpha val="43137"/>
                    </a:srgbClr>
                  </a:outerShdw>
                </a:effectLst>
                <a:latin typeface="Arial"/>
              </a:rPr>
              <a:t>Leverage existing infrastructure for rapid MCM generation and production through partnerships (contracts and OTA) including other USG agencies</a:t>
            </a:r>
          </a:p>
        </p:txBody>
      </p:sp>
      <p:sp>
        <p:nvSpPr>
          <p:cNvPr id="22" name="TextBox 21">
            <a:extLst>
              <a:ext uri="{FF2B5EF4-FFF2-40B4-BE49-F238E27FC236}">
                <a16:creationId xmlns:a16="http://schemas.microsoft.com/office/drawing/2014/main" id="{CCB9E7A5-7A39-409D-9D4E-0F92D865B4FB}"/>
              </a:ext>
            </a:extLst>
          </p:cNvPr>
          <p:cNvSpPr txBox="1"/>
          <p:nvPr/>
        </p:nvSpPr>
        <p:spPr>
          <a:xfrm>
            <a:off x="160925" y="3797657"/>
            <a:ext cx="2829727" cy="830997"/>
          </a:xfrm>
          <a:prstGeom prst="rect">
            <a:avLst/>
          </a:prstGeom>
          <a:noFill/>
        </p:spPr>
        <p:txBody>
          <a:bodyPr wrap="square" rtlCol="0">
            <a:spAutoFit/>
          </a:bodyPr>
          <a:lstStyle/>
          <a:p>
            <a:pPr algn="ctr" defTabSz="1219170"/>
            <a:r>
              <a:rPr lang="en-US" sz="1600" dirty="0">
                <a:solidFill>
                  <a:srgbClr val="000000"/>
                </a:solidFill>
                <a:latin typeface="Arial"/>
              </a:rPr>
              <a:t>e.g., mRNA based vaccines that allow rapid early development</a:t>
            </a:r>
            <a:endParaRPr lang="en-US" sz="1600" b="1" dirty="0">
              <a:solidFill>
                <a:srgbClr val="5482E1">
                  <a:lumMod val="75000"/>
                </a:srgbClr>
              </a:solidFill>
              <a:latin typeface="Arial"/>
            </a:endParaRPr>
          </a:p>
        </p:txBody>
      </p:sp>
      <p:grpSp>
        <p:nvGrpSpPr>
          <p:cNvPr id="56" name="Group 55">
            <a:extLst>
              <a:ext uri="{FF2B5EF4-FFF2-40B4-BE49-F238E27FC236}">
                <a16:creationId xmlns:a16="http://schemas.microsoft.com/office/drawing/2014/main" id="{22647BE7-2E92-431E-990F-4A0496667131}"/>
              </a:ext>
            </a:extLst>
          </p:cNvPr>
          <p:cNvGrpSpPr/>
          <p:nvPr/>
        </p:nvGrpSpPr>
        <p:grpSpPr>
          <a:xfrm>
            <a:off x="298320" y="1278467"/>
            <a:ext cx="11582400" cy="2433461"/>
            <a:chOff x="223740" y="1126267"/>
            <a:chExt cx="8686800" cy="1825096"/>
          </a:xfrm>
        </p:grpSpPr>
        <p:sp>
          <p:nvSpPr>
            <p:cNvPr id="6" name="Freeform: Shape 5">
              <a:extLst>
                <a:ext uri="{FF2B5EF4-FFF2-40B4-BE49-F238E27FC236}">
                  <a16:creationId xmlns:a16="http://schemas.microsoft.com/office/drawing/2014/main" id="{975BAA2C-9C45-44DC-8B3B-FBE0BCF7B26C}"/>
                </a:ext>
              </a:extLst>
            </p:cNvPr>
            <p:cNvSpPr/>
            <p:nvPr/>
          </p:nvSpPr>
          <p:spPr>
            <a:xfrm>
              <a:off x="7223243" y="1263038"/>
              <a:ext cx="1548282" cy="1548282"/>
            </a:xfrm>
            <a:custGeom>
              <a:avLst/>
              <a:gdLst>
                <a:gd name="connsiteX0" fmla="*/ 2217579 w 2215506"/>
                <a:gd name="connsiteY0" fmla="*/ 1110564 h 2215506"/>
                <a:gd name="connsiteX1" fmla="*/ 1110564 w 2215506"/>
                <a:gd name="connsiteY1" fmla="*/ 2217579 h 2215506"/>
                <a:gd name="connsiteX2" fmla="*/ 3549 w 2215506"/>
                <a:gd name="connsiteY2" fmla="*/ 1110564 h 2215506"/>
                <a:gd name="connsiteX3" fmla="*/ 1110564 w 2215506"/>
                <a:gd name="connsiteY3" fmla="*/ 3549 h 2215506"/>
                <a:gd name="connsiteX4" fmla="*/ 2217579 w 2215506"/>
                <a:gd name="connsiteY4" fmla="*/ 1110564 h 2215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5506" h="2215506">
                  <a:moveTo>
                    <a:pt x="2217579" y="1110564"/>
                  </a:moveTo>
                  <a:cubicBezTo>
                    <a:pt x="2217579" y="1721952"/>
                    <a:pt x="1721951" y="2217579"/>
                    <a:pt x="1110564" y="2217579"/>
                  </a:cubicBezTo>
                  <a:cubicBezTo>
                    <a:pt x="499176" y="2217579"/>
                    <a:pt x="3549" y="1721952"/>
                    <a:pt x="3549" y="1110564"/>
                  </a:cubicBezTo>
                  <a:cubicBezTo>
                    <a:pt x="3549" y="499177"/>
                    <a:pt x="499176" y="3549"/>
                    <a:pt x="1110564" y="3549"/>
                  </a:cubicBezTo>
                  <a:cubicBezTo>
                    <a:pt x="1721951" y="3549"/>
                    <a:pt x="2217579" y="499177"/>
                    <a:pt x="2217579" y="1110564"/>
                  </a:cubicBezTo>
                  <a:close/>
                </a:path>
              </a:pathLst>
            </a:custGeom>
            <a:solidFill>
              <a:srgbClr val="FFFFFF"/>
            </a:solidFill>
            <a:ln w="6714" cap="flat">
              <a:noFill/>
              <a:prstDash val="solid"/>
              <a:miter/>
            </a:ln>
            <a:effectLst>
              <a:innerShdw blurRad="114300">
                <a:prstClr val="black"/>
              </a:innerShdw>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r>
                <a:rPr lang="en-US" sz="2400" b="1" dirty="0">
                  <a:solidFill>
                    <a:srgbClr val="000000"/>
                  </a:solidFill>
                  <a:latin typeface="Arial"/>
                </a:rPr>
                <a:t>Innovation</a:t>
              </a:r>
            </a:p>
          </p:txBody>
        </p:sp>
        <p:sp>
          <p:nvSpPr>
            <p:cNvPr id="12" name="Freeform: Shape 11">
              <a:extLst>
                <a:ext uri="{FF2B5EF4-FFF2-40B4-BE49-F238E27FC236}">
                  <a16:creationId xmlns:a16="http://schemas.microsoft.com/office/drawing/2014/main" id="{20C77E25-3B3D-45EA-B75B-D2080A7E4D54}"/>
                </a:ext>
              </a:extLst>
            </p:cNvPr>
            <p:cNvSpPr/>
            <p:nvPr/>
          </p:nvSpPr>
          <p:spPr>
            <a:xfrm>
              <a:off x="6794553" y="1126267"/>
              <a:ext cx="2115987" cy="1825096"/>
            </a:xfrm>
            <a:custGeom>
              <a:avLst/>
              <a:gdLst>
                <a:gd name="connsiteX0" fmla="*/ 1722389 w 3027859"/>
                <a:gd name="connsiteY0" fmla="*/ 5035 h 2611612"/>
                <a:gd name="connsiteX1" fmla="*/ 480564 w 3027859"/>
                <a:gd name="connsiteY1" fmla="*/ 916414 h 2611612"/>
                <a:gd name="connsiteX2" fmla="*/ 242564 w 3027859"/>
                <a:gd name="connsiteY2" fmla="*/ 916414 h 2611612"/>
                <a:gd name="connsiteX3" fmla="*/ 144008 w 3027859"/>
                <a:gd name="connsiteY3" fmla="*/ 1014971 h 2611612"/>
                <a:gd name="connsiteX4" fmla="*/ 242564 w 3027859"/>
                <a:gd name="connsiteY4" fmla="*/ 1113527 h 2611612"/>
                <a:gd name="connsiteX5" fmla="*/ 435381 w 3027859"/>
                <a:gd name="connsiteY5" fmla="*/ 1113527 h 2611612"/>
                <a:gd name="connsiteX6" fmla="*/ 424773 w 3027859"/>
                <a:gd name="connsiteY6" fmla="*/ 1208593 h 2611612"/>
                <a:gd name="connsiteX7" fmla="*/ 338234 w 3027859"/>
                <a:gd name="connsiteY7" fmla="*/ 1306343 h 2611612"/>
                <a:gd name="connsiteX8" fmla="*/ 424773 w 3027859"/>
                <a:gd name="connsiteY8" fmla="*/ 1404094 h 2611612"/>
                <a:gd name="connsiteX9" fmla="*/ 435381 w 3027859"/>
                <a:gd name="connsiteY9" fmla="*/ 1499160 h 2611612"/>
                <a:gd name="connsiteX10" fmla="*/ 103592 w 3027859"/>
                <a:gd name="connsiteY10" fmla="*/ 1499160 h 2611612"/>
                <a:gd name="connsiteX11" fmla="*/ 5035 w 3027859"/>
                <a:gd name="connsiteY11" fmla="*/ 1597716 h 2611612"/>
                <a:gd name="connsiteX12" fmla="*/ 103592 w 3027859"/>
                <a:gd name="connsiteY12" fmla="*/ 1696273 h 2611612"/>
                <a:gd name="connsiteX13" fmla="*/ 480631 w 3027859"/>
                <a:gd name="connsiteY13" fmla="*/ 1696273 h 2611612"/>
                <a:gd name="connsiteX14" fmla="*/ 1722456 w 3027859"/>
                <a:gd name="connsiteY14" fmla="*/ 2607652 h 2611612"/>
                <a:gd name="connsiteX15" fmla="*/ 3023697 w 3027859"/>
                <a:gd name="connsiteY15" fmla="*/ 1306411 h 2611612"/>
                <a:gd name="connsiteX16" fmla="*/ 1722389 w 3027859"/>
                <a:gd name="connsiteY16" fmla="*/ 5035 h 2611612"/>
                <a:gd name="connsiteX17" fmla="*/ 2509565 w 3027859"/>
                <a:gd name="connsiteY17" fmla="*/ 2093453 h 2611612"/>
                <a:gd name="connsiteX18" fmla="*/ 1722389 w 3027859"/>
                <a:gd name="connsiteY18" fmla="*/ 2419535 h 2611612"/>
                <a:gd name="connsiteX19" fmla="*/ 935212 w 3027859"/>
                <a:gd name="connsiteY19" fmla="*/ 2093453 h 2611612"/>
                <a:gd name="connsiteX20" fmla="*/ 609130 w 3027859"/>
                <a:gd name="connsiteY20" fmla="*/ 1306276 h 2611612"/>
                <a:gd name="connsiteX21" fmla="*/ 935212 w 3027859"/>
                <a:gd name="connsiteY21" fmla="*/ 519100 h 2611612"/>
                <a:gd name="connsiteX22" fmla="*/ 1722389 w 3027859"/>
                <a:gd name="connsiteY22" fmla="*/ 193018 h 2611612"/>
                <a:gd name="connsiteX23" fmla="*/ 2509565 w 3027859"/>
                <a:gd name="connsiteY23" fmla="*/ 519100 h 2611612"/>
                <a:gd name="connsiteX24" fmla="*/ 2835648 w 3027859"/>
                <a:gd name="connsiteY24" fmla="*/ 1306276 h 2611612"/>
                <a:gd name="connsiteX25" fmla="*/ 2509565 w 3027859"/>
                <a:gd name="connsiteY25" fmla="*/ 2093453 h 2611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027859" h="2611612">
                  <a:moveTo>
                    <a:pt x="1722389" y="5035"/>
                  </a:moveTo>
                  <a:cubicBezTo>
                    <a:pt x="1139576" y="5035"/>
                    <a:pt x="646257" y="388251"/>
                    <a:pt x="480564" y="916414"/>
                  </a:cubicBezTo>
                  <a:lnTo>
                    <a:pt x="242564" y="916414"/>
                  </a:lnTo>
                  <a:cubicBezTo>
                    <a:pt x="188117" y="916414"/>
                    <a:pt x="144008" y="960523"/>
                    <a:pt x="144008" y="1014971"/>
                  </a:cubicBezTo>
                  <a:cubicBezTo>
                    <a:pt x="144008" y="1069418"/>
                    <a:pt x="188117" y="1113527"/>
                    <a:pt x="242564" y="1113527"/>
                  </a:cubicBezTo>
                  <a:lnTo>
                    <a:pt x="435381" y="1113527"/>
                  </a:lnTo>
                  <a:cubicBezTo>
                    <a:pt x="430748" y="1144880"/>
                    <a:pt x="427190" y="1176568"/>
                    <a:pt x="424773" y="1208593"/>
                  </a:cubicBezTo>
                  <a:cubicBezTo>
                    <a:pt x="376032" y="1214501"/>
                    <a:pt x="338234" y="1255991"/>
                    <a:pt x="338234" y="1306343"/>
                  </a:cubicBezTo>
                  <a:cubicBezTo>
                    <a:pt x="338234" y="1356696"/>
                    <a:pt x="376032" y="1398186"/>
                    <a:pt x="424773" y="1404094"/>
                  </a:cubicBezTo>
                  <a:cubicBezTo>
                    <a:pt x="427123" y="1436119"/>
                    <a:pt x="430748" y="1467807"/>
                    <a:pt x="435381" y="1499160"/>
                  </a:cubicBezTo>
                  <a:lnTo>
                    <a:pt x="103592" y="1499160"/>
                  </a:lnTo>
                  <a:cubicBezTo>
                    <a:pt x="49144" y="1499160"/>
                    <a:pt x="5035" y="1543268"/>
                    <a:pt x="5035" y="1597716"/>
                  </a:cubicBezTo>
                  <a:cubicBezTo>
                    <a:pt x="5035" y="1652164"/>
                    <a:pt x="49144" y="1696273"/>
                    <a:pt x="103592" y="1696273"/>
                  </a:cubicBezTo>
                  <a:lnTo>
                    <a:pt x="480631" y="1696273"/>
                  </a:lnTo>
                  <a:cubicBezTo>
                    <a:pt x="646324" y="2224436"/>
                    <a:pt x="1139576" y="2607652"/>
                    <a:pt x="1722456" y="2607652"/>
                  </a:cubicBezTo>
                  <a:cubicBezTo>
                    <a:pt x="2441086" y="2607652"/>
                    <a:pt x="3023697" y="2025041"/>
                    <a:pt x="3023697" y="1306411"/>
                  </a:cubicBezTo>
                  <a:cubicBezTo>
                    <a:pt x="3023697" y="587781"/>
                    <a:pt x="2441019" y="5035"/>
                    <a:pt x="1722389" y="5035"/>
                  </a:cubicBezTo>
                  <a:close/>
                  <a:moveTo>
                    <a:pt x="2509565" y="2093453"/>
                  </a:moveTo>
                  <a:cubicBezTo>
                    <a:pt x="2299293" y="2303725"/>
                    <a:pt x="2019737" y="2419535"/>
                    <a:pt x="1722389" y="2419535"/>
                  </a:cubicBezTo>
                  <a:cubicBezTo>
                    <a:pt x="1425041" y="2419535"/>
                    <a:pt x="1145484" y="2303725"/>
                    <a:pt x="935212" y="2093453"/>
                  </a:cubicBezTo>
                  <a:cubicBezTo>
                    <a:pt x="724941" y="1883181"/>
                    <a:pt x="609130" y="1603624"/>
                    <a:pt x="609130" y="1306276"/>
                  </a:cubicBezTo>
                  <a:cubicBezTo>
                    <a:pt x="609130" y="1008928"/>
                    <a:pt x="724941" y="729372"/>
                    <a:pt x="935212" y="519100"/>
                  </a:cubicBezTo>
                  <a:cubicBezTo>
                    <a:pt x="1145484" y="308828"/>
                    <a:pt x="1425041" y="193018"/>
                    <a:pt x="1722389" y="193018"/>
                  </a:cubicBezTo>
                  <a:cubicBezTo>
                    <a:pt x="2019737" y="193018"/>
                    <a:pt x="2299293" y="308828"/>
                    <a:pt x="2509565" y="519100"/>
                  </a:cubicBezTo>
                  <a:cubicBezTo>
                    <a:pt x="2719837" y="729372"/>
                    <a:pt x="2835648" y="1008928"/>
                    <a:pt x="2835648" y="1306276"/>
                  </a:cubicBezTo>
                  <a:cubicBezTo>
                    <a:pt x="2835648" y="1603624"/>
                    <a:pt x="2719837" y="1883248"/>
                    <a:pt x="2509565" y="2093453"/>
                  </a:cubicBezTo>
                  <a:close/>
                </a:path>
              </a:pathLst>
            </a:custGeom>
            <a:solidFill>
              <a:srgbClr val="00A4C9"/>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defTabSz="1219170"/>
              <a:endParaRPr lang="en-US" sz="2400">
                <a:solidFill>
                  <a:prstClr val="white"/>
                </a:solidFill>
                <a:latin typeface="Arial"/>
              </a:endParaRPr>
            </a:p>
          </p:txBody>
        </p:sp>
        <p:sp>
          <p:nvSpPr>
            <p:cNvPr id="4" name="Freeform: Shape 3">
              <a:extLst>
                <a:ext uri="{FF2B5EF4-FFF2-40B4-BE49-F238E27FC236}">
                  <a16:creationId xmlns:a16="http://schemas.microsoft.com/office/drawing/2014/main" id="{D8B44E21-1488-468C-8A28-D65119D45B9A}"/>
                </a:ext>
              </a:extLst>
            </p:cNvPr>
            <p:cNvSpPr/>
            <p:nvPr/>
          </p:nvSpPr>
          <p:spPr>
            <a:xfrm>
              <a:off x="360511" y="1263038"/>
              <a:ext cx="1548282" cy="1548282"/>
            </a:xfrm>
            <a:custGeom>
              <a:avLst/>
              <a:gdLst>
                <a:gd name="connsiteX0" fmla="*/ 2217579 w 2215506"/>
                <a:gd name="connsiteY0" fmla="*/ 1110564 h 2215506"/>
                <a:gd name="connsiteX1" fmla="*/ 1110564 w 2215506"/>
                <a:gd name="connsiteY1" fmla="*/ 2217579 h 2215506"/>
                <a:gd name="connsiteX2" fmla="*/ 3549 w 2215506"/>
                <a:gd name="connsiteY2" fmla="*/ 1110564 h 2215506"/>
                <a:gd name="connsiteX3" fmla="*/ 1110564 w 2215506"/>
                <a:gd name="connsiteY3" fmla="*/ 3549 h 2215506"/>
                <a:gd name="connsiteX4" fmla="*/ 2217579 w 2215506"/>
                <a:gd name="connsiteY4" fmla="*/ 1110564 h 2215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5506" h="2215506">
                  <a:moveTo>
                    <a:pt x="2217579" y="1110564"/>
                  </a:moveTo>
                  <a:cubicBezTo>
                    <a:pt x="2217579" y="1721952"/>
                    <a:pt x="1721951" y="2217579"/>
                    <a:pt x="1110564" y="2217579"/>
                  </a:cubicBezTo>
                  <a:cubicBezTo>
                    <a:pt x="499176" y="2217579"/>
                    <a:pt x="3549" y="1721952"/>
                    <a:pt x="3549" y="1110564"/>
                  </a:cubicBezTo>
                  <a:cubicBezTo>
                    <a:pt x="3549" y="499177"/>
                    <a:pt x="499176" y="3549"/>
                    <a:pt x="1110564" y="3549"/>
                  </a:cubicBezTo>
                  <a:cubicBezTo>
                    <a:pt x="1721951" y="3549"/>
                    <a:pt x="2217579" y="499177"/>
                    <a:pt x="2217579" y="1110564"/>
                  </a:cubicBezTo>
                  <a:close/>
                </a:path>
              </a:pathLst>
            </a:custGeom>
            <a:solidFill>
              <a:srgbClr val="FFFFFF"/>
            </a:solidFill>
            <a:ln w="6714" cap="flat">
              <a:noFill/>
              <a:prstDash val="solid"/>
              <a:miter/>
            </a:ln>
            <a:effectLst>
              <a:innerShdw blurRad="114300">
                <a:prstClr val="black"/>
              </a:innerShdw>
            </a:effectLst>
          </p:spPr>
          <p:txBody>
            <a:bodyPr rtlCol="0" anchor="ctr"/>
            <a:lstStyle/>
            <a:p>
              <a:pPr algn="ctr" defTabSz="1219170"/>
              <a:r>
                <a:rPr lang="en-US" sz="2400" b="1" dirty="0">
                  <a:solidFill>
                    <a:srgbClr val="000000"/>
                  </a:solidFill>
                  <a:latin typeface="Arial"/>
                </a:rPr>
                <a:t>First to Clinic</a:t>
              </a:r>
            </a:p>
          </p:txBody>
        </p:sp>
        <p:grpSp>
          <p:nvGrpSpPr>
            <p:cNvPr id="8" name="Group 7">
              <a:extLst>
                <a:ext uri="{FF2B5EF4-FFF2-40B4-BE49-F238E27FC236}">
                  <a16:creationId xmlns:a16="http://schemas.microsoft.com/office/drawing/2014/main" id="{9A1534ED-EE9A-461A-ADA2-C359537F78D5}"/>
                </a:ext>
              </a:extLst>
            </p:cNvPr>
            <p:cNvGrpSpPr/>
            <p:nvPr/>
          </p:nvGrpSpPr>
          <p:grpSpPr>
            <a:xfrm>
              <a:off x="223740" y="1126267"/>
              <a:ext cx="2195745" cy="1825096"/>
              <a:chOff x="256422" y="1560004"/>
              <a:chExt cx="2774283" cy="2305976"/>
            </a:xfrm>
            <a:solidFill>
              <a:srgbClr val="21306A"/>
            </a:solidFill>
          </p:grpSpPr>
          <p:sp>
            <p:nvSpPr>
              <p:cNvPr id="10" name="Freeform: Shape 9">
                <a:extLst>
                  <a:ext uri="{FF2B5EF4-FFF2-40B4-BE49-F238E27FC236}">
                    <a16:creationId xmlns:a16="http://schemas.microsoft.com/office/drawing/2014/main" id="{B197D4C0-3D0D-4ACC-A414-9B4EE90BC1C8}"/>
                  </a:ext>
                </a:extLst>
              </p:cNvPr>
              <p:cNvSpPr/>
              <p:nvPr/>
            </p:nvSpPr>
            <p:spPr>
              <a:xfrm>
                <a:off x="2609443" y="2856547"/>
                <a:ext cx="225262" cy="225261"/>
              </a:xfrm>
              <a:custGeom>
                <a:avLst/>
                <a:gdLst>
                  <a:gd name="connsiteX0" fmla="*/ 223497 w 255118"/>
                  <a:gd name="connsiteY0" fmla="*/ 100607 h 255118"/>
                  <a:gd name="connsiteX1" fmla="*/ 157730 w 255118"/>
                  <a:gd name="connsiteY1" fmla="*/ 223497 h 255118"/>
                  <a:gd name="connsiteX2" fmla="*/ 34840 w 255118"/>
                  <a:gd name="connsiteY2" fmla="*/ 157730 h 255118"/>
                  <a:gd name="connsiteX3" fmla="*/ 100607 w 255118"/>
                  <a:gd name="connsiteY3" fmla="*/ 34840 h 255118"/>
                  <a:gd name="connsiteX4" fmla="*/ 223497 w 255118"/>
                  <a:gd name="connsiteY4" fmla="*/ 100607 h 255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118" h="255118">
                    <a:moveTo>
                      <a:pt x="223497" y="100607"/>
                    </a:moveTo>
                    <a:cubicBezTo>
                      <a:pt x="239271" y="152703"/>
                      <a:pt x="209826" y="207723"/>
                      <a:pt x="157730" y="223497"/>
                    </a:cubicBezTo>
                    <a:cubicBezTo>
                      <a:pt x="105634" y="239271"/>
                      <a:pt x="50614" y="209826"/>
                      <a:pt x="34840" y="157730"/>
                    </a:cubicBezTo>
                    <a:cubicBezTo>
                      <a:pt x="19066" y="105634"/>
                      <a:pt x="48511" y="50614"/>
                      <a:pt x="100607" y="34840"/>
                    </a:cubicBezTo>
                    <a:cubicBezTo>
                      <a:pt x="152703" y="19066"/>
                      <a:pt x="207723" y="48511"/>
                      <a:pt x="223497" y="100607"/>
                    </a:cubicBezTo>
                    <a:close/>
                  </a:path>
                </a:pathLst>
              </a:custGeom>
              <a:grpFill/>
              <a:ln w="9525" cap="flat">
                <a:noFill/>
                <a:prstDash val="solid"/>
                <a:miter/>
              </a:ln>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defTabSz="1219170"/>
                <a:endParaRPr lang="en-US" sz="2400">
                  <a:solidFill>
                    <a:srgbClr val="102B62"/>
                  </a:solidFill>
                  <a:latin typeface="Arial"/>
                </a:endParaRPr>
              </a:p>
            </p:txBody>
          </p:sp>
          <p:sp>
            <p:nvSpPr>
              <p:cNvPr id="11" name="Freeform: Shape 10">
                <a:extLst>
                  <a:ext uri="{FF2B5EF4-FFF2-40B4-BE49-F238E27FC236}">
                    <a16:creationId xmlns:a16="http://schemas.microsoft.com/office/drawing/2014/main" id="{4C41BB24-3997-4CBA-9178-23C2B965E1C4}"/>
                  </a:ext>
                </a:extLst>
              </p:cNvPr>
              <p:cNvSpPr/>
              <p:nvPr/>
            </p:nvSpPr>
            <p:spPr>
              <a:xfrm>
                <a:off x="256422" y="1560004"/>
                <a:ext cx="2774283" cy="2305976"/>
              </a:xfrm>
              <a:custGeom>
                <a:avLst/>
                <a:gdLst>
                  <a:gd name="connsiteX0" fmla="*/ 3039138 w 3141991"/>
                  <a:gd name="connsiteY0" fmla="*/ 1404833 h 2611612"/>
                  <a:gd name="connsiteX1" fmla="*/ 3137694 w 3141991"/>
                  <a:gd name="connsiteY1" fmla="*/ 1306276 h 2611612"/>
                  <a:gd name="connsiteX2" fmla="*/ 3039138 w 3141991"/>
                  <a:gd name="connsiteY2" fmla="*/ 1207720 h 2611612"/>
                  <a:gd name="connsiteX3" fmla="*/ 2603825 w 3141991"/>
                  <a:gd name="connsiteY3" fmla="*/ 1207720 h 2611612"/>
                  <a:gd name="connsiteX4" fmla="*/ 2593284 w 3141991"/>
                  <a:gd name="connsiteY4" fmla="*/ 1113460 h 2611612"/>
                  <a:gd name="connsiteX5" fmla="*/ 2695466 w 3141991"/>
                  <a:gd name="connsiteY5" fmla="*/ 1113460 h 2611612"/>
                  <a:gd name="connsiteX6" fmla="*/ 2794023 w 3141991"/>
                  <a:gd name="connsiteY6" fmla="*/ 1014904 h 2611612"/>
                  <a:gd name="connsiteX7" fmla="*/ 2695466 w 3141991"/>
                  <a:gd name="connsiteY7" fmla="*/ 916347 h 2611612"/>
                  <a:gd name="connsiteX8" fmla="*/ 2548034 w 3141991"/>
                  <a:gd name="connsiteY8" fmla="*/ 916347 h 2611612"/>
                  <a:gd name="connsiteX9" fmla="*/ 1306276 w 3141991"/>
                  <a:gd name="connsiteY9" fmla="*/ 5035 h 2611612"/>
                  <a:gd name="connsiteX10" fmla="*/ 5035 w 3141991"/>
                  <a:gd name="connsiteY10" fmla="*/ 1306276 h 2611612"/>
                  <a:gd name="connsiteX11" fmla="*/ 1306276 w 3141991"/>
                  <a:gd name="connsiteY11" fmla="*/ 2607518 h 2611612"/>
                  <a:gd name="connsiteX12" fmla="*/ 2603825 w 3141991"/>
                  <a:gd name="connsiteY12" fmla="*/ 1404833 h 2611612"/>
                  <a:gd name="connsiteX13" fmla="*/ 3039138 w 3141991"/>
                  <a:gd name="connsiteY13" fmla="*/ 1404833 h 2611612"/>
                  <a:gd name="connsiteX14" fmla="*/ 2093452 w 3141991"/>
                  <a:gd name="connsiteY14" fmla="*/ 2093453 h 2611612"/>
                  <a:gd name="connsiteX15" fmla="*/ 1306276 w 3141991"/>
                  <a:gd name="connsiteY15" fmla="*/ 2419535 h 2611612"/>
                  <a:gd name="connsiteX16" fmla="*/ 519100 w 3141991"/>
                  <a:gd name="connsiteY16" fmla="*/ 2093453 h 2611612"/>
                  <a:gd name="connsiteX17" fmla="*/ 193018 w 3141991"/>
                  <a:gd name="connsiteY17" fmla="*/ 1306276 h 2611612"/>
                  <a:gd name="connsiteX18" fmla="*/ 519100 w 3141991"/>
                  <a:gd name="connsiteY18" fmla="*/ 519100 h 2611612"/>
                  <a:gd name="connsiteX19" fmla="*/ 1306276 w 3141991"/>
                  <a:gd name="connsiteY19" fmla="*/ 193018 h 2611612"/>
                  <a:gd name="connsiteX20" fmla="*/ 2093452 w 3141991"/>
                  <a:gd name="connsiteY20" fmla="*/ 519100 h 2611612"/>
                  <a:gd name="connsiteX21" fmla="*/ 2419535 w 3141991"/>
                  <a:gd name="connsiteY21" fmla="*/ 1306276 h 2611612"/>
                  <a:gd name="connsiteX22" fmla="*/ 2093452 w 3141991"/>
                  <a:gd name="connsiteY22" fmla="*/ 2093453 h 2611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41991" h="2611612">
                    <a:moveTo>
                      <a:pt x="3039138" y="1404833"/>
                    </a:moveTo>
                    <a:cubicBezTo>
                      <a:pt x="3093586" y="1404833"/>
                      <a:pt x="3137694" y="1360724"/>
                      <a:pt x="3137694" y="1306276"/>
                    </a:cubicBezTo>
                    <a:cubicBezTo>
                      <a:pt x="3137694" y="1251829"/>
                      <a:pt x="3093586" y="1207720"/>
                      <a:pt x="3039138" y="1207720"/>
                    </a:cubicBezTo>
                    <a:lnTo>
                      <a:pt x="2603825" y="1207720"/>
                    </a:lnTo>
                    <a:cubicBezTo>
                      <a:pt x="2601475" y="1175964"/>
                      <a:pt x="2597917" y="1144544"/>
                      <a:pt x="2593284" y="1113460"/>
                    </a:cubicBezTo>
                    <a:lnTo>
                      <a:pt x="2695466" y="1113460"/>
                    </a:lnTo>
                    <a:cubicBezTo>
                      <a:pt x="2749914" y="1113460"/>
                      <a:pt x="2794023" y="1069351"/>
                      <a:pt x="2794023" y="1014904"/>
                    </a:cubicBezTo>
                    <a:cubicBezTo>
                      <a:pt x="2794023" y="960456"/>
                      <a:pt x="2749914" y="916347"/>
                      <a:pt x="2695466" y="916347"/>
                    </a:cubicBezTo>
                    <a:lnTo>
                      <a:pt x="2548034" y="916347"/>
                    </a:lnTo>
                    <a:cubicBezTo>
                      <a:pt x="2382408" y="388251"/>
                      <a:pt x="1889089" y="5035"/>
                      <a:pt x="1306276" y="5035"/>
                    </a:cubicBezTo>
                    <a:cubicBezTo>
                      <a:pt x="587646" y="5035"/>
                      <a:pt x="5035" y="587646"/>
                      <a:pt x="5035" y="1306276"/>
                    </a:cubicBezTo>
                    <a:cubicBezTo>
                      <a:pt x="5035" y="2024906"/>
                      <a:pt x="587646" y="2607518"/>
                      <a:pt x="1306276" y="2607518"/>
                    </a:cubicBezTo>
                    <a:cubicBezTo>
                      <a:pt x="1991808" y="2607518"/>
                      <a:pt x="2553472" y="2077407"/>
                      <a:pt x="2603825" y="1404833"/>
                    </a:cubicBezTo>
                    <a:lnTo>
                      <a:pt x="3039138" y="1404833"/>
                    </a:lnTo>
                    <a:close/>
                    <a:moveTo>
                      <a:pt x="2093452" y="2093453"/>
                    </a:moveTo>
                    <a:cubicBezTo>
                      <a:pt x="1883181" y="2303725"/>
                      <a:pt x="1603624" y="2419535"/>
                      <a:pt x="1306276" y="2419535"/>
                    </a:cubicBezTo>
                    <a:cubicBezTo>
                      <a:pt x="1008928" y="2419535"/>
                      <a:pt x="729372" y="2303725"/>
                      <a:pt x="519100" y="2093453"/>
                    </a:cubicBezTo>
                    <a:cubicBezTo>
                      <a:pt x="308828" y="1883248"/>
                      <a:pt x="193018" y="1603624"/>
                      <a:pt x="193018" y="1306276"/>
                    </a:cubicBezTo>
                    <a:cubicBezTo>
                      <a:pt x="193018" y="1008928"/>
                      <a:pt x="308828" y="729372"/>
                      <a:pt x="519100" y="519100"/>
                    </a:cubicBezTo>
                    <a:cubicBezTo>
                      <a:pt x="729372" y="308828"/>
                      <a:pt x="1008928" y="193018"/>
                      <a:pt x="1306276" y="193018"/>
                    </a:cubicBezTo>
                    <a:cubicBezTo>
                      <a:pt x="1603624" y="193018"/>
                      <a:pt x="1883181" y="308828"/>
                      <a:pt x="2093452" y="519100"/>
                    </a:cubicBezTo>
                    <a:cubicBezTo>
                      <a:pt x="2303724" y="729372"/>
                      <a:pt x="2419535" y="1008928"/>
                      <a:pt x="2419535" y="1306276"/>
                    </a:cubicBezTo>
                    <a:cubicBezTo>
                      <a:pt x="2419535" y="1603624"/>
                      <a:pt x="2303724" y="1883248"/>
                      <a:pt x="2093452" y="2093453"/>
                    </a:cubicBezTo>
                    <a:close/>
                  </a:path>
                </a:pathLst>
              </a:custGeom>
              <a:grpFill/>
              <a:ln>
                <a:noFill/>
              </a:ln>
            </p:spPr>
            <p:style>
              <a:lnRef idx="1">
                <a:schemeClr val="dk1"/>
              </a:lnRef>
              <a:fillRef idx="3">
                <a:schemeClr val="dk1"/>
              </a:fillRef>
              <a:effectRef idx="2">
                <a:schemeClr val="dk1"/>
              </a:effectRef>
              <a:fontRef idx="minor">
                <a:schemeClr val="lt1"/>
              </a:fontRef>
            </p:style>
            <p:txBody>
              <a:bodyPr rtlCol="0" anchor="ctr"/>
              <a:lstStyle/>
              <a:p>
                <a:pPr defTabSz="1219170"/>
                <a:endParaRPr lang="en-US" sz="2400">
                  <a:solidFill>
                    <a:prstClr val="white"/>
                  </a:solidFill>
                  <a:latin typeface="Arial"/>
                </a:endParaRPr>
              </a:p>
            </p:txBody>
          </p:sp>
        </p:grpSp>
        <p:sp>
          <p:nvSpPr>
            <p:cNvPr id="5" name="Freeform: Shape 4">
              <a:extLst>
                <a:ext uri="{FF2B5EF4-FFF2-40B4-BE49-F238E27FC236}">
                  <a16:creationId xmlns:a16="http://schemas.microsoft.com/office/drawing/2014/main" id="{56F526A9-003F-4A45-A089-4B812E6EC798}"/>
                </a:ext>
              </a:extLst>
            </p:cNvPr>
            <p:cNvSpPr/>
            <p:nvPr/>
          </p:nvSpPr>
          <p:spPr>
            <a:xfrm>
              <a:off x="2630325" y="1263038"/>
              <a:ext cx="1548283" cy="1548282"/>
            </a:xfrm>
            <a:custGeom>
              <a:avLst/>
              <a:gdLst>
                <a:gd name="connsiteX0" fmla="*/ 2217579 w 2215506"/>
                <a:gd name="connsiteY0" fmla="*/ 1110564 h 2215506"/>
                <a:gd name="connsiteX1" fmla="*/ 1110564 w 2215506"/>
                <a:gd name="connsiteY1" fmla="*/ 2217579 h 2215506"/>
                <a:gd name="connsiteX2" fmla="*/ 3549 w 2215506"/>
                <a:gd name="connsiteY2" fmla="*/ 1110564 h 2215506"/>
                <a:gd name="connsiteX3" fmla="*/ 1110564 w 2215506"/>
                <a:gd name="connsiteY3" fmla="*/ 3549 h 2215506"/>
                <a:gd name="connsiteX4" fmla="*/ 2217579 w 2215506"/>
                <a:gd name="connsiteY4" fmla="*/ 1110564 h 2215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5506" h="2215506">
                  <a:moveTo>
                    <a:pt x="2217579" y="1110564"/>
                  </a:moveTo>
                  <a:cubicBezTo>
                    <a:pt x="2217579" y="1721952"/>
                    <a:pt x="1721951" y="2217579"/>
                    <a:pt x="1110564" y="2217579"/>
                  </a:cubicBezTo>
                  <a:cubicBezTo>
                    <a:pt x="499176" y="2217579"/>
                    <a:pt x="3549" y="1721952"/>
                    <a:pt x="3549" y="1110564"/>
                  </a:cubicBezTo>
                  <a:cubicBezTo>
                    <a:pt x="3549" y="499177"/>
                    <a:pt x="499176" y="3549"/>
                    <a:pt x="1110564" y="3549"/>
                  </a:cubicBezTo>
                  <a:cubicBezTo>
                    <a:pt x="1721951" y="3549"/>
                    <a:pt x="2217579" y="499177"/>
                    <a:pt x="2217579" y="1110564"/>
                  </a:cubicBezTo>
                  <a:close/>
                </a:path>
              </a:pathLst>
            </a:custGeom>
            <a:solidFill>
              <a:srgbClr val="FFFFFF"/>
            </a:solidFill>
            <a:ln w="6714" cap="flat">
              <a:noFill/>
              <a:prstDash val="solid"/>
              <a:miter/>
            </a:ln>
            <a:effectLst>
              <a:innerShdw blurRad="114300">
                <a:prstClr val="black"/>
              </a:innerShdw>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r>
                <a:rPr lang="en-US" sz="2400" b="1" dirty="0">
                  <a:solidFill>
                    <a:srgbClr val="000000"/>
                  </a:solidFill>
                  <a:latin typeface="Arial"/>
                </a:rPr>
                <a:t>Proven Platform</a:t>
              </a:r>
            </a:p>
          </p:txBody>
        </p:sp>
        <p:sp>
          <p:nvSpPr>
            <p:cNvPr id="9" name="Freeform: Shape 8">
              <a:extLst>
                <a:ext uri="{FF2B5EF4-FFF2-40B4-BE49-F238E27FC236}">
                  <a16:creationId xmlns:a16="http://schemas.microsoft.com/office/drawing/2014/main" id="{CFE90BDB-6C04-43DC-BD4F-259FD60B1D91}"/>
                </a:ext>
              </a:extLst>
            </p:cNvPr>
            <p:cNvSpPr/>
            <p:nvPr/>
          </p:nvSpPr>
          <p:spPr>
            <a:xfrm>
              <a:off x="2232597" y="1126267"/>
              <a:ext cx="2467868" cy="1825096"/>
            </a:xfrm>
            <a:custGeom>
              <a:avLst/>
              <a:gdLst>
                <a:gd name="connsiteX0" fmla="*/ 3058071 w 3531383"/>
                <a:gd name="connsiteY0" fmla="*/ 1499093 h 2611612"/>
                <a:gd name="connsiteX1" fmla="*/ 2966698 w 3531383"/>
                <a:gd name="connsiteY1" fmla="*/ 1499093 h 2611612"/>
                <a:gd name="connsiteX2" fmla="*/ 2977843 w 3531383"/>
                <a:gd name="connsiteY2" fmla="*/ 1395501 h 2611612"/>
                <a:gd name="connsiteX3" fmla="*/ 2977843 w 3531383"/>
                <a:gd name="connsiteY3" fmla="*/ 1404833 h 2611612"/>
                <a:gd name="connsiteX4" fmla="*/ 3433498 w 3531383"/>
                <a:gd name="connsiteY4" fmla="*/ 1404833 h 2611612"/>
                <a:gd name="connsiteX5" fmla="*/ 3532055 w 3531383"/>
                <a:gd name="connsiteY5" fmla="*/ 1306276 h 2611612"/>
                <a:gd name="connsiteX6" fmla="*/ 3433498 w 3531383"/>
                <a:gd name="connsiteY6" fmla="*/ 1207720 h 2611612"/>
                <a:gd name="connsiteX7" fmla="*/ 2977775 w 3531383"/>
                <a:gd name="connsiteY7" fmla="*/ 1207720 h 2611612"/>
                <a:gd name="connsiteX8" fmla="*/ 2977775 w 3531383"/>
                <a:gd name="connsiteY8" fmla="*/ 1217052 h 2611612"/>
                <a:gd name="connsiteX9" fmla="*/ 1679690 w 3531383"/>
                <a:gd name="connsiteY9" fmla="*/ 5035 h 2611612"/>
                <a:gd name="connsiteX10" fmla="*/ 437865 w 3531383"/>
                <a:gd name="connsiteY10" fmla="*/ 916414 h 2611612"/>
                <a:gd name="connsiteX11" fmla="*/ 103592 w 3531383"/>
                <a:gd name="connsiteY11" fmla="*/ 916414 h 2611612"/>
                <a:gd name="connsiteX12" fmla="*/ 5035 w 3531383"/>
                <a:gd name="connsiteY12" fmla="*/ 1014971 h 2611612"/>
                <a:gd name="connsiteX13" fmla="*/ 103592 w 3531383"/>
                <a:gd name="connsiteY13" fmla="*/ 1113527 h 2611612"/>
                <a:gd name="connsiteX14" fmla="*/ 392682 w 3531383"/>
                <a:gd name="connsiteY14" fmla="*/ 1113527 h 2611612"/>
                <a:gd name="connsiteX15" fmla="*/ 381940 w 3531383"/>
                <a:gd name="connsiteY15" fmla="*/ 1211345 h 2611612"/>
                <a:gd name="connsiteX16" fmla="*/ 309500 w 3531383"/>
                <a:gd name="connsiteY16" fmla="*/ 1306276 h 2611612"/>
                <a:gd name="connsiteX17" fmla="*/ 381940 w 3531383"/>
                <a:gd name="connsiteY17" fmla="*/ 1401208 h 2611612"/>
                <a:gd name="connsiteX18" fmla="*/ 392682 w 3531383"/>
                <a:gd name="connsiteY18" fmla="*/ 1499025 h 2611612"/>
                <a:gd name="connsiteX19" fmla="*/ 207586 w 3531383"/>
                <a:gd name="connsiteY19" fmla="*/ 1499025 h 2611612"/>
                <a:gd name="connsiteX20" fmla="*/ 109030 w 3531383"/>
                <a:gd name="connsiteY20" fmla="*/ 1597582 h 2611612"/>
                <a:gd name="connsiteX21" fmla="*/ 207586 w 3531383"/>
                <a:gd name="connsiteY21" fmla="*/ 1696138 h 2611612"/>
                <a:gd name="connsiteX22" fmla="*/ 437932 w 3531383"/>
                <a:gd name="connsiteY22" fmla="*/ 1696138 h 2611612"/>
                <a:gd name="connsiteX23" fmla="*/ 1679757 w 3531383"/>
                <a:gd name="connsiteY23" fmla="*/ 2607518 h 2611612"/>
                <a:gd name="connsiteX24" fmla="*/ 2921582 w 3531383"/>
                <a:gd name="connsiteY24" fmla="*/ 1696138 h 2611612"/>
                <a:gd name="connsiteX25" fmla="*/ 3058138 w 3531383"/>
                <a:gd name="connsiteY25" fmla="*/ 1696138 h 2611612"/>
                <a:gd name="connsiteX26" fmla="*/ 3156694 w 3531383"/>
                <a:gd name="connsiteY26" fmla="*/ 1597582 h 2611612"/>
                <a:gd name="connsiteX27" fmla="*/ 3058071 w 3531383"/>
                <a:gd name="connsiteY27" fmla="*/ 1499093 h 2611612"/>
                <a:gd name="connsiteX28" fmla="*/ 2466866 w 3531383"/>
                <a:gd name="connsiteY28" fmla="*/ 2093453 h 2611612"/>
                <a:gd name="connsiteX29" fmla="*/ 1679690 w 3531383"/>
                <a:gd name="connsiteY29" fmla="*/ 2419535 h 2611612"/>
                <a:gd name="connsiteX30" fmla="*/ 892514 w 3531383"/>
                <a:gd name="connsiteY30" fmla="*/ 2093453 h 2611612"/>
                <a:gd name="connsiteX31" fmla="*/ 566431 w 3531383"/>
                <a:gd name="connsiteY31" fmla="*/ 1306276 h 2611612"/>
                <a:gd name="connsiteX32" fmla="*/ 892514 w 3531383"/>
                <a:gd name="connsiteY32" fmla="*/ 519100 h 2611612"/>
                <a:gd name="connsiteX33" fmla="*/ 1679690 w 3531383"/>
                <a:gd name="connsiteY33" fmla="*/ 193018 h 2611612"/>
                <a:gd name="connsiteX34" fmla="*/ 2466866 w 3531383"/>
                <a:gd name="connsiteY34" fmla="*/ 519100 h 2611612"/>
                <a:gd name="connsiteX35" fmla="*/ 2792949 w 3531383"/>
                <a:gd name="connsiteY35" fmla="*/ 1306276 h 2611612"/>
                <a:gd name="connsiteX36" fmla="*/ 2466866 w 3531383"/>
                <a:gd name="connsiteY36" fmla="*/ 2093453 h 2611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531383" h="2611612">
                  <a:moveTo>
                    <a:pt x="3058071" y="1499093"/>
                  </a:moveTo>
                  <a:lnTo>
                    <a:pt x="2966698" y="1499093"/>
                  </a:lnTo>
                  <a:cubicBezTo>
                    <a:pt x="2971733" y="1464987"/>
                    <a:pt x="2975493" y="1430412"/>
                    <a:pt x="2977843" y="1395501"/>
                  </a:cubicBezTo>
                  <a:lnTo>
                    <a:pt x="2977843" y="1404833"/>
                  </a:lnTo>
                  <a:lnTo>
                    <a:pt x="3433498" y="1404833"/>
                  </a:lnTo>
                  <a:cubicBezTo>
                    <a:pt x="3487946" y="1404833"/>
                    <a:pt x="3532055" y="1360724"/>
                    <a:pt x="3532055" y="1306276"/>
                  </a:cubicBezTo>
                  <a:cubicBezTo>
                    <a:pt x="3532055" y="1251829"/>
                    <a:pt x="3487946" y="1207720"/>
                    <a:pt x="3433498" y="1207720"/>
                  </a:cubicBezTo>
                  <a:lnTo>
                    <a:pt x="2977775" y="1207720"/>
                  </a:lnTo>
                  <a:lnTo>
                    <a:pt x="2977775" y="1217052"/>
                  </a:lnTo>
                  <a:cubicBezTo>
                    <a:pt x="2931988" y="540047"/>
                    <a:pt x="2368377" y="5035"/>
                    <a:pt x="1679690" y="5035"/>
                  </a:cubicBezTo>
                  <a:cubicBezTo>
                    <a:pt x="1096877" y="5035"/>
                    <a:pt x="603558" y="388251"/>
                    <a:pt x="437865" y="916414"/>
                  </a:cubicBezTo>
                  <a:lnTo>
                    <a:pt x="103592" y="916414"/>
                  </a:lnTo>
                  <a:cubicBezTo>
                    <a:pt x="49144" y="916414"/>
                    <a:pt x="5035" y="960523"/>
                    <a:pt x="5035" y="1014971"/>
                  </a:cubicBezTo>
                  <a:cubicBezTo>
                    <a:pt x="5035" y="1069418"/>
                    <a:pt x="49144" y="1113527"/>
                    <a:pt x="103592" y="1113527"/>
                  </a:cubicBezTo>
                  <a:lnTo>
                    <a:pt x="392682" y="1113527"/>
                  </a:lnTo>
                  <a:cubicBezTo>
                    <a:pt x="387915" y="1145753"/>
                    <a:pt x="384290" y="1178381"/>
                    <a:pt x="381940" y="1211345"/>
                  </a:cubicBezTo>
                  <a:cubicBezTo>
                    <a:pt x="340181" y="1222826"/>
                    <a:pt x="309500" y="1260892"/>
                    <a:pt x="309500" y="1306276"/>
                  </a:cubicBezTo>
                  <a:cubicBezTo>
                    <a:pt x="309500" y="1351661"/>
                    <a:pt x="340181" y="1389794"/>
                    <a:pt x="381940" y="1401208"/>
                  </a:cubicBezTo>
                  <a:cubicBezTo>
                    <a:pt x="384290" y="1434171"/>
                    <a:pt x="387915" y="1466800"/>
                    <a:pt x="392682" y="1499025"/>
                  </a:cubicBezTo>
                  <a:lnTo>
                    <a:pt x="207586" y="1499025"/>
                  </a:lnTo>
                  <a:cubicBezTo>
                    <a:pt x="153139" y="1499025"/>
                    <a:pt x="109030" y="1543134"/>
                    <a:pt x="109030" y="1597582"/>
                  </a:cubicBezTo>
                  <a:cubicBezTo>
                    <a:pt x="109030" y="1652030"/>
                    <a:pt x="153139" y="1696138"/>
                    <a:pt x="207586" y="1696138"/>
                  </a:cubicBezTo>
                  <a:lnTo>
                    <a:pt x="437932" y="1696138"/>
                  </a:lnTo>
                  <a:cubicBezTo>
                    <a:pt x="603625" y="2224302"/>
                    <a:pt x="1096877" y="2607518"/>
                    <a:pt x="1679757" y="2607518"/>
                  </a:cubicBezTo>
                  <a:cubicBezTo>
                    <a:pt x="2262570" y="2607518"/>
                    <a:pt x="2755889" y="2224302"/>
                    <a:pt x="2921582" y="1696138"/>
                  </a:cubicBezTo>
                  <a:lnTo>
                    <a:pt x="3058138" y="1696138"/>
                  </a:lnTo>
                  <a:cubicBezTo>
                    <a:pt x="3112586" y="1696138"/>
                    <a:pt x="3156694" y="1652030"/>
                    <a:pt x="3156694" y="1597582"/>
                  </a:cubicBezTo>
                  <a:cubicBezTo>
                    <a:pt x="3156694" y="1543134"/>
                    <a:pt x="3112451" y="1499093"/>
                    <a:pt x="3058071" y="1499093"/>
                  </a:cubicBezTo>
                  <a:close/>
                  <a:moveTo>
                    <a:pt x="2466866" y="2093453"/>
                  </a:moveTo>
                  <a:cubicBezTo>
                    <a:pt x="2256594" y="2303725"/>
                    <a:pt x="1977038" y="2419535"/>
                    <a:pt x="1679690" y="2419535"/>
                  </a:cubicBezTo>
                  <a:cubicBezTo>
                    <a:pt x="1382342" y="2419535"/>
                    <a:pt x="1102786" y="2303725"/>
                    <a:pt x="892514" y="2093453"/>
                  </a:cubicBezTo>
                  <a:cubicBezTo>
                    <a:pt x="682242" y="1883181"/>
                    <a:pt x="566431" y="1603624"/>
                    <a:pt x="566431" y="1306276"/>
                  </a:cubicBezTo>
                  <a:cubicBezTo>
                    <a:pt x="566431" y="1008928"/>
                    <a:pt x="682242" y="729372"/>
                    <a:pt x="892514" y="519100"/>
                  </a:cubicBezTo>
                  <a:cubicBezTo>
                    <a:pt x="1102786" y="308828"/>
                    <a:pt x="1382342" y="193018"/>
                    <a:pt x="1679690" y="193018"/>
                  </a:cubicBezTo>
                  <a:cubicBezTo>
                    <a:pt x="1977038" y="193018"/>
                    <a:pt x="2256594" y="308828"/>
                    <a:pt x="2466866" y="519100"/>
                  </a:cubicBezTo>
                  <a:cubicBezTo>
                    <a:pt x="2677138" y="729372"/>
                    <a:pt x="2792949" y="1008928"/>
                    <a:pt x="2792949" y="1306276"/>
                  </a:cubicBezTo>
                  <a:cubicBezTo>
                    <a:pt x="2792949" y="1603624"/>
                    <a:pt x="2677138" y="1883248"/>
                    <a:pt x="2466866" y="2093453"/>
                  </a:cubicBezTo>
                  <a:close/>
                </a:path>
              </a:pathLst>
            </a:custGeom>
            <a:solidFill>
              <a:srgbClr val="00587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defTabSz="1219170"/>
              <a:endParaRPr lang="en-US" sz="2400">
                <a:solidFill>
                  <a:prstClr val="white"/>
                </a:solidFill>
                <a:latin typeface="Arial"/>
              </a:endParaRPr>
            </a:p>
          </p:txBody>
        </p:sp>
        <p:sp>
          <p:nvSpPr>
            <p:cNvPr id="20" name="Freeform: Shape 4">
              <a:extLst>
                <a:ext uri="{FF2B5EF4-FFF2-40B4-BE49-F238E27FC236}">
                  <a16:creationId xmlns:a16="http://schemas.microsoft.com/office/drawing/2014/main" id="{56F526A9-003F-4A45-A089-4B812E6EC798}"/>
                </a:ext>
              </a:extLst>
            </p:cNvPr>
            <p:cNvSpPr/>
            <p:nvPr/>
          </p:nvSpPr>
          <p:spPr>
            <a:xfrm>
              <a:off x="4911303" y="1263038"/>
              <a:ext cx="1548282" cy="1548282"/>
            </a:xfrm>
            <a:custGeom>
              <a:avLst/>
              <a:gdLst>
                <a:gd name="connsiteX0" fmla="*/ 2217579 w 2215506"/>
                <a:gd name="connsiteY0" fmla="*/ 1110564 h 2215506"/>
                <a:gd name="connsiteX1" fmla="*/ 1110564 w 2215506"/>
                <a:gd name="connsiteY1" fmla="*/ 2217579 h 2215506"/>
                <a:gd name="connsiteX2" fmla="*/ 3549 w 2215506"/>
                <a:gd name="connsiteY2" fmla="*/ 1110564 h 2215506"/>
                <a:gd name="connsiteX3" fmla="*/ 1110564 w 2215506"/>
                <a:gd name="connsiteY3" fmla="*/ 3549 h 2215506"/>
                <a:gd name="connsiteX4" fmla="*/ 2217579 w 2215506"/>
                <a:gd name="connsiteY4" fmla="*/ 1110564 h 22155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5506" h="2215506">
                  <a:moveTo>
                    <a:pt x="2217579" y="1110564"/>
                  </a:moveTo>
                  <a:cubicBezTo>
                    <a:pt x="2217579" y="1721952"/>
                    <a:pt x="1721951" y="2217579"/>
                    <a:pt x="1110564" y="2217579"/>
                  </a:cubicBezTo>
                  <a:cubicBezTo>
                    <a:pt x="499176" y="2217579"/>
                    <a:pt x="3549" y="1721952"/>
                    <a:pt x="3549" y="1110564"/>
                  </a:cubicBezTo>
                  <a:cubicBezTo>
                    <a:pt x="3549" y="499177"/>
                    <a:pt x="499176" y="3549"/>
                    <a:pt x="1110564" y="3549"/>
                  </a:cubicBezTo>
                  <a:cubicBezTo>
                    <a:pt x="1721951" y="3549"/>
                    <a:pt x="2217579" y="499177"/>
                    <a:pt x="2217579" y="1110564"/>
                  </a:cubicBezTo>
                  <a:close/>
                </a:path>
              </a:pathLst>
            </a:custGeom>
            <a:solidFill>
              <a:srgbClr val="FFFFFF"/>
            </a:solidFill>
            <a:ln w="6714" cap="flat">
              <a:noFill/>
              <a:prstDash val="solid"/>
              <a:miter/>
            </a:ln>
            <a:effectLst>
              <a:innerShdw blurRad="114300">
                <a:prstClr val="black"/>
              </a:innerShdw>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r>
                <a:rPr lang="en-US" sz="2400" b="1" dirty="0">
                  <a:solidFill>
                    <a:srgbClr val="000000"/>
                  </a:solidFill>
                  <a:latin typeface="Arial"/>
                </a:rPr>
                <a:t>Production Scalability</a:t>
              </a:r>
            </a:p>
          </p:txBody>
        </p:sp>
        <p:grpSp>
          <p:nvGrpSpPr>
            <p:cNvPr id="55" name="Group 54">
              <a:extLst>
                <a:ext uri="{FF2B5EF4-FFF2-40B4-BE49-F238E27FC236}">
                  <a16:creationId xmlns:a16="http://schemas.microsoft.com/office/drawing/2014/main" id="{10EF7BA2-DAB6-46C5-8908-10AE08582498}"/>
                </a:ext>
              </a:extLst>
            </p:cNvPr>
            <p:cNvGrpSpPr/>
            <p:nvPr/>
          </p:nvGrpSpPr>
          <p:grpSpPr>
            <a:xfrm>
              <a:off x="4332277" y="1126267"/>
              <a:ext cx="2649165" cy="1825096"/>
              <a:chOff x="4332277" y="1126267"/>
              <a:chExt cx="2649165" cy="1825096"/>
            </a:xfrm>
          </p:grpSpPr>
          <p:sp>
            <p:nvSpPr>
              <p:cNvPr id="21" name="Freeform: Shape 8">
                <a:extLst>
                  <a:ext uri="{FF2B5EF4-FFF2-40B4-BE49-F238E27FC236}">
                    <a16:creationId xmlns:a16="http://schemas.microsoft.com/office/drawing/2014/main" id="{CFE90BDB-6C04-43DC-BD4F-259FD60B1D91}"/>
                  </a:ext>
                </a:extLst>
              </p:cNvPr>
              <p:cNvSpPr/>
              <p:nvPr/>
            </p:nvSpPr>
            <p:spPr>
              <a:xfrm>
                <a:off x="4513576" y="1126267"/>
                <a:ext cx="2467866" cy="1825096"/>
              </a:xfrm>
              <a:custGeom>
                <a:avLst/>
                <a:gdLst>
                  <a:gd name="connsiteX0" fmla="*/ 3058071 w 3531383"/>
                  <a:gd name="connsiteY0" fmla="*/ 1499093 h 2611612"/>
                  <a:gd name="connsiteX1" fmla="*/ 2966698 w 3531383"/>
                  <a:gd name="connsiteY1" fmla="*/ 1499093 h 2611612"/>
                  <a:gd name="connsiteX2" fmla="*/ 2977843 w 3531383"/>
                  <a:gd name="connsiteY2" fmla="*/ 1395501 h 2611612"/>
                  <a:gd name="connsiteX3" fmla="*/ 2977843 w 3531383"/>
                  <a:gd name="connsiteY3" fmla="*/ 1404833 h 2611612"/>
                  <a:gd name="connsiteX4" fmla="*/ 3433498 w 3531383"/>
                  <a:gd name="connsiteY4" fmla="*/ 1404833 h 2611612"/>
                  <a:gd name="connsiteX5" fmla="*/ 3532055 w 3531383"/>
                  <a:gd name="connsiteY5" fmla="*/ 1306276 h 2611612"/>
                  <a:gd name="connsiteX6" fmla="*/ 3433498 w 3531383"/>
                  <a:gd name="connsiteY6" fmla="*/ 1207720 h 2611612"/>
                  <a:gd name="connsiteX7" fmla="*/ 2977775 w 3531383"/>
                  <a:gd name="connsiteY7" fmla="*/ 1207720 h 2611612"/>
                  <a:gd name="connsiteX8" fmla="*/ 2977775 w 3531383"/>
                  <a:gd name="connsiteY8" fmla="*/ 1217052 h 2611612"/>
                  <a:gd name="connsiteX9" fmla="*/ 1679690 w 3531383"/>
                  <a:gd name="connsiteY9" fmla="*/ 5035 h 2611612"/>
                  <a:gd name="connsiteX10" fmla="*/ 437865 w 3531383"/>
                  <a:gd name="connsiteY10" fmla="*/ 916414 h 2611612"/>
                  <a:gd name="connsiteX11" fmla="*/ 103592 w 3531383"/>
                  <a:gd name="connsiteY11" fmla="*/ 916414 h 2611612"/>
                  <a:gd name="connsiteX12" fmla="*/ 5035 w 3531383"/>
                  <a:gd name="connsiteY12" fmla="*/ 1014971 h 2611612"/>
                  <a:gd name="connsiteX13" fmla="*/ 103592 w 3531383"/>
                  <a:gd name="connsiteY13" fmla="*/ 1113527 h 2611612"/>
                  <a:gd name="connsiteX14" fmla="*/ 392682 w 3531383"/>
                  <a:gd name="connsiteY14" fmla="*/ 1113527 h 2611612"/>
                  <a:gd name="connsiteX15" fmla="*/ 381940 w 3531383"/>
                  <a:gd name="connsiteY15" fmla="*/ 1211345 h 2611612"/>
                  <a:gd name="connsiteX16" fmla="*/ 309500 w 3531383"/>
                  <a:gd name="connsiteY16" fmla="*/ 1306276 h 2611612"/>
                  <a:gd name="connsiteX17" fmla="*/ 381940 w 3531383"/>
                  <a:gd name="connsiteY17" fmla="*/ 1401208 h 2611612"/>
                  <a:gd name="connsiteX18" fmla="*/ 392682 w 3531383"/>
                  <a:gd name="connsiteY18" fmla="*/ 1499025 h 2611612"/>
                  <a:gd name="connsiteX19" fmla="*/ 207586 w 3531383"/>
                  <a:gd name="connsiteY19" fmla="*/ 1499025 h 2611612"/>
                  <a:gd name="connsiteX20" fmla="*/ 109030 w 3531383"/>
                  <a:gd name="connsiteY20" fmla="*/ 1597582 h 2611612"/>
                  <a:gd name="connsiteX21" fmla="*/ 207586 w 3531383"/>
                  <a:gd name="connsiteY21" fmla="*/ 1696138 h 2611612"/>
                  <a:gd name="connsiteX22" fmla="*/ 437932 w 3531383"/>
                  <a:gd name="connsiteY22" fmla="*/ 1696138 h 2611612"/>
                  <a:gd name="connsiteX23" fmla="*/ 1679757 w 3531383"/>
                  <a:gd name="connsiteY23" fmla="*/ 2607518 h 2611612"/>
                  <a:gd name="connsiteX24" fmla="*/ 2921582 w 3531383"/>
                  <a:gd name="connsiteY24" fmla="*/ 1696138 h 2611612"/>
                  <a:gd name="connsiteX25" fmla="*/ 3058138 w 3531383"/>
                  <a:gd name="connsiteY25" fmla="*/ 1696138 h 2611612"/>
                  <a:gd name="connsiteX26" fmla="*/ 3156694 w 3531383"/>
                  <a:gd name="connsiteY26" fmla="*/ 1597582 h 2611612"/>
                  <a:gd name="connsiteX27" fmla="*/ 3058071 w 3531383"/>
                  <a:gd name="connsiteY27" fmla="*/ 1499093 h 2611612"/>
                  <a:gd name="connsiteX28" fmla="*/ 2466866 w 3531383"/>
                  <a:gd name="connsiteY28" fmla="*/ 2093453 h 2611612"/>
                  <a:gd name="connsiteX29" fmla="*/ 1679690 w 3531383"/>
                  <a:gd name="connsiteY29" fmla="*/ 2419535 h 2611612"/>
                  <a:gd name="connsiteX30" fmla="*/ 892514 w 3531383"/>
                  <a:gd name="connsiteY30" fmla="*/ 2093453 h 2611612"/>
                  <a:gd name="connsiteX31" fmla="*/ 566431 w 3531383"/>
                  <a:gd name="connsiteY31" fmla="*/ 1306276 h 2611612"/>
                  <a:gd name="connsiteX32" fmla="*/ 892514 w 3531383"/>
                  <a:gd name="connsiteY32" fmla="*/ 519100 h 2611612"/>
                  <a:gd name="connsiteX33" fmla="*/ 1679690 w 3531383"/>
                  <a:gd name="connsiteY33" fmla="*/ 193018 h 2611612"/>
                  <a:gd name="connsiteX34" fmla="*/ 2466866 w 3531383"/>
                  <a:gd name="connsiteY34" fmla="*/ 519100 h 2611612"/>
                  <a:gd name="connsiteX35" fmla="*/ 2792949 w 3531383"/>
                  <a:gd name="connsiteY35" fmla="*/ 1306276 h 2611612"/>
                  <a:gd name="connsiteX36" fmla="*/ 2466866 w 3531383"/>
                  <a:gd name="connsiteY36" fmla="*/ 2093453 h 2611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531383" h="2611612">
                    <a:moveTo>
                      <a:pt x="3058071" y="1499093"/>
                    </a:moveTo>
                    <a:lnTo>
                      <a:pt x="2966698" y="1499093"/>
                    </a:lnTo>
                    <a:cubicBezTo>
                      <a:pt x="2971733" y="1464987"/>
                      <a:pt x="2975493" y="1430412"/>
                      <a:pt x="2977843" y="1395501"/>
                    </a:cubicBezTo>
                    <a:lnTo>
                      <a:pt x="2977843" y="1404833"/>
                    </a:lnTo>
                    <a:lnTo>
                      <a:pt x="3433498" y="1404833"/>
                    </a:lnTo>
                    <a:cubicBezTo>
                      <a:pt x="3487946" y="1404833"/>
                      <a:pt x="3532055" y="1360724"/>
                      <a:pt x="3532055" y="1306276"/>
                    </a:cubicBezTo>
                    <a:cubicBezTo>
                      <a:pt x="3532055" y="1251829"/>
                      <a:pt x="3487946" y="1207720"/>
                      <a:pt x="3433498" y="1207720"/>
                    </a:cubicBezTo>
                    <a:lnTo>
                      <a:pt x="2977775" y="1207720"/>
                    </a:lnTo>
                    <a:lnTo>
                      <a:pt x="2977775" y="1217052"/>
                    </a:lnTo>
                    <a:cubicBezTo>
                      <a:pt x="2931988" y="540047"/>
                      <a:pt x="2368377" y="5035"/>
                      <a:pt x="1679690" y="5035"/>
                    </a:cubicBezTo>
                    <a:cubicBezTo>
                      <a:pt x="1096877" y="5035"/>
                      <a:pt x="603558" y="388251"/>
                      <a:pt x="437865" y="916414"/>
                    </a:cubicBezTo>
                    <a:lnTo>
                      <a:pt x="103592" y="916414"/>
                    </a:lnTo>
                    <a:cubicBezTo>
                      <a:pt x="49144" y="916414"/>
                      <a:pt x="5035" y="960523"/>
                      <a:pt x="5035" y="1014971"/>
                    </a:cubicBezTo>
                    <a:cubicBezTo>
                      <a:pt x="5035" y="1069418"/>
                      <a:pt x="49144" y="1113527"/>
                      <a:pt x="103592" y="1113527"/>
                    </a:cubicBezTo>
                    <a:lnTo>
                      <a:pt x="392682" y="1113527"/>
                    </a:lnTo>
                    <a:cubicBezTo>
                      <a:pt x="387915" y="1145753"/>
                      <a:pt x="384290" y="1178381"/>
                      <a:pt x="381940" y="1211345"/>
                    </a:cubicBezTo>
                    <a:cubicBezTo>
                      <a:pt x="340181" y="1222826"/>
                      <a:pt x="309500" y="1260892"/>
                      <a:pt x="309500" y="1306276"/>
                    </a:cubicBezTo>
                    <a:cubicBezTo>
                      <a:pt x="309500" y="1351661"/>
                      <a:pt x="340181" y="1389794"/>
                      <a:pt x="381940" y="1401208"/>
                    </a:cubicBezTo>
                    <a:cubicBezTo>
                      <a:pt x="384290" y="1434171"/>
                      <a:pt x="387915" y="1466800"/>
                      <a:pt x="392682" y="1499025"/>
                    </a:cubicBezTo>
                    <a:lnTo>
                      <a:pt x="207586" y="1499025"/>
                    </a:lnTo>
                    <a:cubicBezTo>
                      <a:pt x="153139" y="1499025"/>
                      <a:pt x="109030" y="1543134"/>
                      <a:pt x="109030" y="1597582"/>
                    </a:cubicBezTo>
                    <a:cubicBezTo>
                      <a:pt x="109030" y="1652030"/>
                      <a:pt x="153139" y="1696138"/>
                      <a:pt x="207586" y="1696138"/>
                    </a:cubicBezTo>
                    <a:lnTo>
                      <a:pt x="437932" y="1696138"/>
                    </a:lnTo>
                    <a:cubicBezTo>
                      <a:pt x="603625" y="2224302"/>
                      <a:pt x="1096877" y="2607518"/>
                      <a:pt x="1679757" y="2607518"/>
                    </a:cubicBezTo>
                    <a:cubicBezTo>
                      <a:pt x="2262570" y="2607518"/>
                      <a:pt x="2755889" y="2224302"/>
                      <a:pt x="2921582" y="1696138"/>
                    </a:cubicBezTo>
                    <a:lnTo>
                      <a:pt x="3058138" y="1696138"/>
                    </a:lnTo>
                    <a:cubicBezTo>
                      <a:pt x="3112586" y="1696138"/>
                      <a:pt x="3156694" y="1652030"/>
                      <a:pt x="3156694" y="1597582"/>
                    </a:cubicBezTo>
                    <a:cubicBezTo>
                      <a:pt x="3156694" y="1543134"/>
                      <a:pt x="3112451" y="1499093"/>
                      <a:pt x="3058071" y="1499093"/>
                    </a:cubicBezTo>
                    <a:close/>
                    <a:moveTo>
                      <a:pt x="2466866" y="2093453"/>
                    </a:moveTo>
                    <a:cubicBezTo>
                      <a:pt x="2256594" y="2303725"/>
                      <a:pt x="1977038" y="2419535"/>
                      <a:pt x="1679690" y="2419535"/>
                    </a:cubicBezTo>
                    <a:cubicBezTo>
                      <a:pt x="1382342" y="2419535"/>
                      <a:pt x="1102786" y="2303725"/>
                      <a:pt x="892514" y="2093453"/>
                    </a:cubicBezTo>
                    <a:cubicBezTo>
                      <a:pt x="682242" y="1883181"/>
                      <a:pt x="566431" y="1603624"/>
                      <a:pt x="566431" y="1306276"/>
                    </a:cubicBezTo>
                    <a:cubicBezTo>
                      <a:pt x="566431" y="1008928"/>
                      <a:pt x="682242" y="729372"/>
                      <a:pt x="892514" y="519100"/>
                    </a:cubicBezTo>
                    <a:cubicBezTo>
                      <a:pt x="1102786" y="308828"/>
                      <a:pt x="1382342" y="193018"/>
                      <a:pt x="1679690" y="193018"/>
                    </a:cubicBezTo>
                    <a:cubicBezTo>
                      <a:pt x="1977038" y="193018"/>
                      <a:pt x="2256594" y="308828"/>
                      <a:pt x="2466866" y="519100"/>
                    </a:cubicBezTo>
                    <a:cubicBezTo>
                      <a:pt x="2677138" y="729372"/>
                      <a:pt x="2792949" y="1008928"/>
                      <a:pt x="2792949" y="1306276"/>
                    </a:cubicBezTo>
                    <a:cubicBezTo>
                      <a:pt x="2792949" y="1603624"/>
                      <a:pt x="2677138" y="1883248"/>
                      <a:pt x="2466866" y="2093453"/>
                    </a:cubicBezTo>
                    <a:close/>
                  </a:path>
                </a:pathLst>
              </a:custGeom>
              <a:solidFill>
                <a:srgbClr val="008A9C"/>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defTabSz="1219170"/>
                <a:endParaRPr lang="en-US" sz="2400">
                  <a:solidFill>
                    <a:prstClr val="white"/>
                  </a:solidFill>
                  <a:latin typeface="Arial"/>
                </a:endParaRPr>
              </a:p>
            </p:txBody>
          </p:sp>
          <p:sp>
            <p:nvSpPr>
              <p:cNvPr id="54" name="Freeform: Shape 53">
                <a:extLst>
                  <a:ext uri="{FF2B5EF4-FFF2-40B4-BE49-F238E27FC236}">
                    <a16:creationId xmlns:a16="http://schemas.microsoft.com/office/drawing/2014/main" id="{9D1136AC-222A-4EB0-AA7A-1B12F951D03C}"/>
                  </a:ext>
                </a:extLst>
              </p:cNvPr>
              <p:cNvSpPr/>
              <p:nvPr/>
            </p:nvSpPr>
            <p:spPr>
              <a:xfrm>
                <a:off x="4332277" y="1757360"/>
                <a:ext cx="148535" cy="148535"/>
              </a:xfrm>
              <a:custGeom>
                <a:avLst/>
                <a:gdLst>
                  <a:gd name="connsiteX0" fmla="*/ 103592 w 201409"/>
                  <a:gd name="connsiteY0" fmla="*/ 202148 h 201409"/>
                  <a:gd name="connsiteX1" fmla="*/ 202148 w 201409"/>
                  <a:gd name="connsiteY1" fmla="*/ 103592 h 201409"/>
                  <a:gd name="connsiteX2" fmla="*/ 103592 w 201409"/>
                  <a:gd name="connsiteY2" fmla="*/ 5035 h 201409"/>
                  <a:gd name="connsiteX3" fmla="*/ 5035 w 201409"/>
                  <a:gd name="connsiteY3" fmla="*/ 103592 h 201409"/>
                  <a:gd name="connsiteX4" fmla="*/ 103592 w 201409"/>
                  <a:gd name="connsiteY4" fmla="*/ 202148 h 201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409" h="201409">
                    <a:moveTo>
                      <a:pt x="103592" y="202148"/>
                    </a:moveTo>
                    <a:cubicBezTo>
                      <a:pt x="158039" y="202148"/>
                      <a:pt x="202148" y="158039"/>
                      <a:pt x="202148" y="103592"/>
                    </a:cubicBezTo>
                    <a:cubicBezTo>
                      <a:pt x="202148" y="49144"/>
                      <a:pt x="158039" y="5035"/>
                      <a:pt x="103592" y="5035"/>
                    </a:cubicBezTo>
                    <a:cubicBezTo>
                      <a:pt x="49144" y="5035"/>
                      <a:pt x="5035" y="49144"/>
                      <a:pt x="5035" y="103592"/>
                    </a:cubicBezTo>
                    <a:cubicBezTo>
                      <a:pt x="5035" y="158039"/>
                      <a:pt x="49144" y="202148"/>
                      <a:pt x="103592" y="202148"/>
                    </a:cubicBezTo>
                    <a:close/>
                  </a:path>
                </a:pathLst>
              </a:custGeom>
              <a:solidFill>
                <a:srgbClr val="008A9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1219170"/>
                <a:endParaRPr lang="en-US" sz="2400">
                  <a:solidFill>
                    <a:prstClr val="white"/>
                  </a:solidFill>
                  <a:latin typeface="Arial"/>
                </a:endParaRPr>
              </a:p>
            </p:txBody>
          </p:sp>
        </p:grpSp>
      </p:grpSp>
      <p:sp>
        <p:nvSpPr>
          <p:cNvPr id="13" name="Slide Number Placeholder 12">
            <a:extLst>
              <a:ext uri="{FF2B5EF4-FFF2-40B4-BE49-F238E27FC236}">
                <a16:creationId xmlns:a16="http://schemas.microsoft.com/office/drawing/2014/main" id="{E6574FD4-DCAE-4812-9465-5AB82F7640F0}"/>
              </a:ext>
            </a:extLst>
          </p:cNvPr>
          <p:cNvSpPr>
            <a:spLocks noGrp="1"/>
          </p:cNvSpPr>
          <p:nvPr>
            <p:ph type="sldNum" sz="quarter" idx="12"/>
          </p:nvPr>
        </p:nvSpPr>
        <p:spPr/>
        <p:txBody>
          <a:bodyPr/>
          <a:lstStyle/>
          <a:p>
            <a:fld id="{D1541BB9-6530-43D2-B7E0-33A89042A350}" type="slidenum">
              <a:rPr lang="en-US" smtClean="0"/>
              <a:t>20</a:t>
            </a:fld>
            <a:endParaRPr lang="en-US"/>
          </a:p>
        </p:txBody>
      </p:sp>
    </p:spTree>
    <p:extLst>
      <p:ext uri="{BB962C8B-B14F-4D97-AF65-F5344CB8AC3E}">
        <p14:creationId xmlns:p14="http://schemas.microsoft.com/office/powerpoint/2010/main" val="21921444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454560D0-84FA-4F57-B147-34A5B093FAF7}"/>
              </a:ext>
            </a:extLst>
          </p:cNvPr>
          <p:cNvSpPr>
            <a:spLocks noGrp="1"/>
          </p:cNvSpPr>
          <p:nvPr>
            <p:ph type="title"/>
          </p:nvPr>
        </p:nvSpPr>
        <p:spPr/>
        <p:txBody>
          <a:bodyPr>
            <a:normAutofit fontScale="90000"/>
          </a:bodyPr>
          <a:lstStyle/>
          <a:p>
            <a:pPr algn="ctr"/>
            <a:r>
              <a:rPr lang="en-US" dirty="0">
                <a:solidFill>
                  <a:schemeClr val="bg1"/>
                </a:solidFill>
              </a:rPr>
              <a:t>Vaccine Approach</a:t>
            </a:r>
          </a:p>
        </p:txBody>
      </p:sp>
      <p:cxnSp>
        <p:nvCxnSpPr>
          <p:cNvPr id="201" name="Straight Connector 200">
            <a:extLst>
              <a:ext uri="{FF2B5EF4-FFF2-40B4-BE49-F238E27FC236}">
                <a16:creationId xmlns:a16="http://schemas.microsoft.com/office/drawing/2014/main" id="{5C0EE37C-FF91-4253-9843-0B8492DB69F7}"/>
              </a:ext>
            </a:extLst>
          </p:cNvPr>
          <p:cNvCxnSpPr>
            <a:cxnSpLocks/>
          </p:cNvCxnSpPr>
          <p:nvPr/>
        </p:nvCxnSpPr>
        <p:spPr>
          <a:xfrm flipV="1">
            <a:off x="8027377" y="1984366"/>
            <a:ext cx="0" cy="4060191"/>
          </a:xfrm>
          <a:prstGeom prst="line">
            <a:avLst/>
          </a:prstGeom>
          <a:ln>
            <a:gradFill>
              <a:gsLst>
                <a:gs pos="0">
                  <a:schemeClr val="accent1">
                    <a:lumMod val="5000"/>
                    <a:lumOff val="95000"/>
                  </a:schemeClr>
                </a:gs>
                <a:gs pos="100000">
                  <a:schemeClr val="bg1">
                    <a:lumMod val="75000"/>
                  </a:schemeClr>
                </a:gs>
              </a:gsLst>
              <a:lin ang="1200000" scaled="0"/>
            </a:gradFill>
          </a:ln>
          <a:effectLst>
            <a:outerShdw blurRad="50800" dist="25400" dir="5400000" algn="t" rotWithShape="0">
              <a:prstClr val="black">
                <a:alpha val="82000"/>
              </a:prstClr>
            </a:outerShdw>
          </a:effectLst>
        </p:spPr>
        <p:style>
          <a:lnRef idx="1">
            <a:schemeClr val="accent2"/>
          </a:lnRef>
          <a:fillRef idx="0">
            <a:schemeClr val="accent2"/>
          </a:fillRef>
          <a:effectRef idx="0">
            <a:schemeClr val="accent2"/>
          </a:effectRef>
          <a:fontRef idx="minor">
            <a:schemeClr val="tx1"/>
          </a:fontRef>
        </p:style>
      </p:cxnSp>
      <p:grpSp>
        <p:nvGrpSpPr>
          <p:cNvPr id="43" name="Group 42">
            <a:extLst>
              <a:ext uri="{FF2B5EF4-FFF2-40B4-BE49-F238E27FC236}">
                <a16:creationId xmlns:a16="http://schemas.microsoft.com/office/drawing/2014/main" id="{7F2E184E-CD21-489C-BA48-5A52994A5F6A}"/>
              </a:ext>
            </a:extLst>
          </p:cNvPr>
          <p:cNvGrpSpPr/>
          <p:nvPr/>
        </p:nvGrpSpPr>
        <p:grpSpPr>
          <a:xfrm>
            <a:off x="8802118" y="1462503"/>
            <a:ext cx="2617029" cy="991258"/>
            <a:chOff x="6411019" y="655348"/>
            <a:chExt cx="1962772" cy="743443"/>
          </a:xfrm>
        </p:grpSpPr>
        <p:pic>
          <p:nvPicPr>
            <p:cNvPr id="182" name="Picture 181">
              <a:extLst>
                <a:ext uri="{FF2B5EF4-FFF2-40B4-BE49-F238E27FC236}">
                  <a16:creationId xmlns:a16="http://schemas.microsoft.com/office/drawing/2014/main" id="{AC85114C-B0A1-477D-A30F-F811DBB2D8C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11019" y="655348"/>
              <a:ext cx="1962772" cy="743443"/>
            </a:xfrm>
            <a:prstGeom prst="rect">
              <a:avLst/>
            </a:prstGeom>
          </p:spPr>
        </p:pic>
        <p:sp>
          <p:nvSpPr>
            <p:cNvPr id="183" name="Rectangle 182">
              <a:extLst>
                <a:ext uri="{FF2B5EF4-FFF2-40B4-BE49-F238E27FC236}">
                  <a16:creationId xmlns:a16="http://schemas.microsoft.com/office/drawing/2014/main" id="{D1A4362D-6330-4505-8BE0-8A9AB1393A98}"/>
                </a:ext>
              </a:extLst>
            </p:cNvPr>
            <p:cNvSpPr/>
            <p:nvPr/>
          </p:nvSpPr>
          <p:spPr>
            <a:xfrm>
              <a:off x="6851041" y="769107"/>
              <a:ext cx="1089792" cy="376930"/>
            </a:xfrm>
            <a:prstGeom prst="rect">
              <a:avLst/>
            </a:prstGeom>
          </p:spPr>
          <p:txBody>
            <a:bodyPr wrap="square">
              <a:spAutoFit/>
            </a:bodyPr>
            <a:lstStyle/>
            <a:p>
              <a:pPr algn="ctr" defTabSz="1219170"/>
              <a:r>
                <a:rPr lang="en-US" sz="1333" b="1" dirty="0">
                  <a:solidFill>
                    <a:srgbClr val="B7FFFF">
                      <a:lumMod val="10000"/>
                    </a:srgbClr>
                  </a:solidFill>
                  <a:latin typeface="Arial"/>
                </a:rPr>
                <a:t>Domestic Manufacturing</a:t>
              </a:r>
            </a:p>
          </p:txBody>
        </p:sp>
      </p:grpSp>
      <p:sp>
        <p:nvSpPr>
          <p:cNvPr id="185" name="TextBox 184">
            <a:extLst>
              <a:ext uri="{FF2B5EF4-FFF2-40B4-BE49-F238E27FC236}">
                <a16:creationId xmlns:a16="http://schemas.microsoft.com/office/drawing/2014/main" id="{7107E071-8B5C-4051-9138-BE3DAA4EB6D2}"/>
              </a:ext>
            </a:extLst>
          </p:cNvPr>
          <p:cNvSpPr txBox="1"/>
          <p:nvPr/>
        </p:nvSpPr>
        <p:spPr>
          <a:xfrm>
            <a:off x="9043534" y="2406421"/>
            <a:ext cx="2692369" cy="1384995"/>
          </a:xfrm>
          <a:prstGeom prst="rect">
            <a:avLst/>
          </a:prstGeom>
          <a:noFill/>
        </p:spPr>
        <p:txBody>
          <a:bodyPr wrap="square" rtlCol="0">
            <a:spAutoFit/>
          </a:bodyPr>
          <a:lstStyle/>
          <a:p>
            <a:pPr defTabSz="1219170">
              <a:defRPr/>
            </a:pPr>
            <a:r>
              <a:rPr lang="en-US" sz="1400" b="1" dirty="0">
                <a:solidFill>
                  <a:srgbClr val="B7FFFF">
                    <a:lumMod val="10000"/>
                  </a:srgbClr>
                </a:solidFill>
                <a:latin typeface="Arial"/>
              </a:rPr>
              <a:t>Scale Up &amp; Scale Out</a:t>
            </a:r>
          </a:p>
          <a:p>
            <a:pPr marL="152396" indent="-152396" defTabSz="1219170">
              <a:buFont typeface="Arial" panose="020B0604020202020204" pitchFamily="34" charset="0"/>
              <a:buChar char="•"/>
              <a:defRPr/>
            </a:pPr>
            <a:r>
              <a:rPr lang="en-US" sz="1400" dirty="0">
                <a:solidFill>
                  <a:srgbClr val="000000"/>
                </a:solidFill>
                <a:latin typeface="Arial"/>
              </a:rPr>
              <a:t>Validate large scale process </a:t>
            </a:r>
            <a:br>
              <a:rPr lang="en-US" sz="1400" dirty="0">
                <a:solidFill>
                  <a:srgbClr val="000000"/>
                </a:solidFill>
                <a:latin typeface="Arial"/>
              </a:rPr>
            </a:br>
            <a:r>
              <a:rPr lang="en-US" sz="1400" dirty="0">
                <a:solidFill>
                  <a:srgbClr val="000000"/>
                </a:solidFill>
                <a:latin typeface="Arial"/>
              </a:rPr>
              <a:t>(i.e. larger tanks)</a:t>
            </a:r>
          </a:p>
          <a:p>
            <a:pPr marL="152396" indent="-152396" defTabSz="1219170">
              <a:buFont typeface="Arial" panose="020B0604020202020204" pitchFamily="34" charset="0"/>
              <a:buChar char="•"/>
              <a:defRPr/>
            </a:pPr>
            <a:r>
              <a:rPr lang="en-US" sz="1400" dirty="0">
                <a:solidFill>
                  <a:srgbClr val="000000"/>
                </a:solidFill>
                <a:latin typeface="Arial"/>
              </a:rPr>
              <a:t>Technology transfer to more facilities</a:t>
            </a:r>
          </a:p>
          <a:p>
            <a:pPr marL="152396" indent="-152396" defTabSz="1219170">
              <a:buFont typeface="Arial" panose="020B0604020202020204" pitchFamily="34" charset="0"/>
              <a:buChar char="•"/>
              <a:defRPr/>
            </a:pPr>
            <a:r>
              <a:rPr lang="en-US" sz="1400" dirty="0">
                <a:solidFill>
                  <a:srgbClr val="000000"/>
                </a:solidFill>
                <a:latin typeface="Arial"/>
              </a:rPr>
              <a:t>Increase fill/finish capacity</a:t>
            </a:r>
          </a:p>
        </p:txBody>
      </p:sp>
      <p:grpSp>
        <p:nvGrpSpPr>
          <p:cNvPr id="6" name="Group 5">
            <a:extLst>
              <a:ext uri="{FF2B5EF4-FFF2-40B4-BE49-F238E27FC236}">
                <a16:creationId xmlns:a16="http://schemas.microsoft.com/office/drawing/2014/main" id="{8C818DE5-D48A-4A61-B979-03CB8C7E29BA}"/>
              </a:ext>
            </a:extLst>
          </p:cNvPr>
          <p:cNvGrpSpPr/>
          <p:nvPr/>
        </p:nvGrpSpPr>
        <p:grpSpPr>
          <a:xfrm>
            <a:off x="8439216" y="2406422"/>
            <a:ext cx="604321" cy="604321"/>
            <a:chOff x="6596937" y="3036631"/>
            <a:chExt cx="453241" cy="453241"/>
          </a:xfrm>
        </p:grpSpPr>
        <p:sp>
          <p:nvSpPr>
            <p:cNvPr id="195" name="Oval 194">
              <a:extLst>
                <a:ext uri="{FF2B5EF4-FFF2-40B4-BE49-F238E27FC236}">
                  <a16:creationId xmlns:a16="http://schemas.microsoft.com/office/drawing/2014/main" id="{8597FFDA-9945-4BDD-8B9C-A9B8E47F46B2}"/>
                </a:ext>
              </a:extLst>
            </p:cNvPr>
            <p:cNvSpPr/>
            <p:nvPr/>
          </p:nvSpPr>
          <p:spPr>
            <a:xfrm>
              <a:off x="6596937" y="3036631"/>
              <a:ext cx="453241" cy="453241"/>
            </a:xfrm>
            <a:prstGeom prst="ellipse">
              <a:avLst/>
            </a:prstGeom>
            <a:gradFill>
              <a:gsLst>
                <a:gs pos="0">
                  <a:schemeClr val="accent6">
                    <a:lumMod val="10000"/>
                  </a:schemeClr>
                </a:gs>
                <a:gs pos="100000">
                  <a:schemeClr val="accent6">
                    <a:lumMod val="25000"/>
                  </a:schemeClr>
                </a:gs>
              </a:gsLst>
            </a:gradFill>
            <a:ln>
              <a:noFill/>
            </a:ln>
            <a:effectLst/>
          </p:spPr>
          <p:style>
            <a:lnRef idx="1">
              <a:schemeClr val="dk1"/>
            </a:lnRef>
            <a:fillRef idx="3">
              <a:schemeClr val="dk1"/>
            </a:fillRef>
            <a:effectRef idx="2">
              <a:schemeClr val="dk1"/>
            </a:effectRef>
            <a:fontRef idx="minor">
              <a:schemeClr val="lt1"/>
            </a:fontRef>
          </p:style>
          <p:txBody>
            <a:bodyPr rtlCol="0" anchor="ctr"/>
            <a:lstStyle/>
            <a:p>
              <a:pPr algn="ctr" defTabSz="1219170"/>
              <a:endParaRPr lang="en-US" sz="1867" dirty="0">
                <a:solidFill>
                  <a:prstClr val="white"/>
                </a:solidFill>
                <a:latin typeface="Arial"/>
              </a:endParaRPr>
            </a:p>
          </p:txBody>
        </p:sp>
        <p:grpSp>
          <p:nvGrpSpPr>
            <p:cNvPr id="234" name="Graphic 8">
              <a:extLst>
                <a:ext uri="{FF2B5EF4-FFF2-40B4-BE49-F238E27FC236}">
                  <a16:creationId xmlns:a16="http://schemas.microsoft.com/office/drawing/2014/main" id="{FCB46700-3E4F-47C2-A6C7-3FD427917826}"/>
                </a:ext>
              </a:extLst>
            </p:cNvPr>
            <p:cNvGrpSpPr/>
            <p:nvPr/>
          </p:nvGrpSpPr>
          <p:grpSpPr>
            <a:xfrm>
              <a:off x="6657164" y="3081555"/>
              <a:ext cx="292025" cy="316125"/>
              <a:chOff x="2800056" y="2019038"/>
              <a:chExt cx="1745253" cy="1889284"/>
            </a:xfrm>
            <a:solidFill>
              <a:srgbClr val="00ADB4"/>
            </a:solidFill>
          </p:grpSpPr>
          <p:sp>
            <p:nvSpPr>
              <p:cNvPr id="235" name="Freeform: Shape 234">
                <a:extLst>
                  <a:ext uri="{FF2B5EF4-FFF2-40B4-BE49-F238E27FC236}">
                    <a16:creationId xmlns:a16="http://schemas.microsoft.com/office/drawing/2014/main" id="{338E2AE5-5FB3-4587-8C98-FA2C61512BF0}"/>
                  </a:ext>
                </a:extLst>
              </p:cNvPr>
              <p:cNvSpPr/>
              <p:nvPr/>
            </p:nvSpPr>
            <p:spPr>
              <a:xfrm>
                <a:off x="3681391" y="2019038"/>
                <a:ext cx="863917" cy="703421"/>
              </a:xfrm>
              <a:custGeom>
                <a:avLst/>
                <a:gdLst>
                  <a:gd name="connsiteX0" fmla="*/ 110014 w 863917"/>
                  <a:gd name="connsiteY0" fmla="*/ 0 h 703421"/>
                  <a:gd name="connsiteX1" fmla="*/ 110014 w 863917"/>
                  <a:gd name="connsiteY1" fmla="*/ 402431 h 703421"/>
                  <a:gd name="connsiteX2" fmla="*/ 328613 w 863917"/>
                  <a:gd name="connsiteY2" fmla="*/ 402431 h 703421"/>
                  <a:gd name="connsiteX3" fmla="*/ 328613 w 863917"/>
                  <a:gd name="connsiteY3" fmla="*/ 159068 h 703421"/>
                  <a:gd name="connsiteX4" fmla="*/ 457200 w 863917"/>
                  <a:gd name="connsiteY4" fmla="*/ 286703 h 703421"/>
                  <a:gd name="connsiteX5" fmla="*/ 580073 w 863917"/>
                  <a:gd name="connsiteY5" fmla="*/ 408146 h 703421"/>
                  <a:gd name="connsiteX6" fmla="*/ 587693 w 863917"/>
                  <a:gd name="connsiteY6" fmla="*/ 402908 h 703421"/>
                  <a:gd name="connsiteX7" fmla="*/ 587693 w 863917"/>
                  <a:gd name="connsiteY7" fmla="*/ 160973 h 703421"/>
                  <a:gd name="connsiteX8" fmla="*/ 608648 w 863917"/>
                  <a:gd name="connsiteY8" fmla="*/ 180023 h 703421"/>
                  <a:gd name="connsiteX9" fmla="*/ 807244 w 863917"/>
                  <a:gd name="connsiteY9" fmla="*/ 377666 h 703421"/>
                  <a:gd name="connsiteX10" fmla="*/ 863918 w 863917"/>
                  <a:gd name="connsiteY10" fmla="*/ 402908 h 703421"/>
                  <a:gd name="connsiteX11" fmla="*/ 863918 w 863917"/>
                  <a:gd name="connsiteY11" fmla="*/ 703421 h 703421"/>
                  <a:gd name="connsiteX12" fmla="*/ 0 w 863917"/>
                  <a:gd name="connsiteY12" fmla="*/ 703421 h 703421"/>
                  <a:gd name="connsiteX13" fmla="*/ 0 w 863917"/>
                  <a:gd name="connsiteY13" fmla="*/ 405289 h 703421"/>
                  <a:gd name="connsiteX14" fmla="*/ 57150 w 863917"/>
                  <a:gd name="connsiteY14" fmla="*/ 405289 h 703421"/>
                  <a:gd name="connsiteX15" fmla="*/ 57150 w 863917"/>
                  <a:gd name="connsiteY15" fmla="*/ 476 h 703421"/>
                  <a:gd name="connsiteX16" fmla="*/ 110014 w 863917"/>
                  <a:gd name="connsiteY16" fmla="*/ 0 h 703421"/>
                  <a:gd name="connsiteX17" fmla="*/ 102870 w 863917"/>
                  <a:gd name="connsiteY17" fmla="*/ 642461 h 703421"/>
                  <a:gd name="connsiteX18" fmla="*/ 165259 w 863917"/>
                  <a:gd name="connsiteY18" fmla="*/ 642461 h 703421"/>
                  <a:gd name="connsiteX19" fmla="*/ 165259 w 863917"/>
                  <a:gd name="connsiteY19" fmla="*/ 582454 h 703421"/>
                  <a:gd name="connsiteX20" fmla="*/ 102870 w 863917"/>
                  <a:gd name="connsiteY20" fmla="*/ 582454 h 703421"/>
                  <a:gd name="connsiteX21" fmla="*/ 102870 w 863917"/>
                  <a:gd name="connsiteY21" fmla="*/ 642461 h 703421"/>
                  <a:gd name="connsiteX22" fmla="*/ 284798 w 863917"/>
                  <a:gd name="connsiteY22" fmla="*/ 582454 h 703421"/>
                  <a:gd name="connsiteX23" fmla="*/ 223838 w 863917"/>
                  <a:gd name="connsiteY23" fmla="*/ 582454 h 703421"/>
                  <a:gd name="connsiteX24" fmla="*/ 223838 w 863917"/>
                  <a:gd name="connsiteY24" fmla="*/ 642938 h 703421"/>
                  <a:gd name="connsiteX25" fmla="*/ 284798 w 863917"/>
                  <a:gd name="connsiteY25" fmla="*/ 642938 h 703421"/>
                  <a:gd name="connsiteX26" fmla="*/ 284798 w 863917"/>
                  <a:gd name="connsiteY26" fmla="*/ 582454 h 703421"/>
                  <a:gd name="connsiteX27" fmla="*/ 102870 w 863917"/>
                  <a:gd name="connsiteY27" fmla="*/ 466249 h 703421"/>
                  <a:gd name="connsiteX28" fmla="*/ 102870 w 863917"/>
                  <a:gd name="connsiteY28" fmla="*/ 527209 h 703421"/>
                  <a:gd name="connsiteX29" fmla="*/ 165259 w 863917"/>
                  <a:gd name="connsiteY29" fmla="*/ 527209 h 703421"/>
                  <a:gd name="connsiteX30" fmla="*/ 165259 w 863917"/>
                  <a:gd name="connsiteY30" fmla="*/ 466249 h 703421"/>
                  <a:gd name="connsiteX31" fmla="*/ 102870 w 863917"/>
                  <a:gd name="connsiteY31" fmla="*/ 466249 h 703421"/>
                  <a:gd name="connsiteX32" fmla="*/ 222885 w 863917"/>
                  <a:gd name="connsiteY32" fmla="*/ 465773 h 703421"/>
                  <a:gd name="connsiteX33" fmla="*/ 222885 w 863917"/>
                  <a:gd name="connsiteY33" fmla="*/ 526733 h 703421"/>
                  <a:gd name="connsiteX34" fmla="*/ 284321 w 863917"/>
                  <a:gd name="connsiteY34" fmla="*/ 526733 h 703421"/>
                  <a:gd name="connsiteX35" fmla="*/ 284321 w 863917"/>
                  <a:gd name="connsiteY35" fmla="*/ 465773 h 703421"/>
                  <a:gd name="connsiteX36" fmla="*/ 222885 w 863917"/>
                  <a:gd name="connsiteY36" fmla="*/ 465773 h 703421"/>
                  <a:gd name="connsiteX37" fmla="*/ 760572 w 863917"/>
                  <a:gd name="connsiteY37" fmla="*/ 581978 h 703421"/>
                  <a:gd name="connsiteX38" fmla="*/ 700564 w 863917"/>
                  <a:gd name="connsiteY38" fmla="*/ 581978 h 703421"/>
                  <a:gd name="connsiteX39" fmla="*/ 700564 w 863917"/>
                  <a:gd name="connsiteY39" fmla="*/ 642938 h 703421"/>
                  <a:gd name="connsiteX40" fmla="*/ 760572 w 863917"/>
                  <a:gd name="connsiteY40" fmla="*/ 642938 h 703421"/>
                  <a:gd name="connsiteX41" fmla="*/ 760572 w 863917"/>
                  <a:gd name="connsiteY41" fmla="*/ 581978 h 703421"/>
                  <a:gd name="connsiteX42" fmla="*/ 581501 w 863917"/>
                  <a:gd name="connsiteY42" fmla="*/ 581978 h 703421"/>
                  <a:gd name="connsiteX43" fmla="*/ 581501 w 863917"/>
                  <a:gd name="connsiteY43" fmla="*/ 643414 h 703421"/>
                  <a:gd name="connsiteX44" fmla="*/ 640556 w 863917"/>
                  <a:gd name="connsiteY44" fmla="*/ 643414 h 703421"/>
                  <a:gd name="connsiteX45" fmla="*/ 640556 w 863917"/>
                  <a:gd name="connsiteY45" fmla="*/ 581978 h 703421"/>
                  <a:gd name="connsiteX46" fmla="*/ 581501 w 863917"/>
                  <a:gd name="connsiteY46" fmla="*/ 581978 h 703421"/>
                  <a:gd name="connsiteX47" fmla="*/ 522446 w 863917"/>
                  <a:gd name="connsiteY47" fmla="*/ 582454 h 703421"/>
                  <a:gd name="connsiteX48" fmla="*/ 462439 w 863917"/>
                  <a:gd name="connsiteY48" fmla="*/ 582454 h 703421"/>
                  <a:gd name="connsiteX49" fmla="*/ 462439 w 863917"/>
                  <a:gd name="connsiteY49" fmla="*/ 642938 h 703421"/>
                  <a:gd name="connsiteX50" fmla="*/ 522446 w 863917"/>
                  <a:gd name="connsiteY50" fmla="*/ 642938 h 703421"/>
                  <a:gd name="connsiteX51" fmla="*/ 522446 w 863917"/>
                  <a:gd name="connsiteY51" fmla="*/ 582454 h 703421"/>
                  <a:gd name="connsiteX52" fmla="*/ 403384 w 863917"/>
                  <a:gd name="connsiteY52" fmla="*/ 583406 h 703421"/>
                  <a:gd name="connsiteX53" fmla="*/ 342900 w 863917"/>
                  <a:gd name="connsiteY53" fmla="*/ 583406 h 703421"/>
                  <a:gd name="connsiteX54" fmla="*/ 342900 w 863917"/>
                  <a:gd name="connsiteY54" fmla="*/ 642461 h 703421"/>
                  <a:gd name="connsiteX55" fmla="*/ 403384 w 863917"/>
                  <a:gd name="connsiteY55" fmla="*/ 642461 h 703421"/>
                  <a:gd name="connsiteX56" fmla="*/ 403384 w 863917"/>
                  <a:gd name="connsiteY56" fmla="*/ 583406 h 703421"/>
                  <a:gd name="connsiteX57" fmla="*/ 342424 w 863917"/>
                  <a:gd name="connsiteY57" fmla="*/ 527209 h 703421"/>
                  <a:gd name="connsiteX58" fmla="*/ 403384 w 863917"/>
                  <a:gd name="connsiteY58" fmla="*/ 527209 h 703421"/>
                  <a:gd name="connsiteX59" fmla="*/ 403384 w 863917"/>
                  <a:gd name="connsiteY59" fmla="*/ 466249 h 703421"/>
                  <a:gd name="connsiteX60" fmla="*/ 342424 w 863917"/>
                  <a:gd name="connsiteY60" fmla="*/ 466249 h 703421"/>
                  <a:gd name="connsiteX61" fmla="*/ 342424 w 863917"/>
                  <a:gd name="connsiteY61" fmla="*/ 527209 h 703421"/>
                  <a:gd name="connsiteX62" fmla="*/ 581978 w 863917"/>
                  <a:gd name="connsiteY62" fmla="*/ 465296 h 703421"/>
                  <a:gd name="connsiteX63" fmla="*/ 581978 w 863917"/>
                  <a:gd name="connsiteY63" fmla="*/ 527685 h 703421"/>
                  <a:gd name="connsiteX64" fmla="*/ 641033 w 863917"/>
                  <a:gd name="connsiteY64" fmla="*/ 527685 h 703421"/>
                  <a:gd name="connsiteX65" fmla="*/ 641033 w 863917"/>
                  <a:gd name="connsiteY65" fmla="*/ 465296 h 703421"/>
                  <a:gd name="connsiteX66" fmla="*/ 581978 w 863917"/>
                  <a:gd name="connsiteY66" fmla="*/ 465296 h 703421"/>
                  <a:gd name="connsiteX67" fmla="*/ 700564 w 863917"/>
                  <a:gd name="connsiteY67" fmla="*/ 465773 h 703421"/>
                  <a:gd name="connsiteX68" fmla="*/ 700564 w 863917"/>
                  <a:gd name="connsiteY68" fmla="*/ 527209 h 703421"/>
                  <a:gd name="connsiteX69" fmla="*/ 760095 w 863917"/>
                  <a:gd name="connsiteY69" fmla="*/ 527209 h 703421"/>
                  <a:gd name="connsiteX70" fmla="*/ 760095 w 863917"/>
                  <a:gd name="connsiteY70" fmla="*/ 465773 h 703421"/>
                  <a:gd name="connsiteX71" fmla="*/ 700564 w 863917"/>
                  <a:gd name="connsiteY71" fmla="*/ 465773 h 703421"/>
                  <a:gd name="connsiteX72" fmla="*/ 462439 w 863917"/>
                  <a:gd name="connsiteY72" fmla="*/ 465773 h 703421"/>
                  <a:gd name="connsiteX73" fmla="*/ 462439 w 863917"/>
                  <a:gd name="connsiteY73" fmla="*/ 527209 h 703421"/>
                  <a:gd name="connsiteX74" fmla="*/ 521970 w 863917"/>
                  <a:gd name="connsiteY74" fmla="*/ 527209 h 703421"/>
                  <a:gd name="connsiteX75" fmla="*/ 521970 w 863917"/>
                  <a:gd name="connsiteY75" fmla="*/ 465773 h 703421"/>
                  <a:gd name="connsiteX76" fmla="*/ 462439 w 863917"/>
                  <a:gd name="connsiteY76" fmla="*/ 465773 h 703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863917" h="703421">
                    <a:moveTo>
                      <a:pt x="110014" y="0"/>
                    </a:moveTo>
                    <a:cubicBezTo>
                      <a:pt x="110014" y="133350"/>
                      <a:pt x="110014" y="267176"/>
                      <a:pt x="110014" y="402431"/>
                    </a:cubicBezTo>
                    <a:cubicBezTo>
                      <a:pt x="183833" y="402431"/>
                      <a:pt x="254794" y="402431"/>
                      <a:pt x="328613" y="402431"/>
                    </a:cubicBezTo>
                    <a:cubicBezTo>
                      <a:pt x="328613" y="323374"/>
                      <a:pt x="328613" y="244793"/>
                      <a:pt x="328613" y="159068"/>
                    </a:cubicBezTo>
                    <a:cubicBezTo>
                      <a:pt x="374809" y="204788"/>
                      <a:pt x="415766" y="245745"/>
                      <a:pt x="457200" y="286703"/>
                    </a:cubicBezTo>
                    <a:cubicBezTo>
                      <a:pt x="498158" y="327184"/>
                      <a:pt x="539115" y="368141"/>
                      <a:pt x="580073" y="408146"/>
                    </a:cubicBezTo>
                    <a:cubicBezTo>
                      <a:pt x="582454" y="406241"/>
                      <a:pt x="585311" y="404813"/>
                      <a:pt x="587693" y="402908"/>
                    </a:cubicBezTo>
                    <a:cubicBezTo>
                      <a:pt x="587693" y="324326"/>
                      <a:pt x="587693" y="245745"/>
                      <a:pt x="587693" y="160973"/>
                    </a:cubicBezTo>
                    <a:cubicBezTo>
                      <a:pt x="597694" y="170021"/>
                      <a:pt x="603409" y="174784"/>
                      <a:pt x="608648" y="180023"/>
                    </a:cubicBezTo>
                    <a:cubicBezTo>
                      <a:pt x="674847" y="245745"/>
                      <a:pt x="741522" y="311468"/>
                      <a:pt x="807244" y="377666"/>
                    </a:cubicBezTo>
                    <a:cubicBezTo>
                      <a:pt x="822960" y="393383"/>
                      <a:pt x="836772" y="411956"/>
                      <a:pt x="863918" y="402908"/>
                    </a:cubicBezTo>
                    <a:cubicBezTo>
                      <a:pt x="863918" y="504825"/>
                      <a:pt x="863918" y="603409"/>
                      <a:pt x="863918" y="703421"/>
                    </a:cubicBezTo>
                    <a:cubicBezTo>
                      <a:pt x="576263" y="703421"/>
                      <a:pt x="289084" y="703421"/>
                      <a:pt x="0" y="703421"/>
                    </a:cubicBezTo>
                    <a:cubicBezTo>
                      <a:pt x="0" y="604838"/>
                      <a:pt x="0" y="506254"/>
                      <a:pt x="0" y="405289"/>
                    </a:cubicBezTo>
                    <a:cubicBezTo>
                      <a:pt x="17145" y="405289"/>
                      <a:pt x="35242" y="405289"/>
                      <a:pt x="57150" y="405289"/>
                    </a:cubicBezTo>
                    <a:cubicBezTo>
                      <a:pt x="57150" y="268605"/>
                      <a:pt x="57150" y="134303"/>
                      <a:pt x="57150" y="476"/>
                    </a:cubicBezTo>
                    <a:cubicBezTo>
                      <a:pt x="75248" y="0"/>
                      <a:pt x="92869" y="0"/>
                      <a:pt x="110014" y="0"/>
                    </a:cubicBezTo>
                    <a:close/>
                    <a:moveTo>
                      <a:pt x="102870" y="642461"/>
                    </a:moveTo>
                    <a:cubicBezTo>
                      <a:pt x="124778" y="642461"/>
                      <a:pt x="144780" y="642461"/>
                      <a:pt x="165259" y="642461"/>
                    </a:cubicBezTo>
                    <a:cubicBezTo>
                      <a:pt x="165259" y="621506"/>
                      <a:pt x="165259" y="602933"/>
                      <a:pt x="165259" y="582454"/>
                    </a:cubicBezTo>
                    <a:cubicBezTo>
                      <a:pt x="143828" y="582454"/>
                      <a:pt x="124301" y="582454"/>
                      <a:pt x="102870" y="582454"/>
                    </a:cubicBezTo>
                    <a:cubicBezTo>
                      <a:pt x="102870" y="602933"/>
                      <a:pt x="102870" y="621506"/>
                      <a:pt x="102870" y="642461"/>
                    </a:cubicBezTo>
                    <a:close/>
                    <a:moveTo>
                      <a:pt x="284798" y="582454"/>
                    </a:moveTo>
                    <a:cubicBezTo>
                      <a:pt x="262890" y="582454"/>
                      <a:pt x="243840" y="582454"/>
                      <a:pt x="223838" y="582454"/>
                    </a:cubicBezTo>
                    <a:cubicBezTo>
                      <a:pt x="223838" y="603885"/>
                      <a:pt x="223838" y="623888"/>
                      <a:pt x="223838" y="642938"/>
                    </a:cubicBezTo>
                    <a:cubicBezTo>
                      <a:pt x="245269" y="642938"/>
                      <a:pt x="264795" y="642938"/>
                      <a:pt x="284798" y="642938"/>
                    </a:cubicBezTo>
                    <a:cubicBezTo>
                      <a:pt x="284798" y="621983"/>
                      <a:pt x="284798" y="603409"/>
                      <a:pt x="284798" y="582454"/>
                    </a:cubicBezTo>
                    <a:close/>
                    <a:moveTo>
                      <a:pt x="102870" y="466249"/>
                    </a:moveTo>
                    <a:cubicBezTo>
                      <a:pt x="102870" y="487204"/>
                      <a:pt x="102870" y="506254"/>
                      <a:pt x="102870" y="527209"/>
                    </a:cubicBezTo>
                    <a:cubicBezTo>
                      <a:pt x="124301" y="527209"/>
                      <a:pt x="143828" y="527209"/>
                      <a:pt x="165259" y="527209"/>
                    </a:cubicBezTo>
                    <a:cubicBezTo>
                      <a:pt x="165259" y="506254"/>
                      <a:pt x="165259" y="487204"/>
                      <a:pt x="165259" y="466249"/>
                    </a:cubicBezTo>
                    <a:cubicBezTo>
                      <a:pt x="143828" y="466249"/>
                      <a:pt x="123825" y="466249"/>
                      <a:pt x="102870" y="466249"/>
                    </a:cubicBezTo>
                    <a:close/>
                    <a:moveTo>
                      <a:pt x="222885" y="465773"/>
                    </a:moveTo>
                    <a:cubicBezTo>
                      <a:pt x="222885" y="486728"/>
                      <a:pt x="222885" y="506254"/>
                      <a:pt x="222885" y="526733"/>
                    </a:cubicBezTo>
                    <a:cubicBezTo>
                      <a:pt x="244316" y="526733"/>
                      <a:pt x="263843" y="526733"/>
                      <a:pt x="284321" y="526733"/>
                    </a:cubicBezTo>
                    <a:cubicBezTo>
                      <a:pt x="284321" y="505301"/>
                      <a:pt x="284321" y="486251"/>
                      <a:pt x="284321" y="465773"/>
                    </a:cubicBezTo>
                    <a:cubicBezTo>
                      <a:pt x="263843" y="465773"/>
                      <a:pt x="245269" y="465773"/>
                      <a:pt x="222885" y="465773"/>
                    </a:cubicBezTo>
                    <a:close/>
                    <a:moveTo>
                      <a:pt x="760572" y="581978"/>
                    </a:moveTo>
                    <a:cubicBezTo>
                      <a:pt x="739140" y="581978"/>
                      <a:pt x="720566" y="581978"/>
                      <a:pt x="700564" y="581978"/>
                    </a:cubicBezTo>
                    <a:cubicBezTo>
                      <a:pt x="700564" y="602456"/>
                      <a:pt x="700564" y="621983"/>
                      <a:pt x="700564" y="642938"/>
                    </a:cubicBezTo>
                    <a:cubicBezTo>
                      <a:pt x="720566" y="642938"/>
                      <a:pt x="739616" y="642938"/>
                      <a:pt x="760572" y="642938"/>
                    </a:cubicBezTo>
                    <a:cubicBezTo>
                      <a:pt x="760572" y="622459"/>
                      <a:pt x="760572" y="603409"/>
                      <a:pt x="760572" y="581978"/>
                    </a:cubicBezTo>
                    <a:close/>
                    <a:moveTo>
                      <a:pt x="581501" y="581978"/>
                    </a:moveTo>
                    <a:cubicBezTo>
                      <a:pt x="581501" y="603885"/>
                      <a:pt x="581501" y="623411"/>
                      <a:pt x="581501" y="643414"/>
                    </a:cubicBezTo>
                    <a:cubicBezTo>
                      <a:pt x="601980" y="643414"/>
                      <a:pt x="621506" y="643414"/>
                      <a:pt x="640556" y="643414"/>
                    </a:cubicBezTo>
                    <a:cubicBezTo>
                      <a:pt x="640556" y="621983"/>
                      <a:pt x="640556" y="602456"/>
                      <a:pt x="640556" y="581978"/>
                    </a:cubicBezTo>
                    <a:cubicBezTo>
                      <a:pt x="620554" y="581978"/>
                      <a:pt x="601980" y="581978"/>
                      <a:pt x="581501" y="581978"/>
                    </a:cubicBezTo>
                    <a:close/>
                    <a:moveTo>
                      <a:pt x="522446" y="582454"/>
                    </a:moveTo>
                    <a:cubicBezTo>
                      <a:pt x="500539" y="582454"/>
                      <a:pt x="481489" y="582454"/>
                      <a:pt x="462439" y="582454"/>
                    </a:cubicBezTo>
                    <a:cubicBezTo>
                      <a:pt x="462439" y="603885"/>
                      <a:pt x="462439" y="622935"/>
                      <a:pt x="462439" y="642938"/>
                    </a:cubicBezTo>
                    <a:cubicBezTo>
                      <a:pt x="483394" y="642938"/>
                      <a:pt x="502444" y="642938"/>
                      <a:pt x="522446" y="642938"/>
                    </a:cubicBezTo>
                    <a:cubicBezTo>
                      <a:pt x="522446" y="622459"/>
                      <a:pt x="522446" y="602933"/>
                      <a:pt x="522446" y="582454"/>
                    </a:cubicBezTo>
                    <a:close/>
                    <a:moveTo>
                      <a:pt x="403384" y="583406"/>
                    </a:moveTo>
                    <a:cubicBezTo>
                      <a:pt x="381000" y="583406"/>
                      <a:pt x="361950" y="583406"/>
                      <a:pt x="342900" y="583406"/>
                    </a:cubicBezTo>
                    <a:cubicBezTo>
                      <a:pt x="342900" y="604838"/>
                      <a:pt x="342900" y="623411"/>
                      <a:pt x="342900" y="642461"/>
                    </a:cubicBezTo>
                    <a:cubicBezTo>
                      <a:pt x="363855" y="642461"/>
                      <a:pt x="383858" y="642461"/>
                      <a:pt x="403384" y="642461"/>
                    </a:cubicBezTo>
                    <a:cubicBezTo>
                      <a:pt x="403384" y="621506"/>
                      <a:pt x="403384" y="602933"/>
                      <a:pt x="403384" y="583406"/>
                    </a:cubicBezTo>
                    <a:close/>
                    <a:moveTo>
                      <a:pt x="342424" y="527209"/>
                    </a:moveTo>
                    <a:cubicBezTo>
                      <a:pt x="364808" y="527209"/>
                      <a:pt x="383858" y="527209"/>
                      <a:pt x="403384" y="527209"/>
                    </a:cubicBezTo>
                    <a:cubicBezTo>
                      <a:pt x="403384" y="506254"/>
                      <a:pt x="403384" y="486728"/>
                      <a:pt x="403384" y="466249"/>
                    </a:cubicBezTo>
                    <a:cubicBezTo>
                      <a:pt x="382429" y="466249"/>
                      <a:pt x="362426" y="466249"/>
                      <a:pt x="342424" y="466249"/>
                    </a:cubicBezTo>
                    <a:cubicBezTo>
                      <a:pt x="342424" y="487204"/>
                      <a:pt x="342424" y="506730"/>
                      <a:pt x="342424" y="527209"/>
                    </a:cubicBezTo>
                    <a:close/>
                    <a:moveTo>
                      <a:pt x="581978" y="465296"/>
                    </a:moveTo>
                    <a:cubicBezTo>
                      <a:pt x="581978" y="487680"/>
                      <a:pt x="581978" y="507683"/>
                      <a:pt x="581978" y="527685"/>
                    </a:cubicBezTo>
                    <a:cubicBezTo>
                      <a:pt x="602933" y="527685"/>
                      <a:pt x="621506" y="527685"/>
                      <a:pt x="641033" y="527685"/>
                    </a:cubicBezTo>
                    <a:cubicBezTo>
                      <a:pt x="641033" y="506254"/>
                      <a:pt x="641033" y="486251"/>
                      <a:pt x="641033" y="465296"/>
                    </a:cubicBezTo>
                    <a:cubicBezTo>
                      <a:pt x="621030" y="465296"/>
                      <a:pt x="602456" y="465296"/>
                      <a:pt x="581978" y="465296"/>
                    </a:cubicBezTo>
                    <a:close/>
                    <a:moveTo>
                      <a:pt x="700564" y="465773"/>
                    </a:moveTo>
                    <a:cubicBezTo>
                      <a:pt x="700564" y="488156"/>
                      <a:pt x="700564" y="507683"/>
                      <a:pt x="700564" y="527209"/>
                    </a:cubicBezTo>
                    <a:cubicBezTo>
                      <a:pt x="721519" y="527209"/>
                      <a:pt x="740569" y="527209"/>
                      <a:pt x="760095" y="527209"/>
                    </a:cubicBezTo>
                    <a:cubicBezTo>
                      <a:pt x="760095" y="505778"/>
                      <a:pt x="760095" y="485775"/>
                      <a:pt x="760095" y="465773"/>
                    </a:cubicBezTo>
                    <a:cubicBezTo>
                      <a:pt x="739616" y="465773"/>
                      <a:pt x="721043" y="465773"/>
                      <a:pt x="700564" y="465773"/>
                    </a:cubicBezTo>
                    <a:close/>
                    <a:moveTo>
                      <a:pt x="462439" y="465773"/>
                    </a:moveTo>
                    <a:cubicBezTo>
                      <a:pt x="462439" y="487204"/>
                      <a:pt x="462439" y="507206"/>
                      <a:pt x="462439" y="527209"/>
                    </a:cubicBezTo>
                    <a:cubicBezTo>
                      <a:pt x="483394" y="527209"/>
                      <a:pt x="502444" y="527209"/>
                      <a:pt x="521970" y="527209"/>
                    </a:cubicBezTo>
                    <a:cubicBezTo>
                      <a:pt x="521970" y="505301"/>
                      <a:pt x="521970" y="485299"/>
                      <a:pt x="521970" y="465773"/>
                    </a:cubicBezTo>
                    <a:cubicBezTo>
                      <a:pt x="501015" y="465773"/>
                      <a:pt x="482441" y="465773"/>
                      <a:pt x="462439" y="465773"/>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36" name="Freeform: Shape 235">
                <a:extLst>
                  <a:ext uri="{FF2B5EF4-FFF2-40B4-BE49-F238E27FC236}">
                    <a16:creationId xmlns:a16="http://schemas.microsoft.com/office/drawing/2014/main" id="{796B1195-9B7F-4122-A3DB-BC369B8E59C4}"/>
                  </a:ext>
                </a:extLst>
              </p:cNvPr>
              <p:cNvSpPr/>
              <p:nvPr/>
            </p:nvSpPr>
            <p:spPr>
              <a:xfrm>
                <a:off x="2800056" y="2978205"/>
                <a:ext cx="663212" cy="538167"/>
              </a:xfrm>
              <a:custGeom>
                <a:avLst/>
                <a:gdLst>
                  <a:gd name="connsiteX0" fmla="*/ 270783 w 663212"/>
                  <a:gd name="connsiteY0" fmla="*/ 439579 h 538167"/>
                  <a:gd name="connsiteX1" fmla="*/ 162674 w 663212"/>
                  <a:gd name="connsiteY1" fmla="*/ 537686 h 538167"/>
                  <a:gd name="connsiteX2" fmla="*/ 70758 w 663212"/>
                  <a:gd name="connsiteY2" fmla="*/ 438150 h 538167"/>
                  <a:gd name="connsiteX3" fmla="*/ 22180 w 663212"/>
                  <a:gd name="connsiteY3" fmla="*/ 437198 h 538167"/>
                  <a:gd name="connsiteX4" fmla="*/ 273 w 663212"/>
                  <a:gd name="connsiteY4" fmla="*/ 420529 h 538167"/>
                  <a:gd name="connsiteX5" fmla="*/ 10750 w 663212"/>
                  <a:gd name="connsiteY5" fmla="*/ 397193 h 538167"/>
                  <a:gd name="connsiteX6" fmla="*/ 22180 w 663212"/>
                  <a:gd name="connsiteY6" fmla="*/ 372904 h 538167"/>
                  <a:gd name="connsiteX7" fmla="*/ 25990 w 663212"/>
                  <a:gd name="connsiteY7" fmla="*/ 228600 h 538167"/>
                  <a:gd name="connsiteX8" fmla="*/ 45040 w 663212"/>
                  <a:gd name="connsiteY8" fmla="*/ 187643 h 538167"/>
                  <a:gd name="connsiteX9" fmla="*/ 116001 w 663212"/>
                  <a:gd name="connsiteY9" fmla="*/ 117634 h 538167"/>
                  <a:gd name="connsiteX10" fmla="*/ 165055 w 663212"/>
                  <a:gd name="connsiteY10" fmla="*/ 98584 h 538167"/>
                  <a:gd name="connsiteX11" fmla="*/ 221253 w 663212"/>
                  <a:gd name="connsiteY11" fmla="*/ 98108 h 538167"/>
                  <a:gd name="connsiteX12" fmla="*/ 221253 w 663212"/>
                  <a:gd name="connsiteY12" fmla="*/ 29528 h 538167"/>
                  <a:gd name="connsiteX13" fmla="*/ 249828 w 663212"/>
                  <a:gd name="connsiteY13" fmla="*/ 0 h 538167"/>
                  <a:gd name="connsiteX14" fmla="*/ 634638 w 663212"/>
                  <a:gd name="connsiteY14" fmla="*/ 0 h 538167"/>
                  <a:gd name="connsiteX15" fmla="*/ 663213 w 663212"/>
                  <a:gd name="connsiteY15" fmla="*/ 32385 h 538167"/>
                  <a:gd name="connsiteX16" fmla="*/ 663213 w 663212"/>
                  <a:gd name="connsiteY16" fmla="*/ 410051 h 538167"/>
                  <a:gd name="connsiteX17" fmla="*/ 634638 w 663212"/>
                  <a:gd name="connsiteY17" fmla="*/ 438626 h 538167"/>
                  <a:gd name="connsiteX18" fmla="*/ 610825 w 663212"/>
                  <a:gd name="connsiteY18" fmla="*/ 458629 h 538167"/>
                  <a:gd name="connsiteX19" fmla="*/ 517956 w 663212"/>
                  <a:gd name="connsiteY19" fmla="*/ 538163 h 538167"/>
                  <a:gd name="connsiteX20" fmla="*/ 422230 w 663212"/>
                  <a:gd name="connsiteY20" fmla="*/ 459581 h 538167"/>
                  <a:gd name="connsiteX21" fmla="*/ 396513 w 663212"/>
                  <a:gd name="connsiteY21" fmla="*/ 438626 h 538167"/>
                  <a:gd name="connsiteX22" fmla="*/ 277926 w 663212"/>
                  <a:gd name="connsiteY22" fmla="*/ 439103 h 538167"/>
                  <a:gd name="connsiteX23" fmla="*/ 270783 w 663212"/>
                  <a:gd name="connsiteY23" fmla="*/ 439579 h 538167"/>
                  <a:gd name="connsiteX24" fmla="*/ 65995 w 663212"/>
                  <a:gd name="connsiteY24" fmla="*/ 245269 h 538167"/>
                  <a:gd name="connsiteX25" fmla="*/ 220300 w 663212"/>
                  <a:gd name="connsiteY25" fmla="*/ 245269 h 538167"/>
                  <a:gd name="connsiteX26" fmla="*/ 220300 w 663212"/>
                  <a:gd name="connsiteY26" fmla="*/ 141446 h 538167"/>
                  <a:gd name="connsiteX27" fmla="*/ 140766 w 663212"/>
                  <a:gd name="connsiteY27" fmla="*/ 155258 h 538167"/>
                  <a:gd name="connsiteX28" fmla="*/ 65995 w 663212"/>
                  <a:gd name="connsiteY28" fmla="*/ 245269 h 538167"/>
                  <a:gd name="connsiteX29" fmla="*/ 169818 w 663212"/>
                  <a:gd name="connsiteY29" fmla="*/ 491490 h 538167"/>
                  <a:gd name="connsiteX30" fmla="*/ 221729 w 663212"/>
                  <a:gd name="connsiteY30" fmla="*/ 441960 h 538167"/>
                  <a:gd name="connsiteX31" fmla="*/ 169341 w 663212"/>
                  <a:gd name="connsiteY31" fmla="*/ 389573 h 538167"/>
                  <a:gd name="connsiteX32" fmla="*/ 118383 w 663212"/>
                  <a:gd name="connsiteY32" fmla="*/ 441008 h 538167"/>
                  <a:gd name="connsiteX33" fmla="*/ 169818 w 663212"/>
                  <a:gd name="connsiteY33" fmla="*/ 491490 h 538167"/>
                  <a:gd name="connsiteX34" fmla="*/ 567963 w 663212"/>
                  <a:gd name="connsiteY34" fmla="*/ 441960 h 538167"/>
                  <a:gd name="connsiteX35" fmla="*/ 517956 w 663212"/>
                  <a:gd name="connsiteY35" fmla="*/ 390049 h 538167"/>
                  <a:gd name="connsiteX36" fmla="*/ 464616 w 663212"/>
                  <a:gd name="connsiteY36" fmla="*/ 441484 h 538167"/>
                  <a:gd name="connsiteX37" fmla="*/ 516528 w 663212"/>
                  <a:gd name="connsiteY37" fmla="*/ 491490 h 538167"/>
                  <a:gd name="connsiteX38" fmla="*/ 567963 w 663212"/>
                  <a:gd name="connsiteY38" fmla="*/ 441960 h 53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63212" h="538167">
                    <a:moveTo>
                      <a:pt x="270783" y="439579"/>
                    </a:moveTo>
                    <a:cubicBezTo>
                      <a:pt x="243160" y="515303"/>
                      <a:pt x="214109" y="541496"/>
                      <a:pt x="162674" y="537686"/>
                    </a:cubicBezTo>
                    <a:cubicBezTo>
                      <a:pt x="114573" y="533876"/>
                      <a:pt x="83616" y="501015"/>
                      <a:pt x="70758" y="438150"/>
                    </a:cubicBezTo>
                    <a:cubicBezTo>
                      <a:pt x="55041" y="438150"/>
                      <a:pt x="38373" y="440055"/>
                      <a:pt x="22180" y="437198"/>
                    </a:cubicBezTo>
                    <a:cubicBezTo>
                      <a:pt x="14084" y="435769"/>
                      <a:pt x="3130" y="428149"/>
                      <a:pt x="273" y="420529"/>
                    </a:cubicBezTo>
                    <a:cubicBezTo>
                      <a:pt x="-1632" y="414814"/>
                      <a:pt x="6940" y="404813"/>
                      <a:pt x="10750" y="397193"/>
                    </a:cubicBezTo>
                    <a:cubicBezTo>
                      <a:pt x="14560" y="389096"/>
                      <a:pt x="21704" y="381476"/>
                      <a:pt x="22180" y="372904"/>
                    </a:cubicBezTo>
                    <a:cubicBezTo>
                      <a:pt x="24085" y="324803"/>
                      <a:pt x="22656" y="276225"/>
                      <a:pt x="25990" y="228600"/>
                    </a:cubicBezTo>
                    <a:cubicBezTo>
                      <a:pt x="26943" y="214313"/>
                      <a:pt x="35515" y="198596"/>
                      <a:pt x="45040" y="187643"/>
                    </a:cubicBezTo>
                    <a:cubicBezTo>
                      <a:pt x="66948" y="162878"/>
                      <a:pt x="90284" y="138589"/>
                      <a:pt x="116001" y="117634"/>
                    </a:cubicBezTo>
                    <a:cubicBezTo>
                      <a:pt x="128860" y="107156"/>
                      <a:pt x="147910" y="101918"/>
                      <a:pt x="165055" y="98584"/>
                    </a:cubicBezTo>
                    <a:cubicBezTo>
                      <a:pt x="182676" y="95250"/>
                      <a:pt x="200774" y="98108"/>
                      <a:pt x="221253" y="98108"/>
                    </a:cubicBezTo>
                    <a:cubicBezTo>
                      <a:pt x="221253" y="73343"/>
                      <a:pt x="221729" y="51435"/>
                      <a:pt x="221253" y="29528"/>
                    </a:cubicBezTo>
                    <a:cubicBezTo>
                      <a:pt x="220776" y="10001"/>
                      <a:pt x="230301" y="0"/>
                      <a:pt x="249828" y="0"/>
                    </a:cubicBezTo>
                    <a:cubicBezTo>
                      <a:pt x="377939" y="0"/>
                      <a:pt x="506526" y="0"/>
                      <a:pt x="634638" y="0"/>
                    </a:cubicBezTo>
                    <a:cubicBezTo>
                      <a:pt x="656545" y="0"/>
                      <a:pt x="663213" y="12859"/>
                      <a:pt x="663213" y="32385"/>
                    </a:cubicBezTo>
                    <a:cubicBezTo>
                      <a:pt x="663213" y="158115"/>
                      <a:pt x="663213" y="283845"/>
                      <a:pt x="663213" y="410051"/>
                    </a:cubicBezTo>
                    <a:cubicBezTo>
                      <a:pt x="663213" y="429578"/>
                      <a:pt x="654164" y="439579"/>
                      <a:pt x="634638" y="438626"/>
                    </a:cubicBezTo>
                    <a:cubicBezTo>
                      <a:pt x="619874" y="437674"/>
                      <a:pt x="613206" y="441008"/>
                      <a:pt x="610825" y="458629"/>
                    </a:cubicBezTo>
                    <a:cubicBezTo>
                      <a:pt x="605586" y="502920"/>
                      <a:pt x="563200" y="537686"/>
                      <a:pt x="517956" y="538163"/>
                    </a:cubicBezTo>
                    <a:cubicBezTo>
                      <a:pt x="471284" y="538639"/>
                      <a:pt x="428421" y="505301"/>
                      <a:pt x="422230" y="459581"/>
                    </a:cubicBezTo>
                    <a:cubicBezTo>
                      <a:pt x="419849" y="441008"/>
                      <a:pt x="412229" y="438150"/>
                      <a:pt x="396513" y="438626"/>
                    </a:cubicBezTo>
                    <a:cubicBezTo>
                      <a:pt x="356984" y="439579"/>
                      <a:pt x="317455" y="439103"/>
                      <a:pt x="277926" y="439103"/>
                    </a:cubicBezTo>
                    <a:cubicBezTo>
                      <a:pt x="275069" y="438626"/>
                      <a:pt x="272688" y="439579"/>
                      <a:pt x="270783" y="439579"/>
                    </a:cubicBezTo>
                    <a:close/>
                    <a:moveTo>
                      <a:pt x="65995" y="245269"/>
                    </a:moveTo>
                    <a:cubicBezTo>
                      <a:pt x="120288" y="245269"/>
                      <a:pt x="169818" y="245269"/>
                      <a:pt x="220300" y="245269"/>
                    </a:cubicBezTo>
                    <a:cubicBezTo>
                      <a:pt x="220300" y="210979"/>
                      <a:pt x="220300" y="178118"/>
                      <a:pt x="220300" y="141446"/>
                    </a:cubicBezTo>
                    <a:cubicBezTo>
                      <a:pt x="193154" y="150019"/>
                      <a:pt x="163150" y="129540"/>
                      <a:pt x="140766" y="155258"/>
                    </a:cubicBezTo>
                    <a:cubicBezTo>
                      <a:pt x="116001" y="183356"/>
                      <a:pt x="78854" y="202406"/>
                      <a:pt x="65995" y="245269"/>
                    </a:cubicBezTo>
                    <a:close/>
                    <a:moveTo>
                      <a:pt x="169818" y="491490"/>
                    </a:moveTo>
                    <a:cubicBezTo>
                      <a:pt x="198869" y="491490"/>
                      <a:pt x="221253" y="470535"/>
                      <a:pt x="221729" y="441960"/>
                    </a:cubicBezTo>
                    <a:cubicBezTo>
                      <a:pt x="222205" y="412433"/>
                      <a:pt x="199345" y="389573"/>
                      <a:pt x="169341" y="389573"/>
                    </a:cubicBezTo>
                    <a:cubicBezTo>
                      <a:pt x="141243" y="389573"/>
                      <a:pt x="118383" y="412433"/>
                      <a:pt x="118383" y="441008"/>
                    </a:cubicBezTo>
                    <a:cubicBezTo>
                      <a:pt x="118859" y="469583"/>
                      <a:pt x="140766" y="491490"/>
                      <a:pt x="169818" y="491490"/>
                    </a:cubicBezTo>
                    <a:close/>
                    <a:moveTo>
                      <a:pt x="567963" y="441960"/>
                    </a:moveTo>
                    <a:cubicBezTo>
                      <a:pt x="568439" y="413861"/>
                      <a:pt x="545579" y="390525"/>
                      <a:pt x="517956" y="390049"/>
                    </a:cubicBezTo>
                    <a:cubicBezTo>
                      <a:pt x="489381" y="389573"/>
                      <a:pt x="464140" y="413861"/>
                      <a:pt x="464616" y="441484"/>
                    </a:cubicBezTo>
                    <a:cubicBezTo>
                      <a:pt x="465093" y="469106"/>
                      <a:pt x="487953" y="491490"/>
                      <a:pt x="516528" y="491490"/>
                    </a:cubicBezTo>
                    <a:cubicBezTo>
                      <a:pt x="545579" y="491490"/>
                      <a:pt x="567486" y="470059"/>
                      <a:pt x="567963" y="44196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37" name="Freeform: Shape 236">
                <a:extLst>
                  <a:ext uri="{FF2B5EF4-FFF2-40B4-BE49-F238E27FC236}">
                    <a16:creationId xmlns:a16="http://schemas.microsoft.com/office/drawing/2014/main" id="{7EEAD62E-7852-4914-955D-2166E6E19FD0}"/>
                  </a:ext>
                </a:extLst>
              </p:cNvPr>
              <p:cNvSpPr/>
              <p:nvPr/>
            </p:nvSpPr>
            <p:spPr>
              <a:xfrm>
                <a:off x="4071440" y="3634674"/>
                <a:ext cx="310460" cy="239063"/>
              </a:xfrm>
              <a:custGeom>
                <a:avLst/>
                <a:gdLst>
                  <a:gd name="connsiteX0" fmla="*/ 0 w 310460"/>
                  <a:gd name="connsiteY0" fmla="*/ 152681 h 239063"/>
                  <a:gd name="connsiteX1" fmla="*/ 2858 w 310460"/>
                  <a:gd name="connsiteY1" fmla="*/ 96007 h 239063"/>
                  <a:gd name="connsiteX2" fmla="*/ 107156 w 310460"/>
                  <a:gd name="connsiteY2" fmla="*/ 1709 h 239063"/>
                  <a:gd name="connsiteX3" fmla="*/ 215741 w 310460"/>
                  <a:gd name="connsiteY3" fmla="*/ 5043 h 239063"/>
                  <a:gd name="connsiteX4" fmla="*/ 309086 w 310460"/>
                  <a:gd name="connsiteY4" fmla="*/ 109818 h 239063"/>
                  <a:gd name="connsiteX5" fmla="*/ 308610 w 310460"/>
                  <a:gd name="connsiteY5" fmla="*/ 197448 h 239063"/>
                  <a:gd name="connsiteX6" fmla="*/ 289084 w 310460"/>
                  <a:gd name="connsiteY6" fmla="*/ 218403 h 239063"/>
                  <a:gd name="connsiteX7" fmla="*/ 79058 w 310460"/>
                  <a:gd name="connsiteY7" fmla="*/ 230786 h 239063"/>
                  <a:gd name="connsiteX8" fmla="*/ 65246 w 310460"/>
                  <a:gd name="connsiteY8" fmla="*/ 228404 h 239063"/>
                  <a:gd name="connsiteX9" fmla="*/ 0 w 310460"/>
                  <a:gd name="connsiteY9" fmla="*/ 152681 h 239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0460" h="239063">
                    <a:moveTo>
                      <a:pt x="0" y="152681"/>
                    </a:moveTo>
                    <a:cubicBezTo>
                      <a:pt x="953" y="133631"/>
                      <a:pt x="0" y="114580"/>
                      <a:pt x="2858" y="96007"/>
                    </a:cubicBezTo>
                    <a:cubicBezTo>
                      <a:pt x="11906" y="44572"/>
                      <a:pt x="53340" y="5519"/>
                      <a:pt x="107156" y="1709"/>
                    </a:cubicBezTo>
                    <a:cubicBezTo>
                      <a:pt x="142875" y="-1148"/>
                      <a:pt x="180023" y="-672"/>
                      <a:pt x="215741" y="5043"/>
                    </a:cubicBezTo>
                    <a:cubicBezTo>
                      <a:pt x="269081" y="13139"/>
                      <a:pt x="305753" y="56478"/>
                      <a:pt x="309086" y="109818"/>
                    </a:cubicBezTo>
                    <a:cubicBezTo>
                      <a:pt x="310991" y="138869"/>
                      <a:pt x="310991" y="168397"/>
                      <a:pt x="308610" y="197448"/>
                    </a:cubicBezTo>
                    <a:cubicBezTo>
                      <a:pt x="308134" y="205068"/>
                      <a:pt x="297180" y="215546"/>
                      <a:pt x="289084" y="218403"/>
                    </a:cubicBezTo>
                    <a:cubicBezTo>
                      <a:pt x="220504" y="243644"/>
                      <a:pt x="150019" y="243168"/>
                      <a:pt x="79058" y="230786"/>
                    </a:cubicBezTo>
                    <a:cubicBezTo>
                      <a:pt x="74295" y="229833"/>
                      <a:pt x="69533" y="228881"/>
                      <a:pt x="65246" y="228404"/>
                    </a:cubicBezTo>
                    <a:cubicBezTo>
                      <a:pt x="476" y="216974"/>
                      <a:pt x="476" y="216974"/>
                      <a:pt x="0" y="152681"/>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38" name="Freeform: Shape 237">
                <a:extLst>
                  <a:ext uri="{FF2B5EF4-FFF2-40B4-BE49-F238E27FC236}">
                    <a16:creationId xmlns:a16="http://schemas.microsoft.com/office/drawing/2014/main" id="{5CB4D825-41DD-48B1-8B24-1693C6AEA9B2}"/>
                  </a:ext>
                </a:extLst>
              </p:cNvPr>
              <p:cNvSpPr/>
              <p:nvPr/>
            </p:nvSpPr>
            <p:spPr>
              <a:xfrm>
                <a:off x="3908563" y="3540412"/>
                <a:ext cx="229076" cy="239798"/>
              </a:xfrm>
              <a:custGeom>
                <a:avLst/>
                <a:gdLst>
                  <a:gd name="connsiteX0" fmla="*/ 196215 w 229076"/>
                  <a:gd name="connsiteY0" fmla="*/ 721 h 239798"/>
                  <a:gd name="connsiteX1" fmla="*/ 229076 w 229076"/>
                  <a:gd name="connsiteY1" fmla="*/ 76921 h 239798"/>
                  <a:gd name="connsiteX2" fmla="*/ 136208 w 229076"/>
                  <a:gd name="connsiteY2" fmla="*/ 239799 h 239798"/>
                  <a:gd name="connsiteX3" fmla="*/ 0 w 229076"/>
                  <a:gd name="connsiteY3" fmla="*/ 212653 h 239798"/>
                  <a:gd name="connsiteX4" fmla="*/ 7144 w 229076"/>
                  <a:gd name="connsiteY4" fmla="*/ 87399 h 239798"/>
                  <a:gd name="connsiteX5" fmla="*/ 104775 w 229076"/>
                  <a:gd name="connsiteY5" fmla="*/ 1198 h 239798"/>
                  <a:gd name="connsiteX6" fmla="*/ 196215 w 229076"/>
                  <a:gd name="connsiteY6" fmla="*/ 721 h 239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076" h="239798">
                    <a:moveTo>
                      <a:pt x="196215" y="721"/>
                    </a:moveTo>
                    <a:cubicBezTo>
                      <a:pt x="207645" y="27391"/>
                      <a:pt x="218123" y="51680"/>
                      <a:pt x="229076" y="76921"/>
                    </a:cubicBezTo>
                    <a:cubicBezTo>
                      <a:pt x="161449" y="105973"/>
                      <a:pt x="132874" y="160741"/>
                      <a:pt x="136208" y="239799"/>
                    </a:cubicBezTo>
                    <a:cubicBezTo>
                      <a:pt x="90011" y="230750"/>
                      <a:pt x="46673" y="222178"/>
                      <a:pt x="0" y="212653"/>
                    </a:cubicBezTo>
                    <a:cubicBezTo>
                      <a:pt x="1905" y="168838"/>
                      <a:pt x="476" y="127404"/>
                      <a:pt x="7144" y="87399"/>
                    </a:cubicBezTo>
                    <a:cubicBezTo>
                      <a:pt x="14764" y="40250"/>
                      <a:pt x="57150" y="5008"/>
                      <a:pt x="104775" y="1198"/>
                    </a:cubicBezTo>
                    <a:cubicBezTo>
                      <a:pt x="136208" y="-1184"/>
                      <a:pt x="168116" y="721"/>
                      <a:pt x="196215" y="721"/>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39" name="Freeform: Shape 238">
                <a:extLst>
                  <a:ext uri="{FF2B5EF4-FFF2-40B4-BE49-F238E27FC236}">
                    <a16:creationId xmlns:a16="http://schemas.microsoft.com/office/drawing/2014/main" id="{6B100497-B973-484C-B140-0AA511074622}"/>
                  </a:ext>
                </a:extLst>
              </p:cNvPr>
              <p:cNvSpPr/>
              <p:nvPr/>
            </p:nvSpPr>
            <p:spPr>
              <a:xfrm>
                <a:off x="4315756" y="3542071"/>
                <a:ext cx="217646" cy="240996"/>
              </a:xfrm>
              <a:custGeom>
                <a:avLst/>
                <a:gdLst>
                  <a:gd name="connsiteX0" fmla="*/ 0 w 217646"/>
                  <a:gd name="connsiteY0" fmla="*/ 75262 h 240996"/>
                  <a:gd name="connsiteX1" fmla="*/ 30956 w 217646"/>
                  <a:gd name="connsiteY1" fmla="*/ 1443 h 240996"/>
                  <a:gd name="connsiteX2" fmla="*/ 125254 w 217646"/>
                  <a:gd name="connsiteY2" fmla="*/ 2395 h 240996"/>
                  <a:gd name="connsiteX3" fmla="*/ 217170 w 217646"/>
                  <a:gd name="connsiteY3" fmla="*/ 112885 h 240996"/>
                  <a:gd name="connsiteX4" fmla="*/ 216694 w 217646"/>
                  <a:gd name="connsiteY4" fmla="*/ 193372 h 240996"/>
                  <a:gd name="connsiteX5" fmla="*/ 204311 w 217646"/>
                  <a:gd name="connsiteY5" fmla="*/ 212422 h 240996"/>
                  <a:gd name="connsiteX6" fmla="*/ 90488 w 217646"/>
                  <a:gd name="connsiteY6" fmla="*/ 240997 h 240996"/>
                  <a:gd name="connsiteX7" fmla="*/ 0 w 217646"/>
                  <a:gd name="connsiteY7" fmla="*/ 75262 h 240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7646" h="240996">
                    <a:moveTo>
                      <a:pt x="0" y="75262"/>
                    </a:moveTo>
                    <a:cubicBezTo>
                      <a:pt x="10954" y="49068"/>
                      <a:pt x="20955" y="25255"/>
                      <a:pt x="30956" y="1443"/>
                    </a:cubicBezTo>
                    <a:cubicBezTo>
                      <a:pt x="60960" y="1443"/>
                      <a:pt x="93821" y="-2367"/>
                      <a:pt x="125254" y="2395"/>
                    </a:cubicBezTo>
                    <a:cubicBezTo>
                      <a:pt x="179546" y="10968"/>
                      <a:pt x="216218" y="58117"/>
                      <a:pt x="217170" y="112885"/>
                    </a:cubicBezTo>
                    <a:cubicBezTo>
                      <a:pt x="217646" y="139555"/>
                      <a:pt x="218123" y="166702"/>
                      <a:pt x="216694" y="193372"/>
                    </a:cubicBezTo>
                    <a:cubicBezTo>
                      <a:pt x="216218" y="200039"/>
                      <a:pt x="210026" y="210993"/>
                      <a:pt x="204311" y="212422"/>
                    </a:cubicBezTo>
                    <a:cubicBezTo>
                      <a:pt x="168116" y="222423"/>
                      <a:pt x="131921" y="230995"/>
                      <a:pt x="90488" y="240997"/>
                    </a:cubicBezTo>
                    <a:cubicBezTo>
                      <a:pt x="97155" y="160034"/>
                      <a:pt x="68104" y="105265"/>
                      <a:pt x="0" y="75262"/>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40" name="Freeform: Shape 239">
                <a:extLst>
                  <a:ext uri="{FF2B5EF4-FFF2-40B4-BE49-F238E27FC236}">
                    <a16:creationId xmlns:a16="http://schemas.microsoft.com/office/drawing/2014/main" id="{0DE71668-9956-464D-84A2-469FEFA3D130}"/>
                  </a:ext>
                </a:extLst>
              </p:cNvPr>
              <p:cNvSpPr/>
              <p:nvPr/>
            </p:nvSpPr>
            <p:spPr>
              <a:xfrm>
                <a:off x="4137639" y="3444930"/>
                <a:ext cx="178133" cy="180038"/>
              </a:xfrm>
              <a:custGeom>
                <a:avLst/>
                <a:gdLst>
                  <a:gd name="connsiteX0" fmla="*/ 0 w 178133"/>
                  <a:gd name="connsiteY0" fmla="*/ 89535 h 180038"/>
                  <a:gd name="connsiteX1" fmla="*/ 88583 w 178133"/>
                  <a:gd name="connsiteY1" fmla="*/ 0 h 180038"/>
                  <a:gd name="connsiteX2" fmla="*/ 178118 w 178133"/>
                  <a:gd name="connsiteY2" fmla="*/ 91440 h 180038"/>
                  <a:gd name="connsiteX3" fmla="*/ 88106 w 178133"/>
                  <a:gd name="connsiteY3" fmla="*/ 180023 h 180038"/>
                  <a:gd name="connsiteX4" fmla="*/ 0 w 178133"/>
                  <a:gd name="connsiteY4" fmla="*/ 89535 h 180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133" h="180038">
                    <a:moveTo>
                      <a:pt x="0" y="89535"/>
                    </a:moveTo>
                    <a:cubicBezTo>
                      <a:pt x="476" y="40958"/>
                      <a:pt x="40958" y="0"/>
                      <a:pt x="88583" y="0"/>
                    </a:cubicBezTo>
                    <a:cubicBezTo>
                      <a:pt x="137160" y="0"/>
                      <a:pt x="179070" y="42863"/>
                      <a:pt x="178118" y="91440"/>
                    </a:cubicBezTo>
                    <a:cubicBezTo>
                      <a:pt x="177165" y="139065"/>
                      <a:pt x="134779" y="180975"/>
                      <a:pt x="88106" y="180023"/>
                    </a:cubicBezTo>
                    <a:cubicBezTo>
                      <a:pt x="40005" y="178594"/>
                      <a:pt x="0" y="137636"/>
                      <a:pt x="0" y="89535"/>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41" name="Freeform: Shape 240">
                <a:extLst>
                  <a:ext uri="{FF2B5EF4-FFF2-40B4-BE49-F238E27FC236}">
                    <a16:creationId xmlns:a16="http://schemas.microsoft.com/office/drawing/2014/main" id="{C21645D1-0E3D-448F-A36C-CB2760DF5E82}"/>
                  </a:ext>
                </a:extLst>
              </p:cNvPr>
              <p:cNvSpPr/>
              <p:nvPr/>
            </p:nvSpPr>
            <p:spPr>
              <a:xfrm>
                <a:off x="3976666" y="3349653"/>
                <a:ext cx="176563" cy="180173"/>
              </a:xfrm>
              <a:custGeom>
                <a:avLst/>
                <a:gdLst>
                  <a:gd name="connsiteX0" fmla="*/ 0 w 176563"/>
                  <a:gd name="connsiteY0" fmla="*/ 89563 h 180173"/>
                  <a:gd name="connsiteX1" fmla="*/ 79058 w 176563"/>
                  <a:gd name="connsiteY1" fmla="*/ 504 h 180173"/>
                  <a:gd name="connsiteX2" fmla="*/ 174308 w 176563"/>
                  <a:gd name="connsiteY2" fmla="*/ 66226 h 180173"/>
                  <a:gd name="connsiteX3" fmla="*/ 166211 w 176563"/>
                  <a:gd name="connsiteY3" fmla="*/ 105279 h 180173"/>
                  <a:gd name="connsiteX4" fmla="*/ 140970 w 176563"/>
                  <a:gd name="connsiteY4" fmla="*/ 144808 h 180173"/>
                  <a:gd name="connsiteX5" fmla="*/ 85249 w 176563"/>
                  <a:gd name="connsiteY5" fmla="*/ 180050 h 180173"/>
                  <a:gd name="connsiteX6" fmla="*/ 0 w 176563"/>
                  <a:gd name="connsiteY6" fmla="*/ 89563 h 18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563" h="180173">
                    <a:moveTo>
                      <a:pt x="0" y="89563"/>
                    </a:moveTo>
                    <a:cubicBezTo>
                      <a:pt x="0" y="44319"/>
                      <a:pt x="33814" y="6219"/>
                      <a:pt x="79058" y="504"/>
                    </a:cubicBezTo>
                    <a:cubicBezTo>
                      <a:pt x="120015" y="-4258"/>
                      <a:pt x="162878" y="25269"/>
                      <a:pt x="174308" y="66226"/>
                    </a:cubicBezTo>
                    <a:cubicBezTo>
                      <a:pt x="178118" y="80514"/>
                      <a:pt x="178118" y="92897"/>
                      <a:pt x="166211" y="105279"/>
                    </a:cubicBezTo>
                    <a:cubicBezTo>
                      <a:pt x="155734" y="116233"/>
                      <a:pt x="147161" y="130520"/>
                      <a:pt x="140970" y="144808"/>
                    </a:cubicBezTo>
                    <a:cubicBezTo>
                      <a:pt x="130016" y="170525"/>
                      <a:pt x="113824" y="181479"/>
                      <a:pt x="85249" y="180050"/>
                    </a:cubicBezTo>
                    <a:cubicBezTo>
                      <a:pt x="37148" y="177193"/>
                      <a:pt x="0" y="137664"/>
                      <a:pt x="0" y="89563"/>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42" name="Freeform: Shape 241">
                <a:extLst>
                  <a:ext uri="{FF2B5EF4-FFF2-40B4-BE49-F238E27FC236}">
                    <a16:creationId xmlns:a16="http://schemas.microsoft.com/office/drawing/2014/main" id="{EE1C0942-E988-45F1-81D8-1C08A9C2FC67}"/>
                  </a:ext>
                </a:extLst>
              </p:cNvPr>
              <p:cNvSpPr/>
              <p:nvPr/>
            </p:nvSpPr>
            <p:spPr>
              <a:xfrm>
                <a:off x="4292115" y="3349203"/>
                <a:ext cx="175092" cy="179440"/>
              </a:xfrm>
              <a:custGeom>
                <a:avLst/>
                <a:gdLst>
                  <a:gd name="connsiteX0" fmla="*/ 175089 w 175092"/>
                  <a:gd name="connsiteY0" fmla="*/ 89536 h 179440"/>
                  <a:gd name="connsiteX1" fmla="*/ 68886 w 175092"/>
                  <a:gd name="connsiteY1" fmla="*/ 177166 h 179440"/>
                  <a:gd name="connsiteX2" fmla="*/ 47931 w 175092"/>
                  <a:gd name="connsiteY2" fmla="*/ 159069 h 179440"/>
                  <a:gd name="connsiteX3" fmla="*/ 6973 w 175092"/>
                  <a:gd name="connsiteY3" fmla="*/ 94299 h 179440"/>
                  <a:gd name="connsiteX4" fmla="*/ 306 w 175092"/>
                  <a:gd name="connsiteY4" fmla="*/ 69534 h 179440"/>
                  <a:gd name="connsiteX5" fmla="*/ 95556 w 175092"/>
                  <a:gd name="connsiteY5" fmla="*/ 477 h 179440"/>
                  <a:gd name="connsiteX6" fmla="*/ 175089 w 175092"/>
                  <a:gd name="connsiteY6" fmla="*/ 89536 h 17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092" h="179440">
                    <a:moveTo>
                      <a:pt x="175089" y="89536"/>
                    </a:moveTo>
                    <a:cubicBezTo>
                      <a:pt x="175566" y="146686"/>
                      <a:pt x="123178" y="190025"/>
                      <a:pt x="68886" y="177166"/>
                    </a:cubicBezTo>
                    <a:cubicBezTo>
                      <a:pt x="60789" y="175261"/>
                      <a:pt x="53169" y="166689"/>
                      <a:pt x="47931" y="159069"/>
                    </a:cubicBezTo>
                    <a:cubicBezTo>
                      <a:pt x="33643" y="138114"/>
                      <a:pt x="19832" y="116206"/>
                      <a:pt x="6973" y="94299"/>
                    </a:cubicBezTo>
                    <a:cubicBezTo>
                      <a:pt x="2687" y="87155"/>
                      <a:pt x="-1123" y="77154"/>
                      <a:pt x="306" y="69534"/>
                    </a:cubicBezTo>
                    <a:cubicBezTo>
                      <a:pt x="9354" y="27147"/>
                      <a:pt x="53646" y="-4285"/>
                      <a:pt x="95556" y="477"/>
                    </a:cubicBezTo>
                    <a:cubicBezTo>
                      <a:pt x="140799" y="6669"/>
                      <a:pt x="175089" y="44293"/>
                      <a:pt x="175089" y="89536"/>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43" name="Freeform: Shape 242">
                <a:extLst>
                  <a:ext uri="{FF2B5EF4-FFF2-40B4-BE49-F238E27FC236}">
                    <a16:creationId xmlns:a16="http://schemas.microsoft.com/office/drawing/2014/main" id="{20B6E9B1-BB72-4161-8A35-A8BADBAEE72F}"/>
                  </a:ext>
                </a:extLst>
              </p:cNvPr>
              <p:cNvSpPr/>
              <p:nvPr/>
            </p:nvSpPr>
            <p:spPr>
              <a:xfrm>
                <a:off x="3262291" y="3639240"/>
                <a:ext cx="64770" cy="66675"/>
              </a:xfrm>
              <a:custGeom>
                <a:avLst/>
                <a:gdLst>
                  <a:gd name="connsiteX0" fmla="*/ 27146 w 64770"/>
                  <a:gd name="connsiteY0" fmla="*/ 66675 h 66675"/>
                  <a:gd name="connsiteX1" fmla="*/ 0 w 64770"/>
                  <a:gd name="connsiteY1" fmla="*/ 38576 h 66675"/>
                  <a:gd name="connsiteX2" fmla="*/ 30956 w 64770"/>
                  <a:gd name="connsiteY2" fmla="*/ 0 h 66675"/>
                  <a:gd name="connsiteX3" fmla="*/ 64770 w 64770"/>
                  <a:gd name="connsiteY3" fmla="*/ 38100 h 66675"/>
                  <a:gd name="connsiteX4" fmla="*/ 27146 w 64770"/>
                  <a:gd name="connsiteY4" fmla="*/ 66675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70" h="66675">
                    <a:moveTo>
                      <a:pt x="27146" y="66675"/>
                    </a:moveTo>
                    <a:cubicBezTo>
                      <a:pt x="19526" y="58579"/>
                      <a:pt x="9049" y="48101"/>
                      <a:pt x="0" y="38576"/>
                    </a:cubicBezTo>
                    <a:cubicBezTo>
                      <a:pt x="9525" y="26670"/>
                      <a:pt x="19526" y="14288"/>
                      <a:pt x="30956" y="0"/>
                    </a:cubicBezTo>
                    <a:cubicBezTo>
                      <a:pt x="43339" y="14288"/>
                      <a:pt x="53340" y="25241"/>
                      <a:pt x="64770" y="38100"/>
                    </a:cubicBezTo>
                    <a:cubicBezTo>
                      <a:pt x="51911" y="47625"/>
                      <a:pt x="39529" y="56674"/>
                      <a:pt x="27146" y="66675"/>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44" name="Freeform: Shape 243">
                <a:extLst>
                  <a:ext uri="{FF2B5EF4-FFF2-40B4-BE49-F238E27FC236}">
                    <a16:creationId xmlns:a16="http://schemas.microsoft.com/office/drawing/2014/main" id="{9F82A4E4-435C-4688-A3AF-FEF684A91150}"/>
                  </a:ext>
                </a:extLst>
              </p:cNvPr>
              <p:cNvSpPr/>
              <p:nvPr/>
            </p:nvSpPr>
            <p:spPr>
              <a:xfrm>
                <a:off x="4361476" y="2837235"/>
                <a:ext cx="65246" cy="65246"/>
              </a:xfrm>
              <a:custGeom>
                <a:avLst/>
                <a:gdLst>
                  <a:gd name="connsiteX0" fmla="*/ 65246 w 65246"/>
                  <a:gd name="connsiteY0" fmla="*/ 44291 h 65246"/>
                  <a:gd name="connsiteX1" fmla="*/ 20479 w 65246"/>
                  <a:gd name="connsiteY1" fmla="*/ 65246 h 65246"/>
                  <a:gd name="connsiteX2" fmla="*/ 0 w 65246"/>
                  <a:gd name="connsiteY2" fmla="*/ 22384 h 65246"/>
                  <a:gd name="connsiteX3" fmla="*/ 44768 w 65246"/>
                  <a:gd name="connsiteY3" fmla="*/ 0 h 65246"/>
                  <a:gd name="connsiteX4" fmla="*/ 65246 w 65246"/>
                  <a:gd name="connsiteY4" fmla="*/ 44291 h 65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46" h="65246">
                    <a:moveTo>
                      <a:pt x="65246" y="44291"/>
                    </a:moveTo>
                    <a:cubicBezTo>
                      <a:pt x="50006" y="51435"/>
                      <a:pt x="35719" y="58103"/>
                      <a:pt x="20479" y="65246"/>
                    </a:cubicBezTo>
                    <a:cubicBezTo>
                      <a:pt x="13811" y="50959"/>
                      <a:pt x="7620" y="38100"/>
                      <a:pt x="0" y="22384"/>
                    </a:cubicBezTo>
                    <a:cubicBezTo>
                      <a:pt x="14764" y="15240"/>
                      <a:pt x="28099" y="8096"/>
                      <a:pt x="44768" y="0"/>
                    </a:cubicBezTo>
                    <a:cubicBezTo>
                      <a:pt x="51911" y="14764"/>
                      <a:pt x="58103" y="28575"/>
                      <a:pt x="65246" y="44291"/>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45" name="Freeform: Shape 244">
                <a:extLst>
                  <a:ext uri="{FF2B5EF4-FFF2-40B4-BE49-F238E27FC236}">
                    <a16:creationId xmlns:a16="http://schemas.microsoft.com/office/drawing/2014/main" id="{904718EE-3C9D-461D-BC8E-9190366023D8}"/>
                  </a:ext>
                </a:extLst>
              </p:cNvPr>
              <p:cNvSpPr/>
              <p:nvPr/>
            </p:nvSpPr>
            <p:spPr>
              <a:xfrm>
                <a:off x="4439105" y="3142569"/>
                <a:ext cx="51837" cy="49472"/>
              </a:xfrm>
              <a:custGeom>
                <a:avLst/>
                <a:gdLst>
                  <a:gd name="connsiteX0" fmla="*/ 0 w 51837"/>
                  <a:gd name="connsiteY0" fmla="*/ 49473 h 49472"/>
                  <a:gd name="connsiteX1" fmla="*/ 0 w 51837"/>
                  <a:gd name="connsiteY1" fmla="*/ 5658 h 49472"/>
                  <a:gd name="connsiteX2" fmla="*/ 48577 w 51837"/>
                  <a:gd name="connsiteY2" fmla="*/ 49473 h 49472"/>
                  <a:gd name="connsiteX3" fmla="*/ 0 w 51837"/>
                  <a:gd name="connsiteY3" fmla="*/ 49473 h 49472"/>
                </a:gdLst>
                <a:ahLst/>
                <a:cxnLst>
                  <a:cxn ang="0">
                    <a:pos x="connsiteX0" y="connsiteY0"/>
                  </a:cxn>
                  <a:cxn ang="0">
                    <a:pos x="connsiteX1" y="connsiteY1"/>
                  </a:cxn>
                  <a:cxn ang="0">
                    <a:pos x="connsiteX2" y="connsiteY2"/>
                  </a:cxn>
                  <a:cxn ang="0">
                    <a:pos x="connsiteX3" y="connsiteY3"/>
                  </a:cxn>
                </a:cxnLst>
                <a:rect l="l" t="t" r="r" b="b"/>
                <a:pathLst>
                  <a:path w="51837" h="49472">
                    <a:moveTo>
                      <a:pt x="0" y="49473"/>
                    </a:moveTo>
                    <a:cubicBezTo>
                      <a:pt x="0" y="33757"/>
                      <a:pt x="0" y="19469"/>
                      <a:pt x="0" y="5658"/>
                    </a:cubicBezTo>
                    <a:cubicBezTo>
                      <a:pt x="54292" y="-5772"/>
                      <a:pt x="56197" y="-3867"/>
                      <a:pt x="48577" y="49473"/>
                    </a:cubicBezTo>
                    <a:cubicBezTo>
                      <a:pt x="33338" y="49473"/>
                      <a:pt x="18097" y="49473"/>
                      <a:pt x="0" y="49473"/>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46" name="Freeform: Shape 245">
                <a:extLst>
                  <a:ext uri="{FF2B5EF4-FFF2-40B4-BE49-F238E27FC236}">
                    <a16:creationId xmlns:a16="http://schemas.microsoft.com/office/drawing/2014/main" id="{97896B86-7CE2-468F-8ED9-2C5AC3F1B0DF}"/>
                  </a:ext>
                </a:extLst>
              </p:cNvPr>
              <p:cNvSpPr/>
              <p:nvPr/>
            </p:nvSpPr>
            <p:spPr>
              <a:xfrm>
                <a:off x="4426246" y="3037736"/>
                <a:ext cx="56673" cy="56197"/>
              </a:xfrm>
              <a:custGeom>
                <a:avLst/>
                <a:gdLst>
                  <a:gd name="connsiteX0" fmla="*/ 49530 w 56673"/>
                  <a:gd name="connsiteY0" fmla="*/ 0 h 56197"/>
                  <a:gd name="connsiteX1" fmla="*/ 56674 w 56673"/>
                  <a:gd name="connsiteY1" fmla="*/ 49530 h 56197"/>
                  <a:gd name="connsiteX2" fmla="*/ 8573 w 56673"/>
                  <a:gd name="connsiteY2" fmla="*/ 56198 h 56197"/>
                  <a:gd name="connsiteX3" fmla="*/ 0 w 56673"/>
                  <a:gd name="connsiteY3" fmla="*/ 9049 h 56197"/>
                  <a:gd name="connsiteX4" fmla="*/ 49530 w 56673"/>
                  <a:gd name="connsiteY4" fmla="*/ 0 h 56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73" h="56197">
                    <a:moveTo>
                      <a:pt x="49530" y="0"/>
                    </a:moveTo>
                    <a:cubicBezTo>
                      <a:pt x="51911" y="17145"/>
                      <a:pt x="54292" y="32385"/>
                      <a:pt x="56674" y="49530"/>
                    </a:cubicBezTo>
                    <a:cubicBezTo>
                      <a:pt x="40481" y="51911"/>
                      <a:pt x="25717" y="53816"/>
                      <a:pt x="8573" y="56198"/>
                    </a:cubicBezTo>
                    <a:cubicBezTo>
                      <a:pt x="5715" y="40958"/>
                      <a:pt x="3334" y="26194"/>
                      <a:pt x="0" y="9049"/>
                    </a:cubicBezTo>
                    <a:cubicBezTo>
                      <a:pt x="17145" y="5715"/>
                      <a:pt x="31909" y="2858"/>
                      <a:pt x="49530" y="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47" name="Freeform: Shape 246">
                <a:extLst>
                  <a:ext uri="{FF2B5EF4-FFF2-40B4-BE49-F238E27FC236}">
                    <a16:creationId xmlns:a16="http://schemas.microsoft.com/office/drawing/2014/main" id="{471D09B1-FF71-452B-A002-3C804AE0F8B5}"/>
                  </a:ext>
                </a:extLst>
              </p:cNvPr>
              <p:cNvSpPr/>
              <p:nvPr/>
            </p:nvSpPr>
            <p:spPr>
              <a:xfrm>
                <a:off x="4399100" y="2934867"/>
                <a:ext cx="63817" cy="60960"/>
              </a:xfrm>
              <a:custGeom>
                <a:avLst/>
                <a:gdLst>
                  <a:gd name="connsiteX0" fmla="*/ 63817 w 63817"/>
                  <a:gd name="connsiteY0" fmla="*/ 47149 h 60960"/>
                  <a:gd name="connsiteX1" fmla="*/ 16669 w 63817"/>
                  <a:gd name="connsiteY1" fmla="*/ 60960 h 60960"/>
                  <a:gd name="connsiteX2" fmla="*/ 0 w 63817"/>
                  <a:gd name="connsiteY2" fmla="*/ 15240 h 60960"/>
                  <a:gd name="connsiteX3" fmla="*/ 48577 w 63817"/>
                  <a:gd name="connsiteY3" fmla="*/ 0 h 60960"/>
                  <a:gd name="connsiteX4" fmla="*/ 63817 w 63817"/>
                  <a:gd name="connsiteY4" fmla="*/ 47149 h 60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17" h="60960">
                    <a:moveTo>
                      <a:pt x="63817" y="47149"/>
                    </a:moveTo>
                    <a:cubicBezTo>
                      <a:pt x="47149" y="51911"/>
                      <a:pt x="32861" y="56198"/>
                      <a:pt x="16669" y="60960"/>
                    </a:cubicBezTo>
                    <a:cubicBezTo>
                      <a:pt x="10954" y="45244"/>
                      <a:pt x="5715" y="31432"/>
                      <a:pt x="0" y="15240"/>
                    </a:cubicBezTo>
                    <a:cubicBezTo>
                      <a:pt x="16669" y="10001"/>
                      <a:pt x="30956" y="5239"/>
                      <a:pt x="48577" y="0"/>
                    </a:cubicBezTo>
                    <a:cubicBezTo>
                      <a:pt x="53816" y="15240"/>
                      <a:pt x="58102" y="29527"/>
                      <a:pt x="63817" y="47149"/>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48" name="Freeform: Shape 247">
                <a:extLst>
                  <a:ext uri="{FF2B5EF4-FFF2-40B4-BE49-F238E27FC236}">
                    <a16:creationId xmlns:a16="http://schemas.microsoft.com/office/drawing/2014/main" id="{263F9176-D0AE-43CA-80C7-2CD16546A2C8}"/>
                  </a:ext>
                </a:extLst>
              </p:cNvPr>
              <p:cNvSpPr/>
              <p:nvPr/>
            </p:nvSpPr>
            <p:spPr>
              <a:xfrm>
                <a:off x="4431009" y="3246810"/>
                <a:ext cx="54768" cy="52387"/>
              </a:xfrm>
              <a:custGeom>
                <a:avLst/>
                <a:gdLst>
                  <a:gd name="connsiteX0" fmla="*/ 0 w 54768"/>
                  <a:gd name="connsiteY0" fmla="*/ 44768 h 52387"/>
                  <a:gd name="connsiteX1" fmla="*/ 5239 w 54768"/>
                  <a:gd name="connsiteY1" fmla="*/ 0 h 52387"/>
                  <a:gd name="connsiteX2" fmla="*/ 54769 w 54768"/>
                  <a:gd name="connsiteY2" fmla="*/ 2858 h 52387"/>
                  <a:gd name="connsiteX3" fmla="*/ 49054 w 54768"/>
                  <a:gd name="connsiteY3" fmla="*/ 52388 h 52387"/>
                  <a:gd name="connsiteX4" fmla="*/ 0 w 54768"/>
                  <a:gd name="connsiteY4" fmla="*/ 44768 h 5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8" h="52387">
                    <a:moveTo>
                      <a:pt x="0" y="44768"/>
                    </a:moveTo>
                    <a:cubicBezTo>
                      <a:pt x="1905" y="30004"/>
                      <a:pt x="3334" y="16669"/>
                      <a:pt x="5239" y="0"/>
                    </a:cubicBezTo>
                    <a:cubicBezTo>
                      <a:pt x="21431" y="953"/>
                      <a:pt x="36671" y="1905"/>
                      <a:pt x="54769" y="2858"/>
                    </a:cubicBezTo>
                    <a:cubicBezTo>
                      <a:pt x="52864" y="19526"/>
                      <a:pt x="50959" y="34290"/>
                      <a:pt x="49054" y="52388"/>
                    </a:cubicBezTo>
                    <a:cubicBezTo>
                      <a:pt x="32385" y="50006"/>
                      <a:pt x="16669" y="47625"/>
                      <a:pt x="0" y="44768"/>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49" name="Freeform: Shape 248">
                <a:extLst>
                  <a:ext uri="{FF2B5EF4-FFF2-40B4-BE49-F238E27FC236}">
                    <a16:creationId xmlns:a16="http://schemas.microsoft.com/office/drawing/2014/main" id="{DE3B5564-F34B-4CEB-9E57-9C582038B4F6}"/>
                  </a:ext>
                </a:extLst>
              </p:cNvPr>
              <p:cNvSpPr/>
              <p:nvPr/>
            </p:nvSpPr>
            <p:spPr>
              <a:xfrm>
                <a:off x="4308136" y="2745795"/>
                <a:ext cx="69532" cy="67627"/>
              </a:xfrm>
              <a:custGeom>
                <a:avLst/>
                <a:gdLst>
                  <a:gd name="connsiteX0" fmla="*/ 41910 w 69532"/>
                  <a:gd name="connsiteY0" fmla="*/ 0 h 67627"/>
                  <a:gd name="connsiteX1" fmla="*/ 69533 w 69532"/>
                  <a:gd name="connsiteY1" fmla="*/ 40957 h 67627"/>
                  <a:gd name="connsiteX2" fmla="*/ 28099 w 69532"/>
                  <a:gd name="connsiteY2" fmla="*/ 67628 h 67627"/>
                  <a:gd name="connsiteX3" fmla="*/ 0 w 69532"/>
                  <a:gd name="connsiteY3" fmla="*/ 28099 h 67627"/>
                  <a:gd name="connsiteX4" fmla="*/ 41910 w 69532"/>
                  <a:gd name="connsiteY4" fmla="*/ 0 h 67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32" h="67627">
                    <a:moveTo>
                      <a:pt x="41910" y="0"/>
                    </a:moveTo>
                    <a:cubicBezTo>
                      <a:pt x="51911" y="14288"/>
                      <a:pt x="60008" y="26670"/>
                      <a:pt x="69533" y="40957"/>
                    </a:cubicBezTo>
                    <a:cubicBezTo>
                      <a:pt x="55721" y="50006"/>
                      <a:pt x="42863" y="58579"/>
                      <a:pt x="28099" y="67628"/>
                    </a:cubicBezTo>
                    <a:cubicBezTo>
                      <a:pt x="18574" y="54292"/>
                      <a:pt x="9525" y="41910"/>
                      <a:pt x="0" y="28099"/>
                    </a:cubicBezTo>
                    <a:cubicBezTo>
                      <a:pt x="14288" y="18574"/>
                      <a:pt x="27146" y="10001"/>
                      <a:pt x="41910" y="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50" name="Freeform: Shape 249">
                <a:extLst>
                  <a:ext uri="{FF2B5EF4-FFF2-40B4-BE49-F238E27FC236}">
                    <a16:creationId xmlns:a16="http://schemas.microsoft.com/office/drawing/2014/main" id="{AAFCC7C9-3B07-4EF0-9C33-142F8D4FA94A}"/>
                  </a:ext>
                </a:extLst>
              </p:cNvPr>
              <p:cNvSpPr/>
              <p:nvPr/>
            </p:nvSpPr>
            <p:spPr>
              <a:xfrm>
                <a:off x="3335157" y="3710678"/>
                <a:ext cx="69056" cy="69056"/>
              </a:xfrm>
              <a:custGeom>
                <a:avLst/>
                <a:gdLst>
                  <a:gd name="connsiteX0" fmla="*/ 69056 w 69056"/>
                  <a:gd name="connsiteY0" fmla="*/ 28575 h 69056"/>
                  <a:gd name="connsiteX1" fmla="*/ 39529 w 69056"/>
                  <a:gd name="connsiteY1" fmla="*/ 69056 h 69056"/>
                  <a:gd name="connsiteX2" fmla="*/ 0 w 69056"/>
                  <a:gd name="connsiteY2" fmla="*/ 39529 h 69056"/>
                  <a:gd name="connsiteX3" fmla="*/ 30956 w 69056"/>
                  <a:gd name="connsiteY3" fmla="*/ 0 h 69056"/>
                  <a:gd name="connsiteX4" fmla="*/ 69056 w 69056"/>
                  <a:gd name="connsiteY4" fmla="*/ 28575 h 6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56" h="69056">
                    <a:moveTo>
                      <a:pt x="69056" y="28575"/>
                    </a:moveTo>
                    <a:cubicBezTo>
                      <a:pt x="58579" y="42863"/>
                      <a:pt x="50006" y="54769"/>
                      <a:pt x="39529" y="69056"/>
                    </a:cubicBezTo>
                    <a:cubicBezTo>
                      <a:pt x="26194" y="59055"/>
                      <a:pt x="13811" y="50006"/>
                      <a:pt x="0" y="39529"/>
                    </a:cubicBezTo>
                    <a:cubicBezTo>
                      <a:pt x="10477" y="25717"/>
                      <a:pt x="20002" y="13811"/>
                      <a:pt x="30956" y="0"/>
                    </a:cubicBezTo>
                    <a:cubicBezTo>
                      <a:pt x="43339" y="9525"/>
                      <a:pt x="54769" y="18574"/>
                      <a:pt x="69056" y="28575"/>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51" name="Freeform: Shape 250">
                <a:extLst>
                  <a:ext uri="{FF2B5EF4-FFF2-40B4-BE49-F238E27FC236}">
                    <a16:creationId xmlns:a16="http://schemas.microsoft.com/office/drawing/2014/main" id="{E9BAB959-4C06-4FD1-9104-061C203ED238}"/>
                  </a:ext>
                </a:extLst>
              </p:cNvPr>
              <p:cNvSpPr/>
              <p:nvPr/>
            </p:nvSpPr>
            <p:spPr>
              <a:xfrm>
                <a:off x="3923803" y="3832122"/>
                <a:ext cx="60007" cy="60959"/>
              </a:xfrm>
              <a:custGeom>
                <a:avLst/>
                <a:gdLst>
                  <a:gd name="connsiteX0" fmla="*/ 11430 w 60007"/>
                  <a:gd name="connsiteY0" fmla="*/ 60960 h 60959"/>
                  <a:gd name="connsiteX1" fmla="*/ 0 w 60007"/>
                  <a:gd name="connsiteY1" fmla="*/ 11430 h 60959"/>
                  <a:gd name="connsiteX2" fmla="*/ 45720 w 60007"/>
                  <a:gd name="connsiteY2" fmla="*/ 0 h 60959"/>
                  <a:gd name="connsiteX3" fmla="*/ 60008 w 60007"/>
                  <a:gd name="connsiteY3" fmla="*/ 47625 h 60959"/>
                  <a:gd name="connsiteX4" fmla="*/ 11430 w 60007"/>
                  <a:gd name="connsiteY4" fmla="*/ 60960 h 60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959">
                    <a:moveTo>
                      <a:pt x="11430" y="60960"/>
                    </a:moveTo>
                    <a:cubicBezTo>
                      <a:pt x="7144" y="43339"/>
                      <a:pt x="3810" y="29051"/>
                      <a:pt x="0" y="11430"/>
                    </a:cubicBezTo>
                    <a:cubicBezTo>
                      <a:pt x="15716" y="7620"/>
                      <a:pt x="30480" y="3810"/>
                      <a:pt x="45720" y="0"/>
                    </a:cubicBezTo>
                    <a:cubicBezTo>
                      <a:pt x="50483" y="16669"/>
                      <a:pt x="54769" y="30480"/>
                      <a:pt x="60008" y="47625"/>
                    </a:cubicBezTo>
                    <a:cubicBezTo>
                      <a:pt x="43815" y="52388"/>
                      <a:pt x="29051" y="56197"/>
                      <a:pt x="11430" y="6096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52" name="Freeform: Shape 251">
                <a:extLst>
                  <a:ext uri="{FF2B5EF4-FFF2-40B4-BE49-F238E27FC236}">
                    <a16:creationId xmlns:a16="http://schemas.microsoft.com/office/drawing/2014/main" id="{55A6CC68-E211-4664-88BF-E84170F1A1A9}"/>
                  </a:ext>
                </a:extLst>
              </p:cNvPr>
              <p:cNvSpPr/>
              <p:nvPr/>
            </p:nvSpPr>
            <p:spPr>
              <a:xfrm>
                <a:off x="3825219" y="3852600"/>
                <a:ext cx="55245" cy="55245"/>
              </a:xfrm>
              <a:custGeom>
                <a:avLst/>
                <a:gdLst>
                  <a:gd name="connsiteX0" fmla="*/ 47625 w 55245"/>
                  <a:gd name="connsiteY0" fmla="*/ 0 h 55245"/>
                  <a:gd name="connsiteX1" fmla="*/ 55245 w 55245"/>
                  <a:gd name="connsiteY1" fmla="*/ 50959 h 55245"/>
                  <a:gd name="connsiteX2" fmla="*/ 5239 w 55245"/>
                  <a:gd name="connsiteY2" fmla="*/ 55245 h 55245"/>
                  <a:gd name="connsiteX3" fmla="*/ 0 w 55245"/>
                  <a:gd name="connsiteY3" fmla="*/ 7144 h 55245"/>
                  <a:gd name="connsiteX4" fmla="*/ 47625 w 55245"/>
                  <a:gd name="connsiteY4" fmla="*/ 0 h 55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245" h="55245">
                    <a:moveTo>
                      <a:pt x="47625" y="0"/>
                    </a:moveTo>
                    <a:cubicBezTo>
                      <a:pt x="50006" y="17621"/>
                      <a:pt x="52388" y="32861"/>
                      <a:pt x="55245" y="50959"/>
                    </a:cubicBezTo>
                    <a:cubicBezTo>
                      <a:pt x="38100" y="52388"/>
                      <a:pt x="22384" y="53816"/>
                      <a:pt x="5239" y="55245"/>
                    </a:cubicBezTo>
                    <a:cubicBezTo>
                      <a:pt x="3334" y="39053"/>
                      <a:pt x="1905" y="24765"/>
                      <a:pt x="0" y="7144"/>
                    </a:cubicBezTo>
                    <a:cubicBezTo>
                      <a:pt x="15240" y="4763"/>
                      <a:pt x="30004" y="2858"/>
                      <a:pt x="47625" y="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53" name="Freeform: Shape 252">
                <a:extLst>
                  <a:ext uri="{FF2B5EF4-FFF2-40B4-BE49-F238E27FC236}">
                    <a16:creationId xmlns:a16="http://schemas.microsoft.com/office/drawing/2014/main" id="{EAF15EC1-0909-4EAF-8FFF-DC6F4C59FB6A}"/>
                  </a:ext>
                </a:extLst>
              </p:cNvPr>
              <p:cNvSpPr/>
              <p:nvPr/>
            </p:nvSpPr>
            <p:spPr>
              <a:xfrm>
                <a:off x="3158945" y="2782466"/>
                <a:ext cx="66675" cy="68103"/>
              </a:xfrm>
              <a:custGeom>
                <a:avLst/>
                <a:gdLst>
                  <a:gd name="connsiteX0" fmla="*/ 43339 w 66675"/>
                  <a:gd name="connsiteY0" fmla="*/ 68104 h 68103"/>
                  <a:gd name="connsiteX1" fmla="*/ 0 w 66675"/>
                  <a:gd name="connsiteY1" fmla="*/ 43815 h 68103"/>
                  <a:gd name="connsiteX2" fmla="*/ 24765 w 66675"/>
                  <a:gd name="connsiteY2" fmla="*/ 0 h 68103"/>
                  <a:gd name="connsiteX3" fmla="*/ 66675 w 66675"/>
                  <a:gd name="connsiteY3" fmla="*/ 26194 h 68103"/>
                  <a:gd name="connsiteX4" fmla="*/ 43339 w 66675"/>
                  <a:gd name="connsiteY4" fmla="*/ 68104 h 68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8103">
                    <a:moveTo>
                      <a:pt x="43339" y="68104"/>
                    </a:moveTo>
                    <a:cubicBezTo>
                      <a:pt x="28099" y="59531"/>
                      <a:pt x="15240" y="52388"/>
                      <a:pt x="0" y="43815"/>
                    </a:cubicBezTo>
                    <a:cubicBezTo>
                      <a:pt x="8096" y="29527"/>
                      <a:pt x="16192" y="15716"/>
                      <a:pt x="24765" y="0"/>
                    </a:cubicBezTo>
                    <a:cubicBezTo>
                      <a:pt x="39529" y="9525"/>
                      <a:pt x="52864" y="17621"/>
                      <a:pt x="66675" y="26194"/>
                    </a:cubicBezTo>
                    <a:cubicBezTo>
                      <a:pt x="59055" y="40481"/>
                      <a:pt x="51911" y="53340"/>
                      <a:pt x="43339" y="68104"/>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54" name="Freeform: Shape 253">
                <a:extLst>
                  <a:ext uri="{FF2B5EF4-FFF2-40B4-BE49-F238E27FC236}">
                    <a16:creationId xmlns:a16="http://schemas.microsoft.com/office/drawing/2014/main" id="{C12C15D9-0424-464A-A055-85135B7FBE20}"/>
                  </a:ext>
                </a:extLst>
              </p:cNvPr>
              <p:cNvSpPr/>
              <p:nvPr/>
            </p:nvSpPr>
            <p:spPr>
              <a:xfrm>
                <a:off x="3215619" y="2697218"/>
                <a:ext cx="70008" cy="69056"/>
              </a:xfrm>
              <a:custGeom>
                <a:avLst/>
                <a:gdLst>
                  <a:gd name="connsiteX0" fmla="*/ 0 w 70008"/>
                  <a:gd name="connsiteY0" fmla="*/ 39053 h 69056"/>
                  <a:gd name="connsiteX1" fmla="*/ 31433 w 70008"/>
                  <a:gd name="connsiteY1" fmla="*/ 0 h 69056"/>
                  <a:gd name="connsiteX2" fmla="*/ 70009 w 70008"/>
                  <a:gd name="connsiteY2" fmla="*/ 31909 h 69056"/>
                  <a:gd name="connsiteX3" fmla="*/ 40958 w 70008"/>
                  <a:gd name="connsiteY3" fmla="*/ 69056 h 69056"/>
                  <a:gd name="connsiteX4" fmla="*/ 0 w 70008"/>
                  <a:gd name="connsiteY4" fmla="*/ 39053 h 6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08" h="69056">
                    <a:moveTo>
                      <a:pt x="0" y="39053"/>
                    </a:moveTo>
                    <a:cubicBezTo>
                      <a:pt x="10954" y="25241"/>
                      <a:pt x="20479" y="13811"/>
                      <a:pt x="31433" y="0"/>
                    </a:cubicBezTo>
                    <a:cubicBezTo>
                      <a:pt x="44768" y="10954"/>
                      <a:pt x="56674" y="21431"/>
                      <a:pt x="70009" y="31909"/>
                    </a:cubicBezTo>
                    <a:cubicBezTo>
                      <a:pt x="60008" y="44768"/>
                      <a:pt x="51435" y="55721"/>
                      <a:pt x="40958" y="69056"/>
                    </a:cubicBezTo>
                    <a:cubicBezTo>
                      <a:pt x="27623" y="59531"/>
                      <a:pt x="14764" y="50006"/>
                      <a:pt x="0" y="39053"/>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55" name="Freeform: Shape 254">
                <a:extLst>
                  <a:ext uri="{FF2B5EF4-FFF2-40B4-BE49-F238E27FC236}">
                    <a16:creationId xmlns:a16="http://schemas.microsoft.com/office/drawing/2014/main" id="{95096511-880E-4FD3-BD2C-E22EE185DE02}"/>
                  </a:ext>
                </a:extLst>
              </p:cNvPr>
              <p:cNvSpPr/>
              <p:nvPr/>
            </p:nvSpPr>
            <p:spPr>
              <a:xfrm>
                <a:off x="3114654" y="2877716"/>
                <a:ext cx="64770" cy="63817"/>
              </a:xfrm>
              <a:custGeom>
                <a:avLst/>
                <a:gdLst>
                  <a:gd name="connsiteX0" fmla="*/ 64770 w 64770"/>
                  <a:gd name="connsiteY0" fmla="*/ 20002 h 63817"/>
                  <a:gd name="connsiteX1" fmla="*/ 46196 w 64770"/>
                  <a:gd name="connsiteY1" fmla="*/ 63817 h 63817"/>
                  <a:gd name="connsiteX2" fmla="*/ 0 w 64770"/>
                  <a:gd name="connsiteY2" fmla="*/ 46673 h 63817"/>
                  <a:gd name="connsiteX3" fmla="*/ 19050 w 64770"/>
                  <a:gd name="connsiteY3" fmla="*/ 0 h 63817"/>
                  <a:gd name="connsiteX4" fmla="*/ 64770 w 64770"/>
                  <a:gd name="connsiteY4" fmla="*/ 20002 h 63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70" h="63817">
                    <a:moveTo>
                      <a:pt x="64770" y="20002"/>
                    </a:moveTo>
                    <a:cubicBezTo>
                      <a:pt x="58103" y="36195"/>
                      <a:pt x="52388" y="49054"/>
                      <a:pt x="46196" y="63817"/>
                    </a:cubicBezTo>
                    <a:cubicBezTo>
                      <a:pt x="30004" y="57626"/>
                      <a:pt x="15716" y="52388"/>
                      <a:pt x="0" y="46673"/>
                    </a:cubicBezTo>
                    <a:cubicBezTo>
                      <a:pt x="6668" y="30004"/>
                      <a:pt x="12382" y="15716"/>
                      <a:pt x="19050" y="0"/>
                    </a:cubicBezTo>
                    <a:cubicBezTo>
                      <a:pt x="35243" y="6667"/>
                      <a:pt x="49054" y="12859"/>
                      <a:pt x="64770" y="20002"/>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56" name="Freeform: Shape 255">
                <a:extLst>
                  <a:ext uri="{FF2B5EF4-FFF2-40B4-BE49-F238E27FC236}">
                    <a16:creationId xmlns:a16="http://schemas.microsoft.com/office/drawing/2014/main" id="{F4A12133-31F3-4BFB-A056-10BD0A5FAF3E}"/>
                  </a:ext>
                </a:extLst>
              </p:cNvPr>
              <p:cNvSpPr/>
              <p:nvPr/>
            </p:nvSpPr>
            <p:spPr>
              <a:xfrm>
                <a:off x="3723777" y="3856411"/>
                <a:ext cx="50787" cy="51910"/>
              </a:xfrm>
              <a:custGeom>
                <a:avLst/>
                <a:gdLst>
                  <a:gd name="connsiteX0" fmla="*/ 0 w 50787"/>
                  <a:gd name="connsiteY0" fmla="*/ 51911 h 51910"/>
                  <a:gd name="connsiteX1" fmla="*/ 2381 w 50787"/>
                  <a:gd name="connsiteY1" fmla="*/ 5714 h 51910"/>
                  <a:gd name="connsiteX2" fmla="*/ 49054 w 50787"/>
                  <a:gd name="connsiteY2" fmla="*/ 51911 h 51910"/>
                  <a:gd name="connsiteX3" fmla="*/ 0 w 50787"/>
                  <a:gd name="connsiteY3" fmla="*/ 51911 h 51910"/>
                </a:gdLst>
                <a:ahLst/>
                <a:cxnLst>
                  <a:cxn ang="0">
                    <a:pos x="connsiteX0" y="connsiteY0"/>
                  </a:cxn>
                  <a:cxn ang="0">
                    <a:pos x="connsiteX1" y="connsiteY1"/>
                  </a:cxn>
                  <a:cxn ang="0">
                    <a:pos x="connsiteX2" y="connsiteY2"/>
                  </a:cxn>
                  <a:cxn ang="0">
                    <a:pos x="connsiteX3" y="connsiteY3"/>
                  </a:cxn>
                </a:cxnLst>
                <a:rect l="l" t="t" r="r" b="b"/>
                <a:pathLst>
                  <a:path w="50787" h="51910">
                    <a:moveTo>
                      <a:pt x="0" y="51911"/>
                    </a:moveTo>
                    <a:cubicBezTo>
                      <a:pt x="953" y="35242"/>
                      <a:pt x="1429" y="20002"/>
                      <a:pt x="2381" y="5714"/>
                    </a:cubicBezTo>
                    <a:cubicBezTo>
                      <a:pt x="48101" y="-7144"/>
                      <a:pt x="54769" y="-953"/>
                      <a:pt x="49054" y="51911"/>
                    </a:cubicBezTo>
                    <a:cubicBezTo>
                      <a:pt x="33814" y="51911"/>
                      <a:pt x="18574" y="51911"/>
                      <a:pt x="0" y="51911"/>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57" name="Freeform: Shape 256">
                <a:extLst>
                  <a:ext uri="{FF2B5EF4-FFF2-40B4-BE49-F238E27FC236}">
                    <a16:creationId xmlns:a16="http://schemas.microsoft.com/office/drawing/2014/main" id="{6B5BECB0-961B-4C3D-B797-E5454E3984C1}"/>
                  </a:ext>
                </a:extLst>
              </p:cNvPr>
              <p:cNvSpPr/>
              <p:nvPr/>
            </p:nvSpPr>
            <p:spPr>
              <a:xfrm>
                <a:off x="3517085" y="3813548"/>
                <a:ext cx="62388" cy="62865"/>
              </a:xfrm>
              <a:custGeom>
                <a:avLst/>
                <a:gdLst>
                  <a:gd name="connsiteX0" fmla="*/ 0 w 62388"/>
                  <a:gd name="connsiteY0" fmla="*/ 45720 h 62865"/>
                  <a:gd name="connsiteX1" fmla="*/ 13811 w 62388"/>
                  <a:gd name="connsiteY1" fmla="*/ 10001 h 62865"/>
                  <a:gd name="connsiteX2" fmla="*/ 19526 w 62388"/>
                  <a:gd name="connsiteY2" fmla="*/ 0 h 62865"/>
                  <a:gd name="connsiteX3" fmla="*/ 62389 w 62388"/>
                  <a:gd name="connsiteY3" fmla="*/ 14764 h 62865"/>
                  <a:gd name="connsiteX4" fmla="*/ 46673 w 62388"/>
                  <a:gd name="connsiteY4" fmla="*/ 62865 h 62865"/>
                  <a:gd name="connsiteX5" fmla="*/ 0 w 62388"/>
                  <a:gd name="connsiteY5" fmla="*/ 45720 h 62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388" h="62865">
                    <a:moveTo>
                      <a:pt x="0" y="45720"/>
                    </a:moveTo>
                    <a:cubicBezTo>
                      <a:pt x="5239" y="31909"/>
                      <a:pt x="9525" y="20479"/>
                      <a:pt x="13811" y="10001"/>
                    </a:cubicBezTo>
                    <a:cubicBezTo>
                      <a:pt x="14764" y="7144"/>
                      <a:pt x="16669" y="4763"/>
                      <a:pt x="19526" y="0"/>
                    </a:cubicBezTo>
                    <a:cubicBezTo>
                      <a:pt x="33338" y="4763"/>
                      <a:pt x="46673" y="9525"/>
                      <a:pt x="62389" y="14764"/>
                    </a:cubicBezTo>
                    <a:cubicBezTo>
                      <a:pt x="57150" y="31433"/>
                      <a:pt x="52388" y="46196"/>
                      <a:pt x="46673" y="62865"/>
                    </a:cubicBezTo>
                    <a:cubicBezTo>
                      <a:pt x="30956" y="56674"/>
                      <a:pt x="16669" y="51435"/>
                      <a:pt x="0" y="4572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58" name="Freeform: Shape 257">
                <a:extLst>
                  <a:ext uri="{FF2B5EF4-FFF2-40B4-BE49-F238E27FC236}">
                    <a16:creationId xmlns:a16="http://schemas.microsoft.com/office/drawing/2014/main" id="{DA9C8CD0-793D-435F-A1C5-65B5C823C09C}"/>
                  </a:ext>
                </a:extLst>
              </p:cNvPr>
              <p:cNvSpPr/>
              <p:nvPr/>
            </p:nvSpPr>
            <p:spPr>
              <a:xfrm>
                <a:off x="3620149" y="3843075"/>
                <a:ext cx="56479" cy="56197"/>
              </a:xfrm>
              <a:custGeom>
                <a:avLst/>
                <a:gdLst>
                  <a:gd name="connsiteX0" fmla="*/ 13141 w 56479"/>
                  <a:gd name="connsiteY0" fmla="*/ 0 h 56197"/>
                  <a:gd name="connsiteX1" fmla="*/ 56479 w 56479"/>
                  <a:gd name="connsiteY1" fmla="*/ 8572 h 56197"/>
                  <a:gd name="connsiteX2" fmla="*/ 47431 w 56479"/>
                  <a:gd name="connsiteY2" fmla="*/ 56197 h 56197"/>
                  <a:gd name="connsiteX3" fmla="*/ 13141 w 56479"/>
                  <a:gd name="connsiteY3" fmla="*/ 0 h 56197"/>
                </a:gdLst>
                <a:ahLst/>
                <a:cxnLst>
                  <a:cxn ang="0">
                    <a:pos x="connsiteX0" y="connsiteY0"/>
                  </a:cxn>
                  <a:cxn ang="0">
                    <a:pos x="connsiteX1" y="connsiteY1"/>
                  </a:cxn>
                  <a:cxn ang="0">
                    <a:pos x="connsiteX2" y="connsiteY2"/>
                  </a:cxn>
                  <a:cxn ang="0">
                    <a:pos x="connsiteX3" y="connsiteY3"/>
                  </a:cxn>
                </a:cxnLst>
                <a:rect l="l" t="t" r="r" b="b"/>
                <a:pathLst>
                  <a:path w="56479" h="56197">
                    <a:moveTo>
                      <a:pt x="13141" y="0"/>
                    </a:moveTo>
                    <a:cubicBezTo>
                      <a:pt x="27428" y="2858"/>
                      <a:pt x="40287" y="5239"/>
                      <a:pt x="56479" y="8572"/>
                    </a:cubicBezTo>
                    <a:cubicBezTo>
                      <a:pt x="53146" y="25241"/>
                      <a:pt x="50288" y="40958"/>
                      <a:pt x="47431" y="56197"/>
                    </a:cubicBezTo>
                    <a:cubicBezTo>
                      <a:pt x="-5433" y="53340"/>
                      <a:pt x="-9719" y="46672"/>
                      <a:pt x="13141" y="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59" name="Freeform: Shape 258">
                <a:extLst>
                  <a:ext uri="{FF2B5EF4-FFF2-40B4-BE49-F238E27FC236}">
                    <a16:creationId xmlns:a16="http://schemas.microsoft.com/office/drawing/2014/main" id="{735DC2C0-76DD-4ACA-B73A-EC7840620CEA}"/>
                  </a:ext>
                </a:extLst>
              </p:cNvPr>
              <p:cNvSpPr/>
              <p:nvPr/>
            </p:nvSpPr>
            <p:spPr>
              <a:xfrm>
                <a:off x="3366590" y="2558629"/>
                <a:ext cx="69056" cy="68103"/>
              </a:xfrm>
              <a:custGeom>
                <a:avLst/>
                <a:gdLst>
                  <a:gd name="connsiteX0" fmla="*/ 41434 w 69056"/>
                  <a:gd name="connsiteY0" fmla="*/ 0 h 68103"/>
                  <a:gd name="connsiteX1" fmla="*/ 69056 w 69056"/>
                  <a:gd name="connsiteY1" fmla="*/ 40958 h 68103"/>
                  <a:gd name="connsiteX2" fmla="*/ 30480 w 69056"/>
                  <a:gd name="connsiteY2" fmla="*/ 68104 h 68103"/>
                  <a:gd name="connsiteX3" fmla="*/ 0 w 69056"/>
                  <a:gd name="connsiteY3" fmla="*/ 27622 h 68103"/>
                  <a:gd name="connsiteX4" fmla="*/ 41434 w 69056"/>
                  <a:gd name="connsiteY4" fmla="*/ 0 h 68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56" h="68103">
                    <a:moveTo>
                      <a:pt x="41434" y="0"/>
                    </a:moveTo>
                    <a:cubicBezTo>
                      <a:pt x="50959" y="14288"/>
                      <a:pt x="59531" y="26670"/>
                      <a:pt x="69056" y="40958"/>
                    </a:cubicBezTo>
                    <a:cubicBezTo>
                      <a:pt x="56197" y="50006"/>
                      <a:pt x="44291" y="58579"/>
                      <a:pt x="30480" y="68104"/>
                    </a:cubicBezTo>
                    <a:cubicBezTo>
                      <a:pt x="20479" y="55245"/>
                      <a:pt x="11430" y="42863"/>
                      <a:pt x="0" y="27622"/>
                    </a:cubicBezTo>
                    <a:cubicBezTo>
                      <a:pt x="14288" y="18097"/>
                      <a:pt x="27146" y="9525"/>
                      <a:pt x="41434" y="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60" name="Freeform: Shape 259">
                <a:extLst>
                  <a:ext uri="{FF2B5EF4-FFF2-40B4-BE49-F238E27FC236}">
                    <a16:creationId xmlns:a16="http://schemas.microsoft.com/office/drawing/2014/main" id="{761EBEA3-7299-4DBA-9976-7573EE9867C2}"/>
                  </a:ext>
                </a:extLst>
              </p:cNvPr>
              <p:cNvSpPr/>
              <p:nvPr/>
            </p:nvSpPr>
            <p:spPr>
              <a:xfrm>
                <a:off x="3421835" y="3768304"/>
                <a:ext cx="66675" cy="67627"/>
              </a:xfrm>
              <a:custGeom>
                <a:avLst/>
                <a:gdLst>
                  <a:gd name="connsiteX0" fmla="*/ 43339 w 66675"/>
                  <a:gd name="connsiteY0" fmla="*/ 67628 h 67627"/>
                  <a:gd name="connsiteX1" fmla="*/ 0 w 66675"/>
                  <a:gd name="connsiteY1" fmla="*/ 42863 h 67627"/>
                  <a:gd name="connsiteX2" fmla="*/ 25241 w 66675"/>
                  <a:gd name="connsiteY2" fmla="*/ 0 h 67627"/>
                  <a:gd name="connsiteX3" fmla="*/ 66675 w 66675"/>
                  <a:gd name="connsiteY3" fmla="*/ 22384 h 67627"/>
                  <a:gd name="connsiteX4" fmla="*/ 43339 w 66675"/>
                  <a:gd name="connsiteY4" fmla="*/ 67628 h 67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7627">
                    <a:moveTo>
                      <a:pt x="43339" y="67628"/>
                    </a:moveTo>
                    <a:cubicBezTo>
                      <a:pt x="27623" y="58579"/>
                      <a:pt x="14764" y="51435"/>
                      <a:pt x="0" y="42863"/>
                    </a:cubicBezTo>
                    <a:cubicBezTo>
                      <a:pt x="8573" y="28099"/>
                      <a:pt x="16669" y="14764"/>
                      <a:pt x="25241" y="0"/>
                    </a:cubicBezTo>
                    <a:cubicBezTo>
                      <a:pt x="39529" y="7620"/>
                      <a:pt x="52388" y="14764"/>
                      <a:pt x="66675" y="22384"/>
                    </a:cubicBezTo>
                    <a:cubicBezTo>
                      <a:pt x="58579" y="37624"/>
                      <a:pt x="51435" y="51435"/>
                      <a:pt x="43339" y="67628"/>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61" name="Freeform: Shape 260">
                <a:extLst>
                  <a:ext uri="{FF2B5EF4-FFF2-40B4-BE49-F238E27FC236}">
                    <a16:creationId xmlns:a16="http://schemas.microsoft.com/office/drawing/2014/main" id="{6DC6FE09-205E-474C-B79B-C2B45FE9BBA6}"/>
                  </a:ext>
                </a:extLst>
              </p:cNvPr>
              <p:cNvSpPr/>
              <p:nvPr/>
            </p:nvSpPr>
            <p:spPr>
              <a:xfrm>
                <a:off x="3139895" y="3476839"/>
                <a:ext cx="66675" cy="66198"/>
              </a:xfrm>
              <a:custGeom>
                <a:avLst/>
                <a:gdLst>
                  <a:gd name="connsiteX0" fmla="*/ 45244 w 66675"/>
                  <a:gd name="connsiteY0" fmla="*/ 0 h 66198"/>
                  <a:gd name="connsiteX1" fmla="*/ 66675 w 66675"/>
                  <a:gd name="connsiteY1" fmla="*/ 41434 h 66198"/>
                  <a:gd name="connsiteX2" fmla="*/ 23336 w 66675"/>
                  <a:gd name="connsiteY2" fmla="*/ 66199 h 66198"/>
                  <a:gd name="connsiteX3" fmla="*/ 0 w 66675"/>
                  <a:gd name="connsiteY3" fmla="*/ 22384 h 66198"/>
                  <a:gd name="connsiteX4" fmla="*/ 45244 w 66675"/>
                  <a:gd name="connsiteY4" fmla="*/ 0 h 66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198">
                    <a:moveTo>
                      <a:pt x="45244" y="0"/>
                    </a:moveTo>
                    <a:cubicBezTo>
                      <a:pt x="52864" y="14764"/>
                      <a:pt x="59531" y="27622"/>
                      <a:pt x="66675" y="41434"/>
                    </a:cubicBezTo>
                    <a:cubicBezTo>
                      <a:pt x="53340" y="49054"/>
                      <a:pt x="40005" y="56674"/>
                      <a:pt x="23336" y="66199"/>
                    </a:cubicBezTo>
                    <a:cubicBezTo>
                      <a:pt x="15240" y="50959"/>
                      <a:pt x="7620" y="37147"/>
                      <a:pt x="0" y="22384"/>
                    </a:cubicBezTo>
                    <a:cubicBezTo>
                      <a:pt x="15716" y="14764"/>
                      <a:pt x="29527" y="7620"/>
                      <a:pt x="45244" y="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62" name="Freeform: Shape 261">
                <a:extLst>
                  <a:ext uri="{FF2B5EF4-FFF2-40B4-BE49-F238E27FC236}">
                    <a16:creationId xmlns:a16="http://schemas.microsoft.com/office/drawing/2014/main" id="{E43A8F4E-9F72-4C7D-9DF6-A79F5B043EDF}"/>
                  </a:ext>
                </a:extLst>
              </p:cNvPr>
              <p:cNvSpPr/>
              <p:nvPr/>
            </p:nvSpPr>
            <p:spPr>
              <a:xfrm>
                <a:off x="3192282" y="3562564"/>
                <a:ext cx="68579" cy="69056"/>
              </a:xfrm>
              <a:custGeom>
                <a:avLst/>
                <a:gdLst>
                  <a:gd name="connsiteX0" fmla="*/ 68580 w 68579"/>
                  <a:gd name="connsiteY0" fmla="*/ 39052 h 69056"/>
                  <a:gd name="connsiteX1" fmla="*/ 30004 w 68579"/>
                  <a:gd name="connsiteY1" fmla="*/ 69056 h 69056"/>
                  <a:gd name="connsiteX2" fmla="*/ 0 w 68579"/>
                  <a:gd name="connsiteY2" fmla="*/ 29051 h 69056"/>
                  <a:gd name="connsiteX3" fmla="*/ 41434 w 68579"/>
                  <a:gd name="connsiteY3" fmla="*/ 0 h 69056"/>
                  <a:gd name="connsiteX4" fmla="*/ 68580 w 68579"/>
                  <a:gd name="connsiteY4" fmla="*/ 39052 h 6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79" h="69056">
                    <a:moveTo>
                      <a:pt x="68580" y="39052"/>
                    </a:moveTo>
                    <a:cubicBezTo>
                      <a:pt x="54769" y="49530"/>
                      <a:pt x="43339" y="58579"/>
                      <a:pt x="30004" y="69056"/>
                    </a:cubicBezTo>
                    <a:cubicBezTo>
                      <a:pt x="20002" y="55721"/>
                      <a:pt x="10954" y="43339"/>
                      <a:pt x="0" y="29051"/>
                    </a:cubicBezTo>
                    <a:cubicBezTo>
                      <a:pt x="14288" y="19050"/>
                      <a:pt x="27622" y="10001"/>
                      <a:pt x="41434" y="0"/>
                    </a:cubicBezTo>
                    <a:cubicBezTo>
                      <a:pt x="50483" y="13335"/>
                      <a:pt x="59055" y="25241"/>
                      <a:pt x="68580" y="39052"/>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63" name="Freeform: Shape 262">
                <a:extLst>
                  <a:ext uri="{FF2B5EF4-FFF2-40B4-BE49-F238E27FC236}">
                    <a16:creationId xmlns:a16="http://schemas.microsoft.com/office/drawing/2014/main" id="{39ADB649-EDDE-4FE2-9E10-95DEF3A6C9A2}"/>
                  </a:ext>
                </a:extLst>
              </p:cNvPr>
              <p:cNvSpPr/>
              <p:nvPr/>
            </p:nvSpPr>
            <p:spPr>
              <a:xfrm>
                <a:off x="3286104" y="2621494"/>
                <a:ext cx="69056" cy="68103"/>
              </a:xfrm>
              <a:custGeom>
                <a:avLst/>
                <a:gdLst>
                  <a:gd name="connsiteX0" fmla="*/ 35719 w 69056"/>
                  <a:gd name="connsiteY0" fmla="*/ 68104 h 68103"/>
                  <a:gd name="connsiteX1" fmla="*/ 0 w 69056"/>
                  <a:gd name="connsiteY1" fmla="*/ 33814 h 68103"/>
                  <a:gd name="connsiteX2" fmla="*/ 36195 w 69056"/>
                  <a:gd name="connsiteY2" fmla="*/ 0 h 68103"/>
                  <a:gd name="connsiteX3" fmla="*/ 69056 w 69056"/>
                  <a:gd name="connsiteY3" fmla="*/ 37148 h 68103"/>
                  <a:gd name="connsiteX4" fmla="*/ 35719 w 69056"/>
                  <a:gd name="connsiteY4" fmla="*/ 68104 h 68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56" h="68103">
                    <a:moveTo>
                      <a:pt x="35719" y="68104"/>
                    </a:moveTo>
                    <a:cubicBezTo>
                      <a:pt x="23336" y="56198"/>
                      <a:pt x="12859" y="46196"/>
                      <a:pt x="0" y="33814"/>
                    </a:cubicBezTo>
                    <a:cubicBezTo>
                      <a:pt x="12382" y="22384"/>
                      <a:pt x="23813" y="11906"/>
                      <a:pt x="36195" y="0"/>
                    </a:cubicBezTo>
                    <a:cubicBezTo>
                      <a:pt x="47625" y="12859"/>
                      <a:pt x="57150" y="23813"/>
                      <a:pt x="69056" y="37148"/>
                    </a:cubicBezTo>
                    <a:cubicBezTo>
                      <a:pt x="58579" y="47149"/>
                      <a:pt x="47625" y="57150"/>
                      <a:pt x="35719" y="68104"/>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64" name="Freeform: Shape 263">
                <a:extLst>
                  <a:ext uri="{FF2B5EF4-FFF2-40B4-BE49-F238E27FC236}">
                    <a16:creationId xmlns:a16="http://schemas.microsoft.com/office/drawing/2014/main" id="{8D5AF40F-327C-4DBF-B893-460213BE62E7}"/>
                  </a:ext>
                </a:extLst>
              </p:cNvPr>
              <p:cNvSpPr/>
              <p:nvPr/>
            </p:nvSpPr>
            <p:spPr>
              <a:xfrm>
                <a:off x="3456601" y="2507194"/>
                <a:ext cx="64769" cy="66675"/>
              </a:xfrm>
              <a:custGeom>
                <a:avLst/>
                <a:gdLst>
                  <a:gd name="connsiteX0" fmla="*/ 64770 w 64769"/>
                  <a:gd name="connsiteY0" fmla="*/ 47149 h 66675"/>
                  <a:gd name="connsiteX1" fmla="*/ 24765 w 64769"/>
                  <a:gd name="connsiteY1" fmla="*/ 66675 h 66675"/>
                  <a:gd name="connsiteX2" fmla="*/ 0 w 64769"/>
                  <a:gd name="connsiteY2" fmla="*/ 22860 h 66675"/>
                  <a:gd name="connsiteX3" fmla="*/ 45244 w 64769"/>
                  <a:gd name="connsiteY3" fmla="*/ 0 h 66675"/>
                  <a:gd name="connsiteX4" fmla="*/ 64770 w 64769"/>
                  <a:gd name="connsiteY4" fmla="*/ 47149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69" h="66675">
                    <a:moveTo>
                      <a:pt x="64770" y="47149"/>
                    </a:moveTo>
                    <a:cubicBezTo>
                      <a:pt x="50006" y="54293"/>
                      <a:pt x="38100" y="60484"/>
                      <a:pt x="24765" y="66675"/>
                    </a:cubicBezTo>
                    <a:cubicBezTo>
                      <a:pt x="16669" y="51911"/>
                      <a:pt x="9049" y="38576"/>
                      <a:pt x="0" y="22860"/>
                    </a:cubicBezTo>
                    <a:cubicBezTo>
                      <a:pt x="15240" y="15240"/>
                      <a:pt x="29051" y="8096"/>
                      <a:pt x="45244" y="0"/>
                    </a:cubicBezTo>
                    <a:cubicBezTo>
                      <a:pt x="51911" y="15716"/>
                      <a:pt x="57626" y="30480"/>
                      <a:pt x="64770" y="47149"/>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65" name="Freeform: Shape 264">
                <a:extLst>
                  <a:ext uri="{FF2B5EF4-FFF2-40B4-BE49-F238E27FC236}">
                    <a16:creationId xmlns:a16="http://schemas.microsoft.com/office/drawing/2014/main" id="{0DB7A7EA-A894-441E-B333-8BC1F749E268}"/>
                  </a:ext>
                </a:extLst>
              </p:cNvPr>
              <p:cNvSpPr/>
              <p:nvPr/>
            </p:nvSpPr>
            <p:spPr>
              <a:xfrm>
                <a:off x="3555185" y="2473380"/>
                <a:ext cx="60483" cy="61912"/>
              </a:xfrm>
              <a:custGeom>
                <a:avLst/>
                <a:gdLst>
                  <a:gd name="connsiteX0" fmla="*/ 16669 w 60483"/>
                  <a:gd name="connsiteY0" fmla="*/ 61913 h 61912"/>
                  <a:gd name="connsiteX1" fmla="*/ 0 w 60483"/>
                  <a:gd name="connsiteY1" fmla="*/ 14288 h 61912"/>
                  <a:gd name="connsiteX2" fmla="*/ 46673 w 60483"/>
                  <a:gd name="connsiteY2" fmla="*/ 0 h 61912"/>
                  <a:gd name="connsiteX3" fmla="*/ 60484 w 60483"/>
                  <a:gd name="connsiteY3" fmla="*/ 47625 h 61912"/>
                  <a:gd name="connsiteX4" fmla="*/ 16669 w 60483"/>
                  <a:gd name="connsiteY4" fmla="*/ 61913 h 61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483" h="61912">
                    <a:moveTo>
                      <a:pt x="16669" y="61913"/>
                    </a:moveTo>
                    <a:cubicBezTo>
                      <a:pt x="10477" y="44291"/>
                      <a:pt x="5715" y="30480"/>
                      <a:pt x="0" y="14288"/>
                    </a:cubicBezTo>
                    <a:cubicBezTo>
                      <a:pt x="15716" y="9525"/>
                      <a:pt x="29527" y="5239"/>
                      <a:pt x="46673" y="0"/>
                    </a:cubicBezTo>
                    <a:cubicBezTo>
                      <a:pt x="50959" y="15716"/>
                      <a:pt x="55245" y="30480"/>
                      <a:pt x="60484" y="47625"/>
                    </a:cubicBezTo>
                    <a:cubicBezTo>
                      <a:pt x="45720" y="52388"/>
                      <a:pt x="32385" y="56674"/>
                      <a:pt x="16669" y="61913"/>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grpSp>
      </p:grpSp>
      <p:sp>
        <p:nvSpPr>
          <p:cNvPr id="190" name="TextBox 189">
            <a:extLst>
              <a:ext uri="{FF2B5EF4-FFF2-40B4-BE49-F238E27FC236}">
                <a16:creationId xmlns:a16="http://schemas.microsoft.com/office/drawing/2014/main" id="{215C9BA8-1FB6-4A69-A71B-2834B1118FE3}"/>
              </a:ext>
            </a:extLst>
          </p:cNvPr>
          <p:cNvSpPr txBox="1"/>
          <p:nvPr/>
        </p:nvSpPr>
        <p:spPr>
          <a:xfrm>
            <a:off x="9043536" y="4219496"/>
            <a:ext cx="2341384" cy="954107"/>
          </a:xfrm>
          <a:prstGeom prst="rect">
            <a:avLst/>
          </a:prstGeom>
          <a:noFill/>
        </p:spPr>
        <p:txBody>
          <a:bodyPr wrap="square" rtlCol="0">
            <a:spAutoFit/>
          </a:bodyPr>
          <a:lstStyle/>
          <a:p>
            <a:pPr defTabSz="1219170">
              <a:defRPr/>
            </a:pPr>
            <a:r>
              <a:rPr lang="en-US" sz="1400" b="1" dirty="0">
                <a:solidFill>
                  <a:srgbClr val="B7FFFF">
                    <a:lumMod val="10000"/>
                  </a:srgbClr>
                </a:solidFill>
                <a:latin typeface="Arial"/>
              </a:rPr>
              <a:t>Raw Materials Supply Chains</a:t>
            </a:r>
          </a:p>
          <a:p>
            <a:pPr marL="152396" indent="-152396" defTabSz="1219170">
              <a:buFont typeface="Arial" panose="020B0604020202020204" pitchFamily="34" charset="0"/>
              <a:buChar char="•"/>
              <a:defRPr/>
            </a:pPr>
            <a:r>
              <a:rPr lang="en-US" sz="1400" dirty="0">
                <a:solidFill>
                  <a:srgbClr val="000000"/>
                </a:solidFill>
                <a:latin typeface="Arial"/>
              </a:rPr>
              <a:t>Remove bottlenecks</a:t>
            </a:r>
          </a:p>
          <a:p>
            <a:pPr marL="152396" indent="-152396" defTabSz="1219170">
              <a:buFont typeface="Arial" panose="020B0604020202020204" pitchFamily="34" charset="0"/>
              <a:buChar char="•"/>
              <a:defRPr/>
            </a:pPr>
            <a:r>
              <a:rPr lang="en-US" sz="1400" dirty="0">
                <a:solidFill>
                  <a:srgbClr val="000000"/>
                </a:solidFill>
                <a:latin typeface="Arial"/>
              </a:rPr>
              <a:t>Establish stockpiles</a:t>
            </a:r>
          </a:p>
        </p:txBody>
      </p:sp>
      <p:grpSp>
        <p:nvGrpSpPr>
          <p:cNvPr id="266" name="Group 265">
            <a:extLst>
              <a:ext uri="{FF2B5EF4-FFF2-40B4-BE49-F238E27FC236}">
                <a16:creationId xmlns:a16="http://schemas.microsoft.com/office/drawing/2014/main" id="{5475F9AA-38B9-4CFE-9C97-3A9076694D7F}"/>
              </a:ext>
            </a:extLst>
          </p:cNvPr>
          <p:cNvGrpSpPr/>
          <p:nvPr/>
        </p:nvGrpSpPr>
        <p:grpSpPr>
          <a:xfrm>
            <a:off x="8439216" y="4219497"/>
            <a:ext cx="604321" cy="604321"/>
            <a:chOff x="6596937" y="3036631"/>
            <a:chExt cx="453241" cy="453241"/>
          </a:xfrm>
        </p:grpSpPr>
        <p:sp>
          <p:nvSpPr>
            <p:cNvPr id="267" name="Oval 266">
              <a:extLst>
                <a:ext uri="{FF2B5EF4-FFF2-40B4-BE49-F238E27FC236}">
                  <a16:creationId xmlns:a16="http://schemas.microsoft.com/office/drawing/2014/main" id="{57045467-146C-4678-A6AF-EA9767A68B53}"/>
                </a:ext>
              </a:extLst>
            </p:cNvPr>
            <p:cNvSpPr/>
            <p:nvPr/>
          </p:nvSpPr>
          <p:spPr>
            <a:xfrm>
              <a:off x="6596937" y="3036631"/>
              <a:ext cx="453241" cy="453241"/>
            </a:xfrm>
            <a:prstGeom prst="ellipse">
              <a:avLst/>
            </a:prstGeom>
            <a:gradFill>
              <a:gsLst>
                <a:gs pos="0">
                  <a:schemeClr val="accent6">
                    <a:lumMod val="10000"/>
                  </a:schemeClr>
                </a:gs>
                <a:gs pos="100000">
                  <a:schemeClr val="accent6">
                    <a:lumMod val="25000"/>
                  </a:schemeClr>
                </a:gs>
              </a:gsLst>
            </a:gradFill>
            <a:ln>
              <a:noFill/>
            </a:ln>
            <a:effectLst/>
          </p:spPr>
          <p:style>
            <a:lnRef idx="1">
              <a:schemeClr val="dk1"/>
            </a:lnRef>
            <a:fillRef idx="3">
              <a:schemeClr val="dk1"/>
            </a:fillRef>
            <a:effectRef idx="2">
              <a:schemeClr val="dk1"/>
            </a:effectRef>
            <a:fontRef idx="minor">
              <a:schemeClr val="lt1"/>
            </a:fontRef>
          </p:style>
          <p:txBody>
            <a:bodyPr rtlCol="0" anchor="ctr"/>
            <a:lstStyle/>
            <a:p>
              <a:pPr algn="ctr" defTabSz="1219170"/>
              <a:endParaRPr lang="en-US" sz="1867" dirty="0">
                <a:solidFill>
                  <a:prstClr val="white"/>
                </a:solidFill>
                <a:latin typeface="Arial"/>
              </a:endParaRPr>
            </a:p>
          </p:txBody>
        </p:sp>
        <p:grpSp>
          <p:nvGrpSpPr>
            <p:cNvPr id="268" name="Graphic 8">
              <a:extLst>
                <a:ext uri="{FF2B5EF4-FFF2-40B4-BE49-F238E27FC236}">
                  <a16:creationId xmlns:a16="http://schemas.microsoft.com/office/drawing/2014/main" id="{272DFCD7-6A03-4A5C-8D77-724A9228BA3D}"/>
                </a:ext>
              </a:extLst>
            </p:cNvPr>
            <p:cNvGrpSpPr/>
            <p:nvPr/>
          </p:nvGrpSpPr>
          <p:grpSpPr>
            <a:xfrm>
              <a:off x="6657164" y="3081555"/>
              <a:ext cx="292025" cy="316125"/>
              <a:chOff x="2800056" y="2019038"/>
              <a:chExt cx="1745253" cy="1889284"/>
            </a:xfrm>
            <a:solidFill>
              <a:srgbClr val="00ADB4"/>
            </a:solidFill>
          </p:grpSpPr>
          <p:sp>
            <p:nvSpPr>
              <p:cNvPr id="269" name="Freeform: Shape 268">
                <a:extLst>
                  <a:ext uri="{FF2B5EF4-FFF2-40B4-BE49-F238E27FC236}">
                    <a16:creationId xmlns:a16="http://schemas.microsoft.com/office/drawing/2014/main" id="{B898AF20-FDCD-4856-972B-829061666293}"/>
                  </a:ext>
                </a:extLst>
              </p:cNvPr>
              <p:cNvSpPr/>
              <p:nvPr/>
            </p:nvSpPr>
            <p:spPr>
              <a:xfrm>
                <a:off x="3681391" y="2019038"/>
                <a:ext cx="863917" cy="703421"/>
              </a:xfrm>
              <a:custGeom>
                <a:avLst/>
                <a:gdLst>
                  <a:gd name="connsiteX0" fmla="*/ 110014 w 863917"/>
                  <a:gd name="connsiteY0" fmla="*/ 0 h 703421"/>
                  <a:gd name="connsiteX1" fmla="*/ 110014 w 863917"/>
                  <a:gd name="connsiteY1" fmla="*/ 402431 h 703421"/>
                  <a:gd name="connsiteX2" fmla="*/ 328613 w 863917"/>
                  <a:gd name="connsiteY2" fmla="*/ 402431 h 703421"/>
                  <a:gd name="connsiteX3" fmla="*/ 328613 w 863917"/>
                  <a:gd name="connsiteY3" fmla="*/ 159068 h 703421"/>
                  <a:gd name="connsiteX4" fmla="*/ 457200 w 863917"/>
                  <a:gd name="connsiteY4" fmla="*/ 286703 h 703421"/>
                  <a:gd name="connsiteX5" fmla="*/ 580073 w 863917"/>
                  <a:gd name="connsiteY5" fmla="*/ 408146 h 703421"/>
                  <a:gd name="connsiteX6" fmla="*/ 587693 w 863917"/>
                  <a:gd name="connsiteY6" fmla="*/ 402908 h 703421"/>
                  <a:gd name="connsiteX7" fmla="*/ 587693 w 863917"/>
                  <a:gd name="connsiteY7" fmla="*/ 160973 h 703421"/>
                  <a:gd name="connsiteX8" fmla="*/ 608648 w 863917"/>
                  <a:gd name="connsiteY8" fmla="*/ 180023 h 703421"/>
                  <a:gd name="connsiteX9" fmla="*/ 807244 w 863917"/>
                  <a:gd name="connsiteY9" fmla="*/ 377666 h 703421"/>
                  <a:gd name="connsiteX10" fmla="*/ 863918 w 863917"/>
                  <a:gd name="connsiteY10" fmla="*/ 402908 h 703421"/>
                  <a:gd name="connsiteX11" fmla="*/ 863918 w 863917"/>
                  <a:gd name="connsiteY11" fmla="*/ 703421 h 703421"/>
                  <a:gd name="connsiteX12" fmla="*/ 0 w 863917"/>
                  <a:gd name="connsiteY12" fmla="*/ 703421 h 703421"/>
                  <a:gd name="connsiteX13" fmla="*/ 0 w 863917"/>
                  <a:gd name="connsiteY13" fmla="*/ 405289 h 703421"/>
                  <a:gd name="connsiteX14" fmla="*/ 57150 w 863917"/>
                  <a:gd name="connsiteY14" fmla="*/ 405289 h 703421"/>
                  <a:gd name="connsiteX15" fmla="*/ 57150 w 863917"/>
                  <a:gd name="connsiteY15" fmla="*/ 476 h 703421"/>
                  <a:gd name="connsiteX16" fmla="*/ 110014 w 863917"/>
                  <a:gd name="connsiteY16" fmla="*/ 0 h 703421"/>
                  <a:gd name="connsiteX17" fmla="*/ 102870 w 863917"/>
                  <a:gd name="connsiteY17" fmla="*/ 642461 h 703421"/>
                  <a:gd name="connsiteX18" fmla="*/ 165259 w 863917"/>
                  <a:gd name="connsiteY18" fmla="*/ 642461 h 703421"/>
                  <a:gd name="connsiteX19" fmla="*/ 165259 w 863917"/>
                  <a:gd name="connsiteY19" fmla="*/ 582454 h 703421"/>
                  <a:gd name="connsiteX20" fmla="*/ 102870 w 863917"/>
                  <a:gd name="connsiteY20" fmla="*/ 582454 h 703421"/>
                  <a:gd name="connsiteX21" fmla="*/ 102870 w 863917"/>
                  <a:gd name="connsiteY21" fmla="*/ 642461 h 703421"/>
                  <a:gd name="connsiteX22" fmla="*/ 284798 w 863917"/>
                  <a:gd name="connsiteY22" fmla="*/ 582454 h 703421"/>
                  <a:gd name="connsiteX23" fmla="*/ 223838 w 863917"/>
                  <a:gd name="connsiteY23" fmla="*/ 582454 h 703421"/>
                  <a:gd name="connsiteX24" fmla="*/ 223838 w 863917"/>
                  <a:gd name="connsiteY24" fmla="*/ 642938 h 703421"/>
                  <a:gd name="connsiteX25" fmla="*/ 284798 w 863917"/>
                  <a:gd name="connsiteY25" fmla="*/ 642938 h 703421"/>
                  <a:gd name="connsiteX26" fmla="*/ 284798 w 863917"/>
                  <a:gd name="connsiteY26" fmla="*/ 582454 h 703421"/>
                  <a:gd name="connsiteX27" fmla="*/ 102870 w 863917"/>
                  <a:gd name="connsiteY27" fmla="*/ 466249 h 703421"/>
                  <a:gd name="connsiteX28" fmla="*/ 102870 w 863917"/>
                  <a:gd name="connsiteY28" fmla="*/ 527209 h 703421"/>
                  <a:gd name="connsiteX29" fmla="*/ 165259 w 863917"/>
                  <a:gd name="connsiteY29" fmla="*/ 527209 h 703421"/>
                  <a:gd name="connsiteX30" fmla="*/ 165259 w 863917"/>
                  <a:gd name="connsiteY30" fmla="*/ 466249 h 703421"/>
                  <a:gd name="connsiteX31" fmla="*/ 102870 w 863917"/>
                  <a:gd name="connsiteY31" fmla="*/ 466249 h 703421"/>
                  <a:gd name="connsiteX32" fmla="*/ 222885 w 863917"/>
                  <a:gd name="connsiteY32" fmla="*/ 465773 h 703421"/>
                  <a:gd name="connsiteX33" fmla="*/ 222885 w 863917"/>
                  <a:gd name="connsiteY33" fmla="*/ 526733 h 703421"/>
                  <a:gd name="connsiteX34" fmla="*/ 284321 w 863917"/>
                  <a:gd name="connsiteY34" fmla="*/ 526733 h 703421"/>
                  <a:gd name="connsiteX35" fmla="*/ 284321 w 863917"/>
                  <a:gd name="connsiteY35" fmla="*/ 465773 h 703421"/>
                  <a:gd name="connsiteX36" fmla="*/ 222885 w 863917"/>
                  <a:gd name="connsiteY36" fmla="*/ 465773 h 703421"/>
                  <a:gd name="connsiteX37" fmla="*/ 760572 w 863917"/>
                  <a:gd name="connsiteY37" fmla="*/ 581978 h 703421"/>
                  <a:gd name="connsiteX38" fmla="*/ 700564 w 863917"/>
                  <a:gd name="connsiteY38" fmla="*/ 581978 h 703421"/>
                  <a:gd name="connsiteX39" fmla="*/ 700564 w 863917"/>
                  <a:gd name="connsiteY39" fmla="*/ 642938 h 703421"/>
                  <a:gd name="connsiteX40" fmla="*/ 760572 w 863917"/>
                  <a:gd name="connsiteY40" fmla="*/ 642938 h 703421"/>
                  <a:gd name="connsiteX41" fmla="*/ 760572 w 863917"/>
                  <a:gd name="connsiteY41" fmla="*/ 581978 h 703421"/>
                  <a:gd name="connsiteX42" fmla="*/ 581501 w 863917"/>
                  <a:gd name="connsiteY42" fmla="*/ 581978 h 703421"/>
                  <a:gd name="connsiteX43" fmla="*/ 581501 w 863917"/>
                  <a:gd name="connsiteY43" fmla="*/ 643414 h 703421"/>
                  <a:gd name="connsiteX44" fmla="*/ 640556 w 863917"/>
                  <a:gd name="connsiteY44" fmla="*/ 643414 h 703421"/>
                  <a:gd name="connsiteX45" fmla="*/ 640556 w 863917"/>
                  <a:gd name="connsiteY45" fmla="*/ 581978 h 703421"/>
                  <a:gd name="connsiteX46" fmla="*/ 581501 w 863917"/>
                  <a:gd name="connsiteY46" fmla="*/ 581978 h 703421"/>
                  <a:gd name="connsiteX47" fmla="*/ 522446 w 863917"/>
                  <a:gd name="connsiteY47" fmla="*/ 582454 h 703421"/>
                  <a:gd name="connsiteX48" fmla="*/ 462439 w 863917"/>
                  <a:gd name="connsiteY48" fmla="*/ 582454 h 703421"/>
                  <a:gd name="connsiteX49" fmla="*/ 462439 w 863917"/>
                  <a:gd name="connsiteY49" fmla="*/ 642938 h 703421"/>
                  <a:gd name="connsiteX50" fmla="*/ 522446 w 863917"/>
                  <a:gd name="connsiteY50" fmla="*/ 642938 h 703421"/>
                  <a:gd name="connsiteX51" fmla="*/ 522446 w 863917"/>
                  <a:gd name="connsiteY51" fmla="*/ 582454 h 703421"/>
                  <a:gd name="connsiteX52" fmla="*/ 403384 w 863917"/>
                  <a:gd name="connsiteY52" fmla="*/ 583406 h 703421"/>
                  <a:gd name="connsiteX53" fmla="*/ 342900 w 863917"/>
                  <a:gd name="connsiteY53" fmla="*/ 583406 h 703421"/>
                  <a:gd name="connsiteX54" fmla="*/ 342900 w 863917"/>
                  <a:gd name="connsiteY54" fmla="*/ 642461 h 703421"/>
                  <a:gd name="connsiteX55" fmla="*/ 403384 w 863917"/>
                  <a:gd name="connsiteY55" fmla="*/ 642461 h 703421"/>
                  <a:gd name="connsiteX56" fmla="*/ 403384 w 863917"/>
                  <a:gd name="connsiteY56" fmla="*/ 583406 h 703421"/>
                  <a:gd name="connsiteX57" fmla="*/ 342424 w 863917"/>
                  <a:gd name="connsiteY57" fmla="*/ 527209 h 703421"/>
                  <a:gd name="connsiteX58" fmla="*/ 403384 w 863917"/>
                  <a:gd name="connsiteY58" fmla="*/ 527209 h 703421"/>
                  <a:gd name="connsiteX59" fmla="*/ 403384 w 863917"/>
                  <a:gd name="connsiteY59" fmla="*/ 466249 h 703421"/>
                  <a:gd name="connsiteX60" fmla="*/ 342424 w 863917"/>
                  <a:gd name="connsiteY60" fmla="*/ 466249 h 703421"/>
                  <a:gd name="connsiteX61" fmla="*/ 342424 w 863917"/>
                  <a:gd name="connsiteY61" fmla="*/ 527209 h 703421"/>
                  <a:gd name="connsiteX62" fmla="*/ 581978 w 863917"/>
                  <a:gd name="connsiteY62" fmla="*/ 465296 h 703421"/>
                  <a:gd name="connsiteX63" fmla="*/ 581978 w 863917"/>
                  <a:gd name="connsiteY63" fmla="*/ 527685 h 703421"/>
                  <a:gd name="connsiteX64" fmla="*/ 641033 w 863917"/>
                  <a:gd name="connsiteY64" fmla="*/ 527685 h 703421"/>
                  <a:gd name="connsiteX65" fmla="*/ 641033 w 863917"/>
                  <a:gd name="connsiteY65" fmla="*/ 465296 h 703421"/>
                  <a:gd name="connsiteX66" fmla="*/ 581978 w 863917"/>
                  <a:gd name="connsiteY66" fmla="*/ 465296 h 703421"/>
                  <a:gd name="connsiteX67" fmla="*/ 700564 w 863917"/>
                  <a:gd name="connsiteY67" fmla="*/ 465773 h 703421"/>
                  <a:gd name="connsiteX68" fmla="*/ 700564 w 863917"/>
                  <a:gd name="connsiteY68" fmla="*/ 527209 h 703421"/>
                  <a:gd name="connsiteX69" fmla="*/ 760095 w 863917"/>
                  <a:gd name="connsiteY69" fmla="*/ 527209 h 703421"/>
                  <a:gd name="connsiteX70" fmla="*/ 760095 w 863917"/>
                  <a:gd name="connsiteY70" fmla="*/ 465773 h 703421"/>
                  <a:gd name="connsiteX71" fmla="*/ 700564 w 863917"/>
                  <a:gd name="connsiteY71" fmla="*/ 465773 h 703421"/>
                  <a:gd name="connsiteX72" fmla="*/ 462439 w 863917"/>
                  <a:gd name="connsiteY72" fmla="*/ 465773 h 703421"/>
                  <a:gd name="connsiteX73" fmla="*/ 462439 w 863917"/>
                  <a:gd name="connsiteY73" fmla="*/ 527209 h 703421"/>
                  <a:gd name="connsiteX74" fmla="*/ 521970 w 863917"/>
                  <a:gd name="connsiteY74" fmla="*/ 527209 h 703421"/>
                  <a:gd name="connsiteX75" fmla="*/ 521970 w 863917"/>
                  <a:gd name="connsiteY75" fmla="*/ 465773 h 703421"/>
                  <a:gd name="connsiteX76" fmla="*/ 462439 w 863917"/>
                  <a:gd name="connsiteY76" fmla="*/ 465773 h 703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863917" h="703421">
                    <a:moveTo>
                      <a:pt x="110014" y="0"/>
                    </a:moveTo>
                    <a:cubicBezTo>
                      <a:pt x="110014" y="133350"/>
                      <a:pt x="110014" y="267176"/>
                      <a:pt x="110014" y="402431"/>
                    </a:cubicBezTo>
                    <a:cubicBezTo>
                      <a:pt x="183833" y="402431"/>
                      <a:pt x="254794" y="402431"/>
                      <a:pt x="328613" y="402431"/>
                    </a:cubicBezTo>
                    <a:cubicBezTo>
                      <a:pt x="328613" y="323374"/>
                      <a:pt x="328613" y="244793"/>
                      <a:pt x="328613" y="159068"/>
                    </a:cubicBezTo>
                    <a:cubicBezTo>
                      <a:pt x="374809" y="204788"/>
                      <a:pt x="415766" y="245745"/>
                      <a:pt x="457200" y="286703"/>
                    </a:cubicBezTo>
                    <a:cubicBezTo>
                      <a:pt x="498158" y="327184"/>
                      <a:pt x="539115" y="368141"/>
                      <a:pt x="580073" y="408146"/>
                    </a:cubicBezTo>
                    <a:cubicBezTo>
                      <a:pt x="582454" y="406241"/>
                      <a:pt x="585311" y="404813"/>
                      <a:pt x="587693" y="402908"/>
                    </a:cubicBezTo>
                    <a:cubicBezTo>
                      <a:pt x="587693" y="324326"/>
                      <a:pt x="587693" y="245745"/>
                      <a:pt x="587693" y="160973"/>
                    </a:cubicBezTo>
                    <a:cubicBezTo>
                      <a:pt x="597694" y="170021"/>
                      <a:pt x="603409" y="174784"/>
                      <a:pt x="608648" y="180023"/>
                    </a:cubicBezTo>
                    <a:cubicBezTo>
                      <a:pt x="674847" y="245745"/>
                      <a:pt x="741522" y="311468"/>
                      <a:pt x="807244" y="377666"/>
                    </a:cubicBezTo>
                    <a:cubicBezTo>
                      <a:pt x="822960" y="393383"/>
                      <a:pt x="836772" y="411956"/>
                      <a:pt x="863918" y="402908"/>
                    </a:cubicBezTo>
                    <a:cubicBezTo>
                      <a:pt x="863918" y="504825"/>
                      <a:pt x="863918" y="603409"/>
                      <a:pt x="863918" y="703421"/>
                    </a:cubicBezTo>
                    <a:cubicBezTo>
                      <a:pt x="576263" y="703421"/>
                      <a:pt x="289084" y="703421"/>
                      <a:pt x="0" y="703421"/>
                    </a:cubicBezTo>
                    <a:cubicBezTo>
                      <a:pt x="0" y="604838"/>
                      <a:pt x="0" y="506254"/>
                      <a:pt x="0" y="405289"/>
                    </a:cubicBezTo>
                    <a:cubicBezTo>
                      <a:pt x="17145" y="405289"/>
                      <a:pt x="35242" y="405289"/>
                      <a:pt x="57150" y="405289"/>
                    </a:cubicBezTo>
                    <a:cubicBezTo>
                      <a:pt x="57150" y="268605"/>
                      <a:pt x="57150" y="134303"/>
                      <a:pt x="57150" y="476"/>
                    </a:cubicBezTo>
                    <a:cubicBezTo>
                      <a:pt x="75248" y="0"/>
                      <a:pt x="92869" y="0"/>
                      <a:pt x="110014" y="0"/>
                    </a:cubicBezTo>
                    <a:close/>
                    <a:moveTo>
                      <a:pt x="102870" y="642461"/>
                    </a:moveTo>
                    <a:cubicBezTo>
                      <a:pt x="124778" y="642461"/>
                      <a:pt x="144780" y="642461"/>
                      <a:pt x="165259" y="642461"/>
                    </a:cubicBezTo>
                    <a:cubicBezTo>
                      <a:pt x="165259" y="621506"/>
                      <a:pt x="165259" y="602933"/>
                      <a:pt x="165259" y="582454"/>
                    </a:cubicBezTo>
                    <a:cubicBezTo>
                      <a:pt x="143828" y="582454"/>
                      <a:pt x="124301" y="582454"/>
                      <a:pt x="102870" y="582454"/>
                    </a:cubicBezTo>
                    <a:cubicBezTo>
                      <a:pt x="102870" y="602933"/>
                      <a:pt x="102870" y="621506"/>
                      <a:pt x="102870" y="642461"/>
                    </a:cubicBezTo>
                    <a:close/>
                    <a:moveTo>
                      <a:pt x="284798" y="582454"/>
                    </a:moveTo>
                    <a:cubicBezTo>
                      <a:pt x="262890" y="582454"/>
                      <a:pt x="243840" y="582454"/>
                      <a:pt x="223838" y="582454"/>
                    </a:cubicBezTo>
                    <a:cubicBezTo>
                      <a:pt x="223838" y="603885"/>
                      <a:pt x="223838" y="623888"/>
                      <a:pt x="223838" y="642938"/>
                    </a:cubicBezTo>
                    <a:cubicBezTo>
                      <a:pt x="245269" y="642938"/>
                      <a:pt x="264795" y="642938"/>
                      <a:pt x="284798" y="642938"/>
                    </a:cubicBezTo>
                    <a:cubicBezTo>
                      <a:pt x="284798" y="621983"/>
                      <a:pt x="284798" y="603409"/>
                      <a:pt x="284798" y="582454"/>
                    </a:cubicBezTo>
                    <a:close/>
                    <a:moveTo>
                      <a:pt x="102870" y="466249"/>
                    </a:moveTo>
                    <a:cubicBezTo>
                      <a:pt x="102870" y="487204"/>
                      <a:pt x="102870" y="506254"/>
                      <a:pt x="102870" y="527209"/>
                    </a:cubicBezTo>
                    <a:cubicBezTo>
                      <a:pt x="124301" y="527209"/>
                      <a:pt x="143828" y="527209"/>
                      <a:pt x="165259" y="527209"/>
                    </a:cubicBezTo>
                    <a:cubicBezTo>
                      <a:pt x="165259" y="506254"/>
                      <a:pt x="165259" y="487204"/>
                      <a:pt x="165259" y="466249"/>
                    </a:cubicBezTo>
                    <a:cubicBezTo>
                      <a:pt x="143828" y="466249"/>
                      <a:pt x="123825" y="466249"/>
                      <a:pt x="102870" y="466249"/>
                    </a:cubicBezTo>
                    <a:close/>
                    <a:moveTo>
                      <a:pt x="222885" y="465773"/>
                    </a:moveTo>
                    <a:cubicBezTo>
                      <a:pt x="222885" y="486728"/>
                      <a:pt x="222885" y="506254"/>
                      <a:pt x="222885" y="526733"/>
                    </a:cubicBezTo>
                    <a:cubicBezTo>
                      <a:pt x="244316" y="526733"/>
                      <a:pt x="263843" y="526733"/>
                      <a:pt x="284321" y="526733"/>
                    </a:cubicBezTo>
                    <a:cubicBezTo>
                      <a:pt x="284321" y="505301"/>
                      <a:pt x="284321" y="486251"/>
                      <a:pt x="284321" y="465773"/>
                    </a:cubicBezTo>
                    <a:cubicBezTo>
                      <a:pt x="263843" y="465773"/>
                      <a:pt x="245269" y="465773"/>
                      <a:pt x="222885" y="465773"/>
                    </a:cubicBezTo>
                    <a:close/>
                    <a:moveTo>
                      <a:pt x="760572" y="581978"/>
                    </a:moveTo>
                    <a:cubicBezTo>
                      <a:pt x="739140" y="581978"/>
                      <a:pt x="720566" y="581978"/>
                      <a:pt x="700564" y="581978"/>
                    </a:cubicBezTo>
                    <a:cubicBezTo>
                      <a:pt x="700564" y="602456"/>
                      <a:pt x="700564" y="621983"/>
                      <a:pt x="700564" y="642938"/>
                    </a:cubicBezTo>
                    <a:cubicBezTo>
                      <a:pt x="720566" y="642938"/>
                      <a:pt x="739616" y="642938"/>
                      <a:pt x="760572" y="642938"/>
                    </a:cubicBezTo>
                    <a:cubicBezTo>
                      <a:pt x="760572" y="622459"/>
                      <a:pt x="760572" y="603409"/>
                      <a:pt x="760572" y="581978"/>
                    </a:cubicBezTo>
                    <a:close/>
                    <a:moveTo>
                      <a:pt x="581501" y="581978"/>
                    </a:moveTo>
                    <a:cubicBezTo>
                      <a:pt x="581501" y="603885"/>
                      <a:pt x="581501" y="623411"/>
                      <a:pt x="581501" y="643414"/>
                    </a:cubicBezTo>
                    <a:cubicBezTo>
                      <a:pt x="601980" y="643414"/>
                      <a:pt x="621506" y="643414"/>
                      <a:pt x="640556" y="643414"/>
                    </a:cubicBezTo>
                    <a:cubicBezTo>
                      <a:pt x="640556" y="621983"/>
                      <a:pt x="640556" y="602456"/>
                      <a:pt x="640556" y="581978"/>
                    </a:cubicBezTo>
                    <a:cubicBezTo>
                      <a:pt x="620554" y="581978"/>
                      <a:pt x="601980" y="581978"/>
                      <a:pt x="581501" y="581978"/>
                    </a:cubicBezTo>
                    <a:close/>
                    <a:moveTo>
                      <a:pt x="522446" y="582454"/>
                    </a:moveTo>
                    <a:cubicBezTo>
                      <a:pt x="500539" y="582454"/>
                      <a:pt x="481489" y="582454"/>
                      <a:pt x="462439" y="582454"/>
                    </a:cubicBezTo>
                    <a:cubicBezTo>
                      <a:pt x="462439" y="603885"/>
                      <a:pt x="462439" y="622935"/>
                      <a:pt x="462439" y="642938"/>
                    </a:cubicBezTo>
                    <a:cubicBezTo>
                      <a:pt x="483394" y="642938"/>
                      <a:pt x="502444" y="642938"/>
                      <a:pt x="522446" y="642938"/>
                    </a:cubicBezTo>
                    <a:cubicBezTo>
                      <a:pt x="522446" y="622459"/>
                      <a:pt x="522446" y="602933"/>
                      <a:pt x="522446" y="582454"/>
                    </a:cubicBezTo>
                    <a:close/>
                    <a:moveTo>
                      <a:pt x="403384" y="583406"/>
                    </a:moveTo>
                    <a:cubicBezTo>
                      <a:pt x="381000" y="583406"/>
                      <a:pt x="361950" y="583406"/>
                      <a:pt x="342900" y="583406"/>
                    </a:cubicBezTo>
                    <a:cubicBezTo>
                      <a:pt x="342900" y="604838"/>
                      <a:pt x="342900" y="623411"/>
                      <a:pt x="342900" y="642461"/>
                    </a:cubicBezTo>
                    <a:cubicBezTo>
                      <a:pt x="363855" y="642461"/>
                      <a:pt x="383858" y="642461"/>
                      <a:pt x="403384" y="642461"/>
                    </a:cubicBezTo>
                    <a:cubicBezTo>
                      <a:pt x="403384" y="621506"/>
                      <a:pt x="403384" y="602933"/>
                      <a:pt x="403384" y="583406"/>
                    </a:cubicBezTo>
                    <a:close/>
                    <a:moveTo>
                      <a:pt x="342424" y="527209"/>
                    </a:moveTo>
                    <a:cubicBezTo>
                      <a:pt x="364808" y="527209"/>
                      <a:pt x="383858" y="527209"/>
                      <a:pt x="403384" y="527209"/>
                    </a:cubicBezTo>
                    <a:cubicBezTo>
                      <a:pt x="403384" y="506254"/>
                      <a:pt x="403384" y="486728"/>
                      <a:pt x="403384" y="466249"/>
                    </a:cubicBezTo>
                    <a:cubicBezTo>
                      <a:pt x="382429" y="466249"/>
                      <a:pt x="362426" y="466249"/>
                      <a:pt x="342424" y="466249"/>
                    </a:cubicBezTo>
                    <a:cubicBezTo>
                      <a:pt x="342424" y="487204"/>
                      <a:pt x="342424" y="506730"/>
                      <a:pt x="342424" y="527209"/>
                    </a:cubicBezTo>
                    <a:close/>
                    <a:moveTo>
                      <a:pt x="581978" y="465296"/>
                    </a:moveTo>
                    <a:cubicBezTo>
                      <a:pt x="581978" y="487680"/>
                      <a:pt x="581978" y="507683"/>
                      <a:pt x="581978" y="527685"/>
                    </a:cubicBezTo>
                    <a:cubicBezTo>
                      <a:pt x="602933" y="527685"/>
                      <a:pt x="621506" y="527685"/>
                      <a:pt x="641033" y="527685"/>
                    </a:cubicBezTo>
                    <a:cubicBezTo>
                      <a:pt x="641033" y="506254"/>
                      <a:pt x="641033" y="486251"/>
                      <a:pt x="641033" y="465296"/>
                    </a:cubicBezTo>
                    <a:cubicBezTo>
                      <a:pt x="621030" y="465296"/>
                      <a:pt x="602456" y="465296"/>
                      <a:pt x="581978" y="465296"/>
                    </a:cubicBezTo>
                    <a:close/>
                    <a:moveTo>
                      <a:pt x="700564" y="465773"/>
                    </a:moveTo>
                    <a:cubicBezTo>
                      <a:pt x="700564" y="488156"/>
                      <a:pt x="700564" y="507683"/>
                      <a:pt x="700564" y="527209"/>
                    </a:cubicBezTo>
                    <a:cubicBezTo>
                      <a:pt x="721519" y="527209"/>
                      <a:pt x="740569" y="527209"/>
                      <a:pt x="760095" y="527209"/>
                    </a:cubicBezTo>
                    <a:cubicBezTo>
                      <a:pt x="760095" y="505778"/>
                      <a:pt x="760095" y="485775"/>
                      <a:pt x="760095" y="465773"/>
                    </a:cubicBezTo>
                    <a:cubicBezTo>
                      <a:pt x="739616" y="465773"/>
                      <a:pt x="721043" y="465773"/>
                      <a:pt x="700564" y="465773"/>
                    </a:cubicBezTo>
                    <a:close/>
                    <a:moveTo>
                      <a:pt x="462439" y="465773"/>
                    </a:moveTo>
                    <a:cubicBezTo>
                      <a:pt x="462439" y="487204"/>
                      <a:pt x="462439" y="507206"/>
                      <a:pt x="462439" y="527209"/>
                    </a:cubicBezTo>
                    <a:cubicBezTo>
                      <a:pt x="483394" y="527209"/>
                      <a:pt x="502444" y="527209"/>
                      <a:pt x="521970" y="527209"/>
                    </a:cubicBezTo>
                    <a:cubicBezTo>
                      <a:pt x="521970" y="505301"/>
                      <a:pt x="521970" y="485299"/>
                      <a:pt x="521970" y="465773"/>
                    </a:cubicBezTo>
                    <a:cubicBezTo>
                      <a:pt x="501015" y="465773"/>
                      <a:pt x="482441" y="465773"/>
                      <a:pt x="462439" y="465773"/>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70" name="Freeform: Shape 269">
                <a:extLst>
                  <a:ext uri="{FF2B5EF4-FFF2-40B4-BE49-F238E27FC236}">
                    <a16:creationId xmlns:a16="http://schemas.microsoft.com/office/drawing/2014/main" id="{B0E2A258-A1B0-4111-81F7-2AC8EE396030}"/>
                  </a:ext>
                </a:extLst>
              </p:cNvPr>
              <p:cNvSpPr/>
              <p:nvPr/>
            </p:nvSpPr>
            <p:spPr>
              <a:xfrm>
                <a:off x="2800056" y="2978205"/>
                <a:ext cx="663212" cy="538167"/>
              </a:xfrm>
              <a:custGeom>
                <a:avLst/>
                <a:gdLst>
                  <a:gd name="connsiteX0" fmla="*/ 270783 w 663212"/>
                  <a:gd name="connsiteY0" fmla="*/ 439579 h 538167"/>
                  <a:gd name="connsiteX1" fmla="*/ 162674 w 663212"/>
                  <a:gd name="connsiteY1" fmla="*/ 537686 h 538167"/>
                  <a:gd name="connsiteX2" fmla="*/ 70758 w 663212"/>
                  <a:gd name="connsiteY2" fmla="*/ 438150 h 538167"/>
                  <a:gd name="connsiteX3" fmla="*/ 22180 w 663212"/>
                  <a:gd name="connsiteY3" fmla="*/ 437198 h 538167"/>
                  <a:gd name="connsiteX4" fmla="*/ 273 w 663212"/>
                  <a:gd name="connsiteY4" fmla="*/ 420529 h 538167"/>
                  <a:gd name="connsiteX5" fmla="*/ 10750 w 663212"/>
                  <a:gd name="connsiteY5" fmla="*/ 397193 h 538167"/>
                  <a:gd name="connsiteX6" fmla="*/ 22180 w 663212"/>
                  <a:gd name="connsiteY6" fmla="*/ 372904 h 538167"/>
                  <a:gd name="connsiteX7" fmla="*/ 25990 w 663212"/>
                  <a:gd name="connsiteY7" fmla="*/ 228600 h 538167"/>
                  <a:gd name="connsiteX8" fmla="*/ 45040 w 663212"/>
                  <a:gd name="connsiteY8" fmla="*/ 187643 h 538167"/>
                  <a:gd name="connsiteX9" fmla="*/ 116001 w 663212"/>
                  <a:gd name="connsiteY9" fmla="*/ 117634 h 538167"/>
                  <a:gd name="connsiteX10" fmla="*/ 165055 w 663212"/>
                  <a:gd name="connsiteY10" fmla="*/ 98584 h 538167"/>
                  <a:gd name="connsiteX11" fmla="*/ 221253 w 663212"/>
                  <a:gd name="connsiteY11" fmla="*/ 98108 h 538167"/>
                  <a:gd name="connsiteX12" fmla="*/ 221253 w 663212"/>
                  <a:gd name="connsiteY12" fmla="*/ 29528 h 538167"/>
                  <a:gd name="connsiteX13" fmla="*/ 249828 w 663212"/>
                  <a:gd name="connsiteY13" fmla="*/ 0 h 538167"/>
                  <a:gd name="connsiteX14" fmla="*/ 634638 w 663212"/>
                  <a:gd name="connsiteY14" fmla="*/ 0 h 538167"/>
                  <a:gd name="connsiteX15" fmla="*/ 663213 w 663212"/>
                  <a:gd name="connsiteY15" fmla="*/ 32385 h 538167"/>
                  <a:gd name="connsiteX16" fmla="*/ 663213 w 663212"/>
                  <a:gd name="connsiteY16" fmla="*/ 410051 h 538167"/>
                  <a:gd name="connsiteX17" fmla="*/ 634638 w 663212"/>
                  <a:gd name="connsiteY17" fmla="*/ 438626 h 538167"/>
                  <a:gd name="connsiteX18" fmla="*/ 610825 w 663212"/>
                  <a:gd name="connsiteY18" fmla="*/ 458629 h 538167"/>
                  <a:gd name="connsiteX19" fmla="*/ 517956 w 663212"/>
                  <a:gd name="connsiteY19" fmla="*/ 538163 h 538167"/>
                  <a:gd name="connsiteX20" fmla="*/ 422230 w 663212"/>
                  <a:gd name="connsiteY20" fmla="*/ 459581 h 538167"/>
                  <a:gd name="connsiteX21" fmla="*/ 396513 w 663212"/>
                  <a:gd name="connsiteY21" fmla="*/ 438626 h 538167"/>
                  <a:gd name="connsiteX22" fmla="*/ 277926 w 663212"/>
                  <a:gd name="connsiteY22" fmla="*/ 439103 h 538167"/>
                  <a:gd name="connsiteX23" fmla="*/ 270783 w 663212"/>
                  <a:gd name="connsiteY23" fmla="*/ 439579 h 538167"/>
                  <a:gd name="connsiteX24" fmla="*/ 65995 w 663212"/>
                  <a:gd name="connsiteY24" fmla="*/ 245269 h 538167"/>
                  <a:gd name="connsiteX25" fmla="*/ 220300 w 663212"/>
                  <a:gd name="connsiteY25" fmla="*/ 245269 h 538167"/>
                  <a:gd name="connsiteX26" fmla="*/ 220300 w 663212"/>
                  <a:gd name="connsiteY26" fmla="*/ 141446 h 538167"/>
                  <a:gd name="connsiteX27" fmla="*/ 140766 w 663212"/>
                  <a:gd name="connsiteY27" fmla="*/ 155258 h 538167"/>
                  <a:gd name="connsiteX28" fmla="*/ 65995 w 663212"/>
                  <a:gd name="connsiteY28" fmla="*/ 245269 h 538167"/>
                  <a:gd name="connsiteX29" fmla="*/ 169818 w 663212"/>
                  <a:gd name="connsiteY29" fmla="*/ 491490 h 538167"/>
                  <a:gd name="connsiteX30" fmla="*/ 221729 w 663212"/>
                  <a:gd name="connsiteY30" fmla="*/ 441960 h 538167"/>
                  <a:gd name="connsiteX31" fmla="*/ 169341 w 663212"/>
                  <a:gd name="connsiteY31" fmla="*/ 389573 h 538167"/>
                  <a:gd name="connsiteX32" fmla="*/ 118383 w 663212"/>
                  <a:gd name="connsiteY32" fmla="*/ 441008 h 538167"/>
                  <a:gd name="connsiteX33" fmla="*/ 169818 w 663212"/>
                  <a:gd name="connsiteY33" fmla="*/ 491490 h 538167"/>
                  <a:gd name="connsiteX34" fmla="*/ 567963 w 663212"/>
                  <a:gd name="connsiteY34" fmla="*/ 441960 h 538167"/>
                  <a:gd name="connsiteX35" fmla="*/ 517956 w 663212"/>
                  <a:gd name="connsiteY35" fmla="*/ 390049 h 538167"/>
                  <a:gd name="connsiteX36" fmla="*/ 464616 w 663212"/>
                  <a:gd name="connsiteY36" fmla="*/ 441484 h 538167"/>
                  <a:gd name="connsiteX37" fmla="*/ 516528 w 663212"/>
                  <a:gd name="connsiteY37" fmla="*/ 491490 h 538167"/>
                  <a:gd name="connsiteX38" fmla="*/ 567963 w 663212"/>
                  <a:gd name="connsiteY38" fmla="*/ 441960 h 53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63212" h="538167">
                    <a:moveTo>
                      <a:pt x="270783" y="439579"/>
                    </a:moveTo>
                    <a:cubicBezTo>
                      <a:pt x="243160" y="515303"/>
                      <a:pt x="214109" y="541496"/>
                      <a:pt x="162674" y="537686"/>
                    </a:cubicBezTo>
                    <a:cubicBezTo>
                      <a:pt x="114573" y="533876"/>
                      <a:pt x="83616" y="501015"/>
                      <a:pt x="70758" y="438150"/>
                    </a:cubicBezTo>
                    <a:cubicBezTo>
                      <a:pt x="55041" y="438150"/>
                      <a:pt x="38373" y="440055"/>
                      <a:pt x="22180" y="437198"/>
                    </a:cubicBezTo>
                    <a:cubicBezTo>
                      <a:pt x="14084" y="435769"/>
                      <a:pt x="3130" y="428149"/>
                      <a:pt x="273" y="420529"/>
                    </a:cubicBezTo>
                    <a:cubicBezTo>
                      <a:pt x="-1632" y="414814"/>
                      <a:pt x="6940" y="404813"/>
                      <a:pt x="10750" y="397193"/>
                    </a:cubicBezTo>
                    <a:cubicBezTo>
                      <a:pt x="14560" y="389096"/>
                      <a:pt x="21704" y="381476"/>
                      <a:pt x="22180" y="372904"/>
                    </a:cubicBezTo>
                    <a:cubicBezTo>
                      <a:pt x="24085" y="324803"/>
                      <a:pt x="22656" y="276225"/>
                      <a:pt x="25990" y="228600"/>
                    </a:cubicBezTo>
                    <a:cubicBezTo>
                      <a:pt x="26943" y="214313"/>
                      <a:pt x="35515" y="198596"/>
                      <a:pt x="45040" y="187643"/>
                    </a:cubicBezTo>
                    <a:cubicBezTo>
                      <a:pt x="66948" y="162878"/>
                      <a:pt x="90284" y="138589"/>
                      <a:pt x="116001" y="117634"/>
                    </a:cubicBezTo>
                    <a:cubicBezTo>
                      <a:pt x="128860" y="107156"/>
                      <a:pt x="147910" y="101918"/>
                      <a:pt x="165055" y="98584"/>
                    </a:cubicBezTo>
                    <a:cubicBezTo>
                      <a:pt x="182676" y="95250"/>
                      <a:pt x="200774" y="98108"/>
                      <a:pt x="221253" y="98108"/>
                    </a:cubicBezTo>
                    <a:cubicBezTo>
                      <a:pt x="221253" y="73343"/>
                      <a:pt x="221729" y="51435"/>
                      <a:pt x="221253" y="29528"/>
                    </a:cubicBezTo>
                    <a:cubicBezTo>
                      <a:pt x="220776" y="10001"/>
                      <a:pt x="230301" y="0"/>
                      <a:pt x="249828" y="0"/>
                    </a:cubicBezTo>
                    <a:cubicBezTo>
                      <a:pt x="377939" y="0"/>
                      <a:pt x="506526" y="0"/>
                      <a:pt x="634638" y="0"/>
                    </a:cubicBezTo>
                    <a:cubicBezTo>
                      <a:pt x="656545" y="0"/>
                      <a:pt x="663213" y="12859"/>
                      <a:pt x="663213" y="32385"/>
                    </a:cubicBezTo>
                    <a:cubicBezTo>
                      <a:pt x="663213" y="158115"/>
                      <a:pt x="663213" y="283845"/>
                      <a:pt x="663213" y="410051"/>
                    </a:cubicBezTo>
                    <a:cubicBezTo>
                      <a:pt x="663213" y="429578"/>
                      <a:pt x="654164" y="439579"/>
                      <a:pt x="634638" y="438626"/>
                    </a:cubicBezTo>
                    <a:cubicBezTo>
                      <a:pt x="619874" y="437674"/>
                      <a:pt x="613206" y="441008"/>
                      <a:pt x="610825" y="458629"/>
                    </a:cubicBezTo>
                    <a:cubicBezTo>
                      <a:pt x="605586" y="502920"/>
                      <a:pt x="563200" y="537686"/>
                      <a:pt x="517956" y="538163"/>
                    </a:cubicBezTo>
                    <a:cubicBezTo>
                      <a:pt x="471284" y="538639"/>
                      <a:pt x="428421" y="505301"/>
                      <a:pt x="422230" y="459581"/>
                    </a:cubicBezTo>
                    <a:cubicBezTo>
                      <a:pt x="419849" y="441008"/>
                      <a:pt x="412229" y="438150"/>
                      <a:pt x="396513" y="438626"/>
                    </a:cubicBezTo>
                    <a:cubicBezTo>
                      <a:pt x="356984" y="439579"/>
                      <a:pt x="317455" y="439103"/>
                      <a:pt x="277926" y="439103"/>
                    </a:cubicBezTo>
                    <a:cubicBezTo>
                      <a:pt x="275069" y="438626"/>
                      <a:pt x="272688" y="439579"/>
                      <a:pt x="270783" y="439579"/>
                    </a:cubicBezTo>
                    <a:close/>
                    <a:moveTo>
                      <a:pt x="65995" y="245269"/>
                    </a:moveTo>
                    <a:cubicBezTo>
                      <a:pt x="120288" y="245269"/>
                      <a:pt x="169818" y="245269"/>
                      <a:pt x="220300" y="245269"/>
                    </a:cubicBezTo>
                    <a:cubicBezTo>
                      <a:pt x="220300" y="210979"/>
                      <a:pt x="220300" y="178118"/>
                      <a:pt x="220300" y="141446"/>
                    </a:cubicBezTo>
                    <a:cubicBezTo>
                      <a:pt x="193154" y="150019"/>
                      <a:pt x="163150" y="129540"/>
                      <a:pt x="140766" y="155258"/>
                    </a:cubicBezTo>
                    <a:cubicBezTo>
                      <a:pt x="116001" y="183356"/>
                      <a:pt x="78854" y="202406"/>
                      <a:pt x="65995" y="245269"/>
                    </a:cubicBezTo>
                    <a:close/>
                    <a:moveTo>
                      <a:pt x="169818" y="491490"/>
                    </a:moveTo>
                    <a:cubicBezTo>
                      <a:pt x="198869" y="491490"/>
                      <a:pt x="221253" y="470535"/>
                      <a:pt x="221729" y="441960"/>
                    </a:cubicBezTo>
                    <a:cubicBezTo>
                      <a:pt x="222205" y="412433"/>
                      <a:pt x="199345" y="389573"/>
                      <a:pt x="169341" y="389573"/>
                    </a:cubicBezTo>
                    <a:cubicBezTo>
                      <a:pt x="141243" y="389573"/>
                      <a:pt x="118383" y="412433"/>
                      <a:pt x="118383" y="441008"/>
                    </a:cubicBezTo>
                    <a:cubicBezTo>
                      <a:pt x="118859" y="469583"/>
                      <a:pt x="140766" y="491490"/>
                      <a:pt x="169818" y="491490"/>
                    </a:cubicBezTo>
                    <a:close/>
                    <a:moveTo>
                      <a:pt x="567963" y="441960"/>
                    </a:moveTo>
                    <a:cubicBezTo>
                      <a:pt x="568439" y="413861"/>
                      <a:pt x="545579" y="390525"/>
                      <a:pt x="517956" y="390049"/>
                    </a:cubicBezTo>
                    <a:cubicBezTo>
                      <a:pt x="489381" y="389573"/>
                      <a:pt x="464140" y="413861"/>
                      <a:pt x="464616" y="441484"/>
                    </a:cubicBezTo>
                    <a:cubicBezTo>
                      <a:pt x="465093" y="469106"/>
                      <a:pt x="487953" y="491490"/>
                      <a:pt x="516528" y="491490"/>
                    </a:cubicBezTo>
                    <a:cubicBezTo>
                      <a:pt x="545579" y="491490"/>
                      <a:pt x="567486" y="470059"/>
                      <a:pt x="567963" y="44196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71" name="Freeform: Shape 270">
                <a:extLst>
                  <a:ext uri="{FF2B5EF4-FFF2-40B4-BE49-F238E27FC236}">
                    <a16:creationId xmlns:a16="http://schemas.microsoft.com/office/drawing/2014/main" id="{B5AD44CF-7188-404D-8AF1-E4C30F58FD36}"/>
                  </a:ext>
                </a:extLst>
              </p:cNvPr>
              <p:cNvSpPr/>
              <p:nvPr/>
            </p:nvSpPr>
            <p:spPr>
              <a:xfrm>
                <a:off x="4071440" y="3634674"/>
                <a:ext cx="310460" cy="239063"/>
              </a:xfrm>
              <a:custGeom>
                <a:avLst/>
                <a:gdLst>
                  <a:gd name="connsiteX0" fmla="*/ 0 w 310460"/>
                  <a:gd name="connsiteY0" fmla="*/ 152681 h 239063"/>
                  <a:gd name="connsiteX1" fmla="*/ 2858 w 310460"/>
                  <a:gd name="connsiteY1" fmla="*/ 96007 h 239063"/>
                  <a:gd name="connsiteX2" fmla="*/ 107156 w 310460"/>
                  <a:gd name="connsiteY2" fmla="*/ 1709 h 239063"/>
                  <a:gd name="connsiteX3" fmla="*/ 215741 w 310460"/>
                  <a:gd name="connsiteY3" fmla="*/ 5043 h 239063"/>
                  <a:gd name="connsiteX4" fmla="*/ 309086 w 310460"/>
                  <a:gd name="connsiteY4" fmla="*/ 109818 h 239063"/>
                  <a:gd name="connsiteX5" fmla="*/ 308610 w 310460"/>
                  <a:gd name="connsiteY5" fmla="*/ 197448 h 239063"/>
                  <a:gd name="connsiteX6" fmla="*/ 289084 w 310460"/>
                  <a:gd name="connsiteY6" fmla="*/ 218403 h 239063"/>
                  <a:gd name="connsiteX7" fmla="*/ 79058 w 310460"/>
                  <a:gd name="connsiteY7" fmla="*/ 230786 h 239063"/>
                  <a:gd name="connsiteX8" fmla="*/ 65246 w 310460"/>
                  <a:gd name="connsiteY8" fmla="*/ 228404 h 239063"/>
                  <a:gd name="connsiteX9" fmla="*/ 0 w 310460"/>
                  <a:gd name="connsiteY9" fmla="*/ 152681 h 239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0460" h="239063">
                    <a:moveTo>
                      <a:pt x="0" y="152681"/>
                    </a:moveTo>
                    <a:cubicBezTo>
                      <a:pt x="953" y="133631"/>
                      <a:pt x="0" y="114580"/>
                      <a:pt x="2858" y="96007"/>
                    </a:cubicBezTo>
                    <a:cubicBezTo>
                      <a:pt x="11906" y="44572"/>
                      <a:pt x="53340" y="5519"/>
                      <a:pt x="107156" y="1709"/>
                    </a:cubicBezTo>
                    <a:cubicBezTo>
                      <a:pt x="142875" y="-1148"/>
                      <a:pt x="180023" y="-672"/>
                      <a:pt x="215741" y="5043"/>
                    </a:cubicBezTo>
                    <a:cubicBezTo>
                      <a:pt x="269081" y="13139"/>
                      <a:pt x="305753" y="56478"/>
                      <a:pt x="309086" y="109818"/>
                    </a:cubicBezTo>
                    <a:cubicBezTo>
                      <a:pt x="310991" y="138869"/>
                      <a:pt x="310991" y="168397"/>
                      <a:pt x="308610" y="197448"/>
                    </a:cubicBezTo>
                    <a:cubicBezTo>
                      <a:pt x="308134" y="205068"/>
                      <a:pt x="297180" y="215546"/>
                      <a:pt x="289084" y="218403"/>
                    </a:cubicBezTo>
                    <a:cubicBezTo>
                      <a:pt x="220504" y="243644"/>
                      <a:pt x="150019" y="243168"/>
                      <a:pt x="79058" y="230786"/>
                    </a:cubicBezTo>
                    <a:cubicBezTo>
                      <a:pt x="74295" y="229833"/>
                      <a:pt x="69533" y="228881"/>
                      <a:pt x="65246" y="228404"/>
                    </a:cubicBezTo>
                    <a:cubicBezTo>
                      <a:pt x="476" y="216974"/>
                      <a:pt x="476" y="216974"/>
                      <a:pt x="0" y="152681"/>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72" name="Freeform: Shape 271">
                <a:extLst>
                  <a:ext uri="{FF2B5EF4-FFF2-40B4-BE49-F238E27FC236}">
                    <a16:creationId xmlns:a16="http://schemas.microsoft.com/office/drawing/2014/main" id="{815D508F-272F-432D-B225-94BC59D509BD}"/>
                  </a:ext>
                </a:extLst>
              </p:cNvPr>
              <p:cNvSpPr/>
              <p:nvPr/>
            </p:nvSpPr>
            <p:spPr>
              <a:xfrm>
                <a:off x="3908563" y="3540412"/>
                <a:ext cx="229076" cy="239798"/>
              </a:xfrm>
              <a:custGeom>
                <a:avLst/>
                <a:gdLst>
                  <a:gd name="connsiteX0" fmla="*/ 196215 w 229076"/>
                  <a:gd name="connsiteY0" fmla="*/ 721 h 239798"/>
                  <a:gd name="connsiteX1" fmla="*/ 229076 w 229076"/>
                  <a:gd name="connsiteY1" fmla="*/ 76921 h 239798"/>
                  <a:gd name="connsiteX2" fmla="*/ 136208 w 229076"/>
                  <a:gd name="connsiteY2" fmla="*/ 239799 h 239798"/>
                  <a:gd name="connsiteX3" fmla="*/ 0 w 229076"/>
                  <a:gd name="connsiteY3" fmla="*/ 212653 h 239798"/>
                  <a:gd name="connsiteX4" fmla="*/ 7144 w 229076"/>
                  <a:gd name="connsiteY4" fmla="*/ 87399 h 239798"/>
                  <a:gd name="connsiteX5" fmla="*/ 104775 w 229076"/>
                  <a:gd name="connsiteY5" fmla="*/ 1198 h 239798"/>
                  <a:gd name="connsiteX6" fmla="*/ 196215 w 229076"/>
                  <a:gd name="connsiteY6" fmla="*/ 721 h 239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076" h="239798">
                    <a:moveTo>
                      <a:pt x="196215" y="721"/>
                    </a:moveTo>
                    <a:cubicBezTo>
                      <a:pt x="207645" y="27391"/>
                      <a:pt x="218123" y="51680"/>
                      <a:pt x="229076" y="76921"/>
                    </a:cubicBezTo>
                    <a:cubicBezTo>
                      <a:pt x="161449" y="105973"/>
                      <a:pt x="132874" y="160741"/>
                      <a:pt x="136208" y="239799"/>
                    </a:cubicBezTo>
                    <a:cubicBezTo>
                      <a:pt x="90011" y="230750"/>
                      <a:pt x="46673" y="222178"/>
                      <a:pt x="0" y="212653"/>
                    </a:cubicBezTo>
                    <a:cubicBezTo>
                      <a:pt x="1905" y="168838"/>
                      <a:pt x="476" y="127404"/>
                      <a:pt x="7144" y="87399"/>
                    </a:cubicBezTo>
                    <a:cubicBezTo>
                      <a:pt x="14764" y="40250"/>
                      <a:pt x="57150" y="5008"/>
                      <a:pt x="104775" y="1198"/>
                    </a:cubicBezTo>
                    <a:cubicBezTo>
                      <a:pt x="136208" y="-1184"/>
                      <a:pt x="168116" y="721"/>
                      <a:pt x="196215" y="721"/>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73" name="Freeform: Shape 272">
                <a:extLst>
                  <a:ext uri="{FF2B5EF4-FFF2-40B4-BE49-F238E27FC236}">
                    <a16:creationId xmlns:a16="http://schemas.microsoft.com/office/drawing/2014/main" id="{EED6BC4F-399A-4CD7-AA51-8A924A0ABF12}"/>
                  </a:ext>
                </a:extLst>
              </p:cNvPr>
              <p:cNvSpPr/>
              <p:nvPr/>
            </p:nvSpPr>
            <p:spPr>
              <a:xfrm>
                <a:off x="4315756" y="3542071"/>
                <a:ext cx="217646" cy="240996"/>
              </a:xfrm>
              <a:custGeom>
                <a:avLst/>
                <a:gdLst>
                  <a:gd name="connsiteX0" fmla="*/ 0 w 217646"/>
                  <a:gd name="connsiteY0" fmla="*/ 75262 h 240996"/>
                  <a:gd name="connsiteX1" fmla="*/ 30956 w 217646"/>
                  <a:gd name="connsiteY1" fmla="*/ 1443 h 240996"/>
                  <a:gd name="connsiteX2" fmla="*/ 125254 w 217646"/>
                  <a:gd name="connsiteY2" fmla="*/ 2395 h 240996"/>
                  <a:gd name="connsiteX3" fmla="*/ 217170 w 217646"/>
                  <a:gd name="connsiteY3" fmla="*/ 112885 h 240996"/>
                  <a:gd name="connsiteX4" fmla="*/ 216694 w 217646"/>
                  <a:gd name="connsiteY4" fmla="*/ 193372 h 240996"/>
                  <a:gd name="connsiteX5" fmla="*/ 204311 w 217646"/>
                  <a:gd name="connsiteY5" fmla="*/ 212422 h 240996"/>
                  <a:gd name="connsiteX6" fmla="*/ 90488 w 217646"/>
                  <a:gd name="connsiteY6" fmla="*/ 240997 h 240996"/>
                  <a:gd name="connsiteX7" fmla="*/ 0 w 217646"/>
                  <a:gd name="connsiteY7" fmla="*/ 75262 h 240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7646" h="240996">
                    <a:moveTo>
                      <a:pt x="0" y="75262"/>
                    </a:moveTo>
                    <a:cubicBezTo>
                      <a:pt x="10954" y="49068"/>
                      <a:pt x="20955" y="25255"/>
                      <a:pt x="30956" y="1443"/>
                    </a:cubicBezTo>
                    <a:cubicBezTo>
                      <a:pt x="60960" y="1443"/>
                      <a:pt x="93821" y="-2367"/>
                      <a:pt x="125254" y="2395"/>
                    </a:cubicBezTo>
                    <a:cubicBezTo>
                      <a:pt x="179546" y="10968"/>
                      <a:pt x="216218" y="58117"/>
                      <a:pt x="217170" y="112885"/>
                    </a:cubicBezTo>
                    <a:cubicBezTo>
                      <a:pt x="217646" y="139555"/>
                      <a:pt x="218123" y="166702"/>
                      <a:pt x="216694" y="193372"/>
                    </a:cubicBezTo>
                    <a:cubicBezTo>
                      <a:pt x="216218" y="200039"/>
                      <a:pt x="210026" y="210993"/>
                      <a:pt x="204311" y="212422"/>
                    </a:cubicBezTo>
                    <a:cubicBezTo>
                      <a:pt x="168116" y="222423"/>
                      <a:pt x="131921" y="230995"/>
                      <a:pt x="90488" y="240997"/>
                    </a:cubicBezTo>
                    <a:cubicBezTo>
                      <a:pt x="97155" y="160034"/>
                      <a:pt x="68104" y="105265"/>
                      <a:pt x="0" y="75262"/>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74" name="Freeform: Shape 273">
                <a:extLst>
                  <a:ext uri="{FF2B5EF4-FFF2-40B4-BE49-F238E27FC236}">
                    <a16:creationId xmlns:a16="http://schemas.microsoft.com/office/drawing/2014/main" id="{25EECE76-803F-45EB-A067-E10BA04866C5}"/>
                  </a:ext>
                </a:extLst>
              </p:cNvPr>
              <p:cNvSpPr/>
              <p:nvPr/>
            </p:nvSpPr>
            <p:spPr>
              <a:xfrm>
                <a:off x="4137639" y="3444930"/>
                <a:ext cx="178133" cy="180038"/>
              </a:xfrm>
              <a:custGeom>
                <a:avLst/>
                <a:gdLst>
                  <a:gd name="connsiteX0" fmla="*/ 0 w 178133"/>
                  <a:gd name="connsiteY0" fmla="*/ 89535 h 180038"/>
                  <a:gd name="connsiteX1" fmla="*/ 88583 w 178133"/>
                  <a:gd name="connsiteY1" fmla="*/ 0 h 180038"/>
                  <a:gd name="connsiteX2" fmla="*/ 178118 w 178133"/>
                  <a:gd name="connsiteY2" fmla="*/ 91440 h 180038"/>
                  <a:gd name="connsiteX3" fmla="*/ 88106 w 178133"/>
                  <a:gd name="connsiteY3" fmla="*/ 180023 h 180038"/>
                  <a:gd name="connsiteX4" fmla="*/ 0 w 178133"/>
                  <a:gd name="connsiteY4" fmla="*/ 89535 h 180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133" h="180038">
                    <a:moveTo>
                      <a:pt x="0" y="89535"/>
                    </a:moveTo>
                    <a:cubicBezTo>
                      <a:pt x="476" y="40958"/>
                      <a:pt x="40958" y="0"/>
                      <a:pt x="88583" y="0"/>
                    </a:cubicBezTo>
                    <a:cubicBezTo>
                      <a:pt x="137160" y="0"/>
                      <a:pt x="179070" y="42863"/>
                      <a:pt x="178118" y="91440"/>
                    </a:cubicBezTo>
                    <a:cubicBezTo>
                      <a:pt x="177165" y="139065"/>
                      <a:pt x="134779" y="180975"/>
                      <a:pt x="88106" y="180023"/>
                    </a:cubicBezTo>
                    <a:cubicBezTo>
                      <a:pt x="40005" y="178594"/>
                      <a:pt x="0" y="137636"/>
                      <a:pt x="0" y="89535"/>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75" name="Freeform: Shape 274">
                <a:extLst>
                  <a:ext uri="{FF2B5EF4-FFF2-40B4-BE49-F238E27FC236}">
                    <a16:creationId xmlns:a16="http://schemas.microsoft.com/office/drawing/2014/main" id="{228B23D9-12C7-4044-9FF0-4174C817DDB5}"/>
                  </a:ext>
                </a:extLst>
              </p:cNvPr>
              <p:cNvSpPr/>
              <p:nvPr/>
            </p:nvSpPr>
            <p:spPr>
              <a:xfrm>
                <a:off x="3976666" y="3349653"/>
                <a:ext cx="176563" cy="180173"/>
              </a:xfrm>
              <a:custGeom>
                <a:avLst/>
                <a:gdLst>
                  <a:gd name="connsiteX0" fmla="*/ 0 w 176563"/>
                  <a:gd name="connsiteY0" fmla="*/ 89563 h 180173"/>
                  <a:gd name="connsiteX1" fmla="*/ 79058 w 176563"/>
                  <a:gd name="connsiteY1" fmla="*/ 504 h 180173"/>
                  <a:gd name="connsiteX2" fmla="*/ 174308 w 176563"/>
                  <a:gd name="connsiteY2" fmla="*/ 66226 h 180173"/>
                  <a:gd name="connsiteX3" fmla="*/ 166211 w 176563"/>
                  <a:gd name="connsiteY3" fmla="*/ 105279 h 180173"/>
                  <a:gd name="connsiteX4" fmla="*/ 140970 w 176563"/>
                  <a:gd name="connsiteY4" fmla="*/ 144808 h 180173"/>
                  <a:gd name="connsiteX5" fmla="*/ 85249 w 176563"/>
                  <a:gd name="connsiteY5" fmla="*/ 180050 h 180173"/>
                  <a:gd name="connsiteX6" fmla="*/ 0 w 176563"/>
                  <a:gd name="connsiteY6" fmla="*/ 89563 h 18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563" h="180173">
                    <a:moveTo>
                      <a:pt x="0" y="89563"/>
                    </a:moveTo>
                    <a:cubicBezTo>
                      <a:pt x="0" y="44319"/>
                      <a:pt x="33814" y="6219"/>
                      <a:pt x="79058" y="504"/>
                    </a:cubicBezTo>
                    <a:cubicBezTo>
                      <a:pt x="120015" y="-4258"/>
                      <a:pt x="162878" y="25269"/>
                      <a:pt x="174308" y="66226"/>
                    </a:cubicBezTo>
                    <a:cubicBezTo>
                      <a:pt x="178118" y="80514"/>
                      <a:pt x="178118" y="92897"/>
                      <a:pt x="166211" y="105279"/>
                    </a:cubicBezTo>
                    <a:cubicBezTo>
                      <a:pt x="155734" y="116233"/>
                      <a:pt x="147161" y="130520"/>
                      <a:pt x="140970" y="144808"/>
                    </a:cubicBezTo>
                    <a:cubicBezTo>
                      <a:pt x="130016" y="170525"/>
                      <a:pt x="113824" y="181479"/>
                      <a:pt x="85249" y="180050"/>
                    </a:cubicBezTo>
                    <a:cubicBezTo>
                      <a:pt x="37148" y="177193"/>
                      <a:pt x="0" y="137664"/>
                      <a:pt x="0" y="89563"/>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76" name="Freeform: Shape 275">
                <a:extLst>
                  <a:ext uri="{FF2B5EF4-FFF2-40B4-BE49-F238E27FC236}">
                    <a16:creationId xmlns:a16="http://schemas.microsoft.com/office/drawing/2014/main" id="{C1D78920-9877-495B-91D0-1A368E8CA9B4}"/>
                  </a:ext>
                </a:extLst>
              </p:cNvPr>
              <p:cNvSpPr/>
              <p:nvPr/>
            </p:nvSpPr>
            <p:spPr>
              <a:xfrm>
                <a:off x="4292115" y="3349203"/>
                <a:ext cx="175092" cy="179440"/>
              </a:xfrm>
              <a:custGeom>
                <a:avLst/>
                <a:gdLst>
                  <a:gd name="connsiteX0" fmla="*/ 175089 w 175092"/>
                  <a:gd name="connsiteY0" fmla="*/ 89536 h 179440"/>
                  <a:gd name="connsiteX1" fmla="*/ 68886 w 175092"/>
                  <a:gd name="connsiteY1" fmla="*/ 177166 h 179440"/>
                  <a:gd name="connsiteX2" fmla="*/ 47931 w 175092"/>
                  <a:gd name="connsiteY2" fmla="*/ 159069 h 179440"/>
                  <a:gd name="connsiteX3" fmla="*/ 6973 w 175092"/>
                  <a:gd name="connsiteY3" fmla="*/ 94299 h 179440"/>
                  <a:gd name="connsiteX4" fmla="*/ 306 w 175092"/>
                  <a:gd name="connsiteY4" fmla="*/ 69534 h 179440"/>
                  <a:gd name="connsiteX5" fmla="*/ 95556 w 175092"/>
                  <a:gd name="connsiteY5" fmla="*/ 477 h 179440"/>
                  <a:gd name="connsiteX6" fmla="*/ 175089 w 175092"/>
                  <a:gd name="connsiteY6" fmla="*/ 89536 h 17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092" h="179440">
                    <a:moveTo>
                      <a:pt x="175089" y="89536"/>
                    </a:moveTo>
                    <a:cubicBezTo>
                      <a:pt x="175566" y="146686"/>
                      <a:pt x="123178" y="190025"/>
                      <a:pt x="68886" y="177166"/>
                    </a:cubicBezTo>
                    <a:cubicBezTo>
                      <a:pt x="60789" y="175261"/>
                      <a:pt x="53169" y="166689"/>
                      <a:pt x="47931" y="159069"/>
                    </a:cubicBezTo>
                    <a:cubicBezTo>
                      <a:pt x="33643" y="138114"/>
                      <a:pt x="19832" y="116206"/>
                      <a:pt x="6973" y="94299"/>
                    </a:cubicBezTo>
                    <a:cubicBezTo>
                      <a:pt x="2687" y="87155"/>
                      <a:pt x="-1123" y="77154"/>
                      <a:pt x="306" y="69534"/>
                    </a:cubicBezTo>
                    <a:cubicBezTo>
                      <a:pt x="9354" y="27147"/>
                      <a:pt x="53646" y="-4285"/>
                      <a:pt x="95556" y="477"/>
                    </a:cubicBezTo>
                    <a:cubicBezTo>
                      <a:pt x="140799" y="6669"/>
                      <a:pt x="175089" y="44293"/>
                      <a:pt x="175089" y="89536"/>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77" name="Freeform: Shape 276">
                <a:extLst>
                  <a:ext uri="{FF2B5EF4-FFF2-40B4-BE49-F238E27FC236}">
                    <a16:creationId xmlns:a16="http://schemas.microsoft.com/office/drawing/2014/main" id="{1D00C1CB-96DB-44A9-AEED-3934E8631868}"/>
                  </a:ext>
                </a:extLst>
              </p:cNvPr>
              <p:cNvSpPr/>
              <p:nvPr/>
            </p:nvSpPr>
            <p:spPr>
              <a:xfrm>
                <a:off x="3262291" y="3639240"/>
                <a:ext cx="64770" cy="66675"/>
              </a:xfrm>
              <a:custGeom>
                <a:avLst/>
                <a:gdLst>
                  <a:gd name="connsiteX0" fmla="*/ 27146 w 64770"/>
                  <a:gd name="connsiteY0" fmla="*/ 66675 h 66675"/>
                  <a:gd name="connsiteX1" fmla="*/ 0 w 64770"/>
                  <a:gd name="connsiteY1" fmla="*/ 38576 h 66675"/>
                  <a:gd name="connsiteX2" fmla="*/ 30956 w 64770"/>
                  <a:gd name="connsiteY2" fmla="*/ 0 h 66675"/>
                  <a:gd name="connsiteX3" fmla="*/ 64770 w 64770"/>
                  <a:gd name="connsiteY3" fmla="*/ 38100 h 66675"/>
                  <a:gd name="connsiteX4" fmla="*/ 27146 w 64770"/>
                  <a:gd name="connsiteY4" fmla="*/ 66675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70" h="66675">
                    <a:moveTo>
                      <a:pt x="27146" y="66675"/>
                    </a:moveTo>
                    <a:cubicBezTo>
                      <a:pt x="19526" y="58579"/>
                      <a:pt x="9049" y="48101"/>
                      <a:pt x="0" y="38576"/>
                    </a:cubicBezTo>
                    <a:cubicBezTo>
                      <a:pt x="9525" y="26670"/>
                      <a:pt x="19526" y="14288"/>
                      <a:pt x="30956" y="0"/>
                    </a:cubicBezTo>
                    <a:cubicBezTo>
                      <a:pt x="43339" y="14288"/>
                      <a:pt x="53340" y="25241"/>
                      <a:pt x="64770" y="38100"/>
                    </a:cubicBezTo>
                    <a:cubicBezTo>
                      <a:pt x="51911" y="47625"/>
                      <a:pt x="39529" y="56674"/>
                      <a:pt x="27146" y="66675"/>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78" name="Freeform: Shape 277">
                <a:extLst>
                  <a:ext uri="{FF2B5EF4-FFF2-40B4-BE49-F238E27FC236}">
                    <a16:creationId xmlns:a16="http://schemas.microsoft.com/office/drawing/2014/main" id="{A80F43B4-96E9-4ADC-B052-9868B4E133B8}"/>
                  </a:ext>
                </a:extLst>
              </p:cNvPr>
              <p:cNvSpPr/>
              <p:nvPr/>
            </p:nvSpPr>
            <p:spPr>
              <a:xfrm>
                <a:off x="4361476" y="2837235"/>
                <a:ext cx="65246" cy="65246"/>
              </a:xfrm>
              <a:custGeom>
                <a:avLst/>
                <a:gdLst>
                  <a:gd name="connsiteX0" fmla="*/ 65246 w 65246"/>
                  <a:gd name="connsiteY0" fmla="*/ 44291 h 65246"/>
                  <a:gd name="connsiteX1" fmla="*/ 20479 w 65246"/>
                  <a:gd name="connsiteY1" fmla="*/ 65246 h 65246"/>
                  <a:gd name="connsiteX2" fmla="*/ 0 w 65246"/>
                  <a:gd name="connsiteY2" fmla="*/ 22384 h 65246"/>
                  <a:gd name="connsiteX3" fmla="*/ 44768 w 65246"/>
                  <a:gd name="connsiteY3" fmla="*/ 0 h 65246"/>
                  <a:gd name="connsiteX4" fmla="*/ 65246 w 65246"/>
                  <a:gd name="connsiteY4" fmla="*/ 44291 h 65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46" h="65246">
                    <a:moveTo>
                      <a:pt x="65246" y="44291"/>
                    </a:moveTo>
                    <a:cubicBezTo>
                      <a:pt x="50006" y="51435"/>
                      <a:pt x="35719" y="58103"/>
                      <a:pt x="20479" y="65246"/>
                    </a:cubicBezTo>
                    <a:cubicBezTo>
                      <a:pt x="13811" y="50959"/>
                      <a:pt x="7620" y="38100"/>
                      <a:pt x="0" y="22384"/>
                    </a:cubicBezTo>
                    <a:cubicBezTo>
                      <a:pt x="14764" y="15240"/>
                      <a:pt x="28099" y="8096"/>
                      <a:pt x="44768" y="0"/>
                    </a:cubicBezTo>
                    <a:cubicBezTo>
                      <a:pt x="51911" y="14764"/>
                      <a:pt x="58103" y="28575"/>
                      <a:pt x="65246" y="44291"/>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79" name="Freeform: Shape 278">
                <a:extLst>
                  <a:ext uri="{FF2B5EF4-FFF2-40B4-BE49-F238E27FC236}">
                    <a16:creationId xmlns:a16="http://schemas.microsoft.com/office/drawing/2014/main" id="{C3F138AD-C084-42FC-80F9-9337AA8DD6A1}"/>
                  </a:ext>
                </a:extLst>
              </p:cNvPr>
              <p:cNvSpPr/>
              <p:nvPr/>
            </p:nvSpPr>
            <p:spPr>
              <a:xfrm>
                <a:off x="4439105" y="3142569"/>
                <a:ext cx="51837" cy="49472"/>
              </a:xfrm>
              <a:custGeom>
                <a:avLst/>
                <a:gdLst>
                  <a:gd name="connsiteX0" fmla="*/ 0 w 51837"/>
                  <a:gd name="connsiteY0" fmla="*/ 49473 h 49472"/>
                  <a:gd name="connsiteX1" fmla="*/ 0 w 51837"/>
                  <a:gd name="connsiteY1" fmla="*/ 5658 h 49472"/>
                  <a:gd name="connsiteX2" fmla="*/ 48577 w 51837"/>
                  <a:gd name="connsiteY2" fmla="*/ 49473 h 49472"/>
                  <a:gd name="connsiteX3" fmla="*/ 0 w 51837"/>
                  <a:gd name="connsiteY3" fmla="*/ 49473 h 49472"/>
                </a:gdLst>
                <a:ahLst/>
                <a:cxnLst>
                  <a:cxn ang="0">
                    <a:pos x="connsiteX0" y="connsiteY0"/>
                  </a:cxn>
                  <a:cxn ang="0">
                    <a:pos x="connsiteX1" y="connsiteY1"/>
                  </a:cxn>
                  <a:cxn ang="0">
                    <a:pos x="connsiteX2" y="connsiteY2"/>
                  </a:cxn>
                  <a:cxn ang="0">
                    <a:pos x="connsiteX3" y="connsiteY3"/>
                  </a:cxn>
                </a:cxnLst>
                <a:rect l="l" t="t" r="r" b="b"/>
                <a:pathLst>
                  <a:path w="51837" h="49472">
                    <a:moveTo>
                      <a:pt x="0" y="49473"/>
                    </a:moveTo>
                    <a:cubicBezTo>
                      <a:pt x="0" y="33757"/>
                      <a:pt x="0" y="19469"/>
                      <a:pt x="0" y="5658"/>
                    </a:cubicBezTo>
                    <a:cubicBezTo>
                      <a:pt x="54292" y="-5772"/>
                      <a:pt x="56197" y="-3867"/>
                      <a:pt x="48577" y="49473"/>
                    </a:cubicBezTo>
                    <a:cubicBezTo>
                      <a:pt x="33338" y="49473"/>
                      <a:pt x="18097" y="49473"/>
                      <a:pt x="0" y="49473"/>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80" name="Freeform: Shape 279">
                <a:extLst>
                  <a:ext uri="{FF2B5EF4-FFF2-40B4-BE49-F238E27FC236}">
                    <a16:creationId xmlns:a16="http://schemas.microsoft.com/office/drawing/2014/main" id="{BF44A2BF-8B18-40A6-84BF-DE39FDC784F0}"/>
                  </a:ext>
                </a:extLst>
              </p:cNvPr>
              <p:cNvSpPr/>
              <p:nvPr/>
            </p:nvSpPr>
            <p:spPr>
              <a:xfrm>
                <a:off x="4426246" y="3037736"/>
                <a:ext cx="56673" cy="56197"/>
              </a:xfrm>
              <a:custGeom>
                <a:avLst/>
                <a:gdLst>
                  <a:gd name="connsiteX0" fmla="*/ 49530 w 56673"/>
                  <a:gd name="connsiteY0" fmla="*/ 0 h 56197"/>
                  <a:gd name="connsiteX1" fmla="*/ 56674 w 56673"/>
                  <a:gd name="connsiteY1" fmla="*/ 49530 h 56197"/>
                  <a:gd name="connsiteX2" fmla="*/ 8573 w 56673"/>
                  <a:gd name="connsiteY2" fmla="*/ 56198 h 56197"/>
                  <a:gd name="connsiteX3" fmla="*/ 0 w 56673"/>
                  <a:gd name="connsiteY3" fmla="*/ 9049 h 56197"/>
                  <a:gd name="connsiteX4" fmla="*/ 49530 w 56673"/>
                  <a:gd name="connsiteY4" fmla="*/ 0 h 56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73" h="56197">
                    <a:moveTo>
                      <a:pt x="49530" y="0"/>
                    </a:moveTo>
                    <a:cubicBezTo>
                      <a:pt x="51911" y="17145"/>
                      <a:pt x="54292" y="32385"/>
                      <a:pt x="56674" y="49530"/>
                    </a:cubicBezTo>
                    <a:cubicBezTo>
                      <a:pt x="40481" y="51911"/>
                      <a:pt x="25717" y="53816"/>
                      <a:pt x="8573" y="56198"/>
                    </a:cubicBezTo>
                    <a:cubicBezTo>
                      <a:pt x="5715" y="40958"/>
                      <a:pt x="3334" y="26194"/>
                      <a:pt x="0" y="9049"/>
                    </a:cubicBezTo>
                    <a:cubicBezTo>
                      <a:pt x="17145" y="5715"/>
                      <a:pt x="31909" y="2858"/>
                      <a:pt x="49530" y="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81" name="Freeform: Shape 280">
                <a:extLst>
                  <a:ext uri="{FF2B5EF4-FFF2-40B4-BE49-F238E27FC236}">
                    <a16:creationId xmlns:a16="http://schemas.microsoft.com/office/drawing/2014/main" id="{DC57916A-290A-4DD6-83AD-244CFFBD5FF0}"/>
                  </a:ext>
                </a:extLst>
              </p:cNvPr>
              <p:cNvSpPr/>
              <p:nvPr/>
            </p:nvSpPr>
            <p:spPr>
              <a:xfrm>
                <a:off x="4399100" y="2934867"/>
                <a:ext cx="63817" cy="60960"/>
              </a:xfrm>
              <a:custGeom>
                <a:avLst/>
                <a:gdLst>
                  <a:gd name="connsiteX0" fmla="*/ 63817 w 63817"/>
                  <a:gd name="connsiteY0" fmla="*/ 47149 h 60960"/>
                  <a:gd name="connsiteX1" fmla="*/ 16669 w 63817"/>
                  <a:gd name="connsiteY1" fmla="*/ 60960 h 60960"/>
                  <a:gd name="connsiteX2" fmla="*/ 0 w 63817"/>
                  <a:gd name="connsiteY2" fmla="*/ 15240 h 60960"/>
                  <a:gd name="connsiteX3" fmla="*/ 48577 w 63817"/>
                  <a:gd name="connsiteY3" fmla="*/ 0 h 60960"/>
                  <a:gd name="connsiteX4" fmla="*/ 63817 w 63817"/>
                  <a:gd name="connsiteY4" fmla="*/ 47149 h 60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17" h="60960">
                    <a:moveTo>
                      <a:pt x="63817" y="47149"/>
                    </a:moveTo>
                    <a:cubicBezTo>
                      <a:pt x="47149" y="51911"/>
                      <a:pt x="32861" y="56198"/>
                      <a:pt x="16669" y="60960"/>
                    </a:cubicBezTo>
                    <a:cubicBezTo>
                      <a:pt x="10954" y="45244"/>
                      <a:pt x="5715" y="31432"/>
                      <a:pt x="0" y="15240"/>
                    </a:cubicBezTo>
                    <a:cubicBezTo>
                      <a:pt x="16669" y="10001"/>
                      <a:pt x="30956" y="5239"/>
                      <a:pt x="48577" y="0"/>
                    </a:cubicBezTo>
                    <a:cubicBezTo>
                      <a:pt x="53816" y="15240"/>
                      <a:pt x="58102" y="29527"/>
                      <a:pt x="63817" y="47149"/>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82" name="Freeform: Shape 281">
                <a:extLst>
                  <a:ext uri="{FF2B5EF4-FFF2-40B4-BE49-F238E27FC236}">
                    <a16:creationId xmlns:a16="http://schemas.microsoft.com/office/drawing/2014/main" id="{9ACF9DB8-250A-4D5C-A29F-5217DCAB68D8}"/>
                  </a:ext>
                </a:extLst>
              </p:cNvPr>
              <p:cNvSpPr/>
              <p:nvPr/>
            </p:nvSpPr>
            <p:spPr>
              <a:xfrm>
                <a:off x="4431009" y="3246810"/>
                <a:ext cx="54768" cy="52387"/>
              </a:xfrm>
              <a:custGeom>
                <a:avLst/>
                <a:gdLst>
                  <a:gd name="connsiteX0" fmla="*/ 0 w 54768"/>
                  <a:gd name="connsiteY0" fmla="*/ 44768 h 52387"/>
                  <a:gd name="connsiteX1" fmla="*/ 5239 w 54768"/>
                  <a:gd name="connsiteY1" fmla="*/ 0 h 52387"/>
                  <a:gd name="connsiteX2" fmla="*/ 54769 w 54768"/>
                  <a:gd name="connsiteY2" fmla="*/ 2858 h 52387"/>
                  <a:gd name="connsiteX3" fmla="*/ 49054 w 54768"/>
                  <a:gd name="connsiteY3" fmla="*/ 52388 h 52387"/>
                  <a:gd name="connsiteX4" fmla="*/ 0 w 54768"/>
                  <a:gd name="connsiteY4" fmla="*/ 44768 h 5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8" h="52387">
                    <a:moveTo>
                      <a:pt x="0" y="44768"/>
                    </a:moveTo>
                    <a:cubicBezTo>
                      <a:pt x="1905" y="30004"/>
                      <a:pt x="3334" y="16669"/>
                      <a:pt x="5239" y="0"/>
                    </a:cubicBezTo>
                    <a:cubicBezTo>
                      <a:pt x="21431" y="953"/>
                      <a:pt x="36671" y="1905"/>
                      <a:pt x="54769" y="2858"/>
                    </a:cubicBezTo>
                    <a:cubicBezTo>
                      <a:pt x="52864" y="19526"/>
                      <a:pt x="50959" y="34290"/>
                      <a:pt x="49054" y="52388"/>
                    </a:cubicBezTo>
                    <a:cubicBezTo>
                      <a:pt x="32385" y="50006"/>
                      <a:pt x="16669" y="47625"/>
                      <a:pt x="0" y="44768"/>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83" name="Freeform: Shape 282">
                <a:extLst>
                  <a:ext uri="{FF2B5EF4-FFF2-40B4-BE49-F238E27FC236}">
                    <a16:creationId xmlns:a16="http://schemas.microsoft.com/office/drawing/2014/main" id="{B1AA71EA-6663-459C-9005-F0820D1657EF}"/>
                  </a:ext>
                </a:extLst>
              </p:cNvPr>
              <p:cNvSpPr/>
              <p:nvPr/>
            </p:nvSpPr>
            <p:spPr>
              <a:xfrm>
                <a:off x="4308136" y="2745795"/>
                <a:ext cx="69532" cy="67627"/>
              </a:xfrm>
              <a:custGeom>
                <a:avLst/>
                <a:gdLst>
                  <a:gd name="connsiteX0" fmla="*/ 41910 w 69532"/>
                  <a:gd name="connsiteY0" fmla="*/ 0 h 67627"/>
                  <a:gd name="connsiteX1" fmla="*/ 69533 w 69532"/>
                  <a:gd name="connsiteY1" fmla="*/ 40957 h 67627"/>
                  <a:gd name="connsiteX2" fmla="*/ 28099 w 69532"/>
                  <a:gd name="connsiteY2" fmla="*/ 67628 h 67627"/>
                  <a:gd name="connsiteX3" fmla="*/ 0 w 69532"/>
                  <a:gd name="connsiteY3" fmla="*/ 28099 h 67627"/>
                  <a:gd name="connsiteX4" fmla="*/ 41910 w 69532"/>
                  <a:gd name="connsiteY4" fmla="*/ 0 h 67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32" h="67627">
                    <a:moveTo>
                      <a:pt x="41910" y="0"/>
                    </a:moveTo>
                    <a:cubicBezTo>
                      <a:pt x="51911" y="14288"/>
                      <a:pt x="60008" y="26670"/>
                      <a:pt x="69533" y="40957"/>
                    </a:cubicBezTo>
                    <a:cubicBezTo>
                      <a:pt x="55721" y="50006"/>
                      <a:pt x="42863" y="58579"/>
                      <a:pt x="28099" y="67628"/>
                    </a:cubicBezTo>
                    <a:cubicBezTo>
                      <a:pt x="18574" y="54292"/>
                      <a:pt x="9525" y="41910"/>
                      <a:pt x="0" y="28099"/>
                    </a:cubicBezTo>
                    <a:cubicBezTo>
                      <a:pt x="14288" y="18574"/>
                      <a:pt x="27146" y="10001"/>
                      <a:pt x="41910" y="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84" name="Freeform: Shape 283">
                <a:extLst>
                  <a:ext uri="{FF2B5EF4-FFF2-40B4-BE49-F238E27FC236}">
                    <a16:creationId xmlns:a16="http://schemas.microsoft.com/office/drawing/2014/main" id="{A1297D26-DB0F-4D29-A5B2-6587ECBC3FC4}"/>
                  </a:ext>
                </a:extLst>
              </p:cNvPr>
              <p:cNvSpPr/>
              <p:nvPr/>
            </p:nvSpPr>
            <p:spPr>
              <a:xfrm>
                <a:off x="3335157" y="3710678"/>
                <a:ext cx="69056" cy="69056"/>
              </a:xfrm>
              <a:custGeom>
                <a:avLst/>
                <a:gdLst>
                  <a:gd name="connsiteX0" fmla="*/ 69056 w 69056"/>
                  <a:gd name="connsiteY0" fmla="*/ 28575 h 69056"/>
                  <a:gd name="connsiteX1" fmla="*/ 39529 w 69056"/>
                  <a:gd name="connsiteY1" fmla="*/ 69056 h 69056"/>
                  <a:gd name="connsiteX2" fmla="*/ 0 w 69056"/>
                  <a:gd name="connsiteY2" fmla="*/ 39529 h 69056"/>
                  <a:gd name="connsiteX3" fmla="*/ 30956 w 69056"/>
                  <a:gd name="connsiteY3" fmla="*/ 0 h 69056"/>
                  <a:gd name="connsiteX4" fmla="*/ 69056 w 69056"/>
                  <a:gd name="connsiteY4" fmla="*/ 28575 h 6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56" h="69056">
                    <a:moveTo>
                      <a:pt x="69056" y="28575"/>
                    </a:moveTo>
                    <a:cubicBezTo>
                      <a:pt x="58579" y="42863"/>
                      <a:pt x="50006" y="54769"/>
                      <a:pt x="39529" y="69056"/>
                    </a:cubicBezTo>
                    <a:cubicBezTo>
                      <a:pt x="26194" y="59055"/>
                      <a:pt x="13811" y="50006"/>
                      <a:pt x="0" y="39529"/>
                    </a:cubicBezTo>
                    <a:cubicBezTo>
                      <a:pt x="10477" y="25717"/>
                      <a:pt x="20002" y="13811"/>
                      <a:pt x="30956" y="0"/>
                    </a:cubicBezTo>
                    <a:cubicBezTo>
                      <a:pt x="43339" y="9525"/>
                      <a:pt x="54769" y="18574"/>
                      <a:pt x="69056" y="28575"/>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85" name="Freeform: Shape 284">
                <a:extLst>
                  <a:ext uri="{FF2B5EF4-FFF2-40B4-BE49-F238E27FC236}">
                    <a16:creationId xmlns:a16="http://schemas.microsoft.com/office/drawing/2014/main" id="{48BEDCD3-514B-4EEE-A7AC-8035C25E65FB}"/>
                  </a:ext>
                </a:extLst>
              </p:cNvPr>
              <p:cNvSpPr/>
              <p:nvPr/>
            </p:nvSpPr>
            <p:spPr>
              <a:xfrm>
                <a:off x="3923803" y="3832122"/>
                <a:ext cx="60007" cy="60959"/>
              </a:xfrm>
              <a:custGeom>
                <a:avLst/>
                <a:gdLst>
                  <a:gd name="connsiteX0" fmla="*/ 11430 w 60007"/>
                  <a:gd name="connsiteY0" fmla="*/ 60960 h 60959"/>
                  <a:gd name="connsiteX1" fmla="*/ 0 w 60007"/>
                  <a:gd name="connsiteY1" fmla="*/ 11430 h 60959"/>
                  <a:gd name="connsiteX2" fmla="*/ 45720 w 60007"/>
                  <a:gd name="connsiteY2" fmla="*/ 0 h 60959"/>
                  <a:gd name="connsiteX3" fmla="*/ 60008 w 60007"/>
                  <a:gd name="connsiteY3" fmla="*/ 47625 h 60959"/>
                  <a:gd name="connsiteX4" fmla="*/ 11430 w 60007"/>
                  <a:gd name="connsiteY4" fmla="*/ 60960 h 60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959">
                    <a:moveTo>
                      <a:pt x="11430" y="60960"/>
                    </a:moveTo>
                    <a:cubicBezTo>
                      <a:pt x="7144" y="43339"/>
                      <a:pt x="3810" y="29051"/>
                      <a:pt x="0" y="11430"/>
                    </a:cubicBezTo>
                    <a:cubicBezTo>
                      <a:pt x="15716" y="7620"/>
                      <a:pt x="30480" y="3810"/>
                      <a:pt x="45720" y="0"/>
                    </a:cubicBezTo>
                    <a:cubicBezTo>
                      <a:pt x="50483" y="16669"/>
                      <a:pt x="54769" y="30480"/>
                      <a:pt x="60008" y="47625"/>
                    </a:cubicBezTo>
                    <a:cubicBezTo>
                      <a:pt x="43815" y="52388"/>
                      <a:pt x="29051" y="56197"/>
                      <a:pt x="11430" y="6096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86" name="Freeform: Shape 285">
                <a:extLst>
                  <a:ext uri="{FF2B5EF4-FFF2-40B4-BE49-F238E27FC236}">
                    <a16:creationId xmlns:a16="http://schemas.microsoft.com/office/drawing/2014/main" id="{AF086663-498F-4304-90C3-FCF98EEDE7CF}"/>
                  </a:ext>
                </a:extLst>
              </p:cNvPr>
              <p:cNvSpPr/>
              <p:nvPr/>
            </p:nvSpPr>
            <p:spPr>
              <a:xfrm>
                <a:off x="3825219" y="3852600"/>
                <a:ext cx="55245" cy="55245"/>
              </a:xfrm>
              <a:custGeom>
                <a:avLst/>
                <a:gdLst>
                  <a:gd name="connsiteX0" fmla="*/ 47625 w 55245"/>
                  <a:gd name="connsiteY0" fmla="*/ 0 h 55245"/>
                  <a:gd name="connsiteX1" fmla="*/ 55245 w 55245"/>
                  <a:gd name="connsiteY1" fmla="*/ 50959 h 55245"/>
                  <a:gd name="connsiteX2" fmla="*/ 5239 w 55245"/>
                  <a:gd name="connsiteY2" fmla="*/ 55245 h 55245"/>
                  <a:gd name="connsiteX3" fmla="*/ 0 w 55245"/>
                  <a:gd name="connsiteY3" fmla="*/ 7144 h 55245"/>
                  <a:gd name="connsiteX4" fmla="*/ 47625 w 55245"/>
                  <a:gd name="connsiteY4" fmla="*/ 0 h 55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245" h="55245">
                    <a:moveTo>
                      <a:pt x="47625" y="0"/>
                    </a:moveTo>
                    <a:cubicBezTo>
                      <a:pt x="50006" y="17621"/>
                      <a:pt x="52388" y="32861"/>
                      <a:pt x="55245" y="50959"/>
                    </a:cubicBezTo>
                    <a:cubicBezTo>
                      <a:pt x="38100" y="52388"/>
                      <a:pt x="22384" y="53816"/>
                      <a:pt x="5239" y="55245"/>
                    </a:cubicBezTo>
                    <a:cubicBezTo>
                      <a:pt x="3334" y="39053"/>
                      <a:pt x="1905" y="24765"/>
                      <a:pt x="0" y="7144"/>
                    </a:cubicBezTo>
                    <a:cubicBezTo>
                      <a:pt x="15240" y="4763"/>
                      <a:pt x="30004" y="2858"/>
                      <a:pt x="47625" y="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87" name="Freeform: Shape 286">
                <a:extLst>
                  <a:ext uri="{FF2B5EF4-FFF2-40B4-BE49-F238E27FC236}">
                    <a16:creationId xmlns:a16="http://schemas.microsoft.com/office/drawing/2014/main" id="{618438C1-3B0D-481D-9F8A-187EA85270C0}"/>
                  </a:ext>
                </a:extLst>
              </p:cNvPr>
              <p:cNvSpPr/>
              <p:nvPr/>
            </p:nvSpPr>
            <p:spPr>
              <a:xfrm>
                <a:off x="3158945" y="2782466"/>
                <a:ext cx="66675" cy="68103"/>
              </a:xfrm>
              <a:custGeom>
                <a:avLst/>
                <a:gdLst>
                  <a:gd name="connsiteX0" fmla="*/ 43339 w 66675"/>
                  <a:gd name="connsiteY0" fmla="*/ 68104 h 68103"/>
                  <a:gd name="connsiteX1" fmla="*/ 0 w 66675"/>
                  <a:gd name="connsiteY1" fmla="*/ 43815 h 68103"/>
                  <a:gd name="connsiteX2" fmla="*/ 24765 w 66675"/>
                  <a:gd name="connsiteY2" fmla="*/ 0 h 68103"/>
                  <a:gd name="connsiteX3" fmla="*/ 66675 w 66675"/>
                  <a:gd name="connsiteY3" fmla="*/ 26194 h 68103"/>
                  <a:gd name="connsiteX4" fmla="*/ 43339 w 66675"/>
                  <a:gd name="connsiteY4" fmla="*/ 68104 h 68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8103">
                    <a:moveTo>
                      <a:pt x="43339" y="68104"/>
                    </a:moveTo>
                    <a:cubicBezTo>
                      <a:pt x="28099" y="59531"/>
                      <a:pt x="15240" y="52388"/>
                      <a:pt x="0" y="43815"/>
                    </a:cubicBezTo>
                    <a:cubicBezTo>
                      <a:pt x="8096" y="29527"/>
                      <a:pt x="16192" y="15716"/>
                      <a:pt x="24765" y="0"/>
                    </a:cubicBezTo>
                    <a:cubicBezTo>
                      <a:pt x="39529" y="9525"/>
                      <a:pt x="52864" y="17621"/>
                      <a:pt x="66675" y="26194"/>
                    </a:cubicBezTo>
                    <a:cubicBezTo>
                      <a:pt x="59055" y="40481"/>
                      <a:pt x="51911" y="53340"/>
                      <a:pt x="43339" y="68104"/>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88" name="Freeform: Shape 287">
                <a:extLst>
                  <a:ext uri="{FF2B5EF4-FFF2-40B4-BE49-F238E27FC236}">
                    <a16:creationId xmlns:a16="http://schemas.microsoft.com/office/drawing/2014/main" id="{FB2E0146-F397-4D4F-A58A-D1FE8D718741}"/>
                  </a:ext>
                </a:extLst>
              </p:cNvPr>
              <p:cNvSpPr/>
              <p:nvPr/>
            </p:nvSpPr>
            <p:spPr>
              <a:xfrm>
                <a:off x="3215619" y="2697218"/>
                <a:ext cx="70008" cy="69056"/>
              </a:xfrm>
              <a:custGeom>
                <a:avLst/>
                <a:gdLst>
                  <a:gd name="connsiteX0" fmla="*/ 0 w 70008"/>
                  <a:gd name="connsiteY0" fmla="*/ 39053 h 69056"/>
                  <a:gd name="connsiteX1" fmla="*/ 31433 w 70008"/>
                  <a:gd name="connsiteY1" fmla="*/ 0 h 69056"/>
                  <a:gd name="connsiteX2" fmla="*/ 70009 w 70008"/>
                  <a:gd name="connsiteY2" fmla="*/ 31909 h 69056"/>
                  <a:gd name="connsiteX3" fmla="*/ 40958 w 70008"/>
                  <a:gd name="connsiteY3" fmla="*/ 69056 h 69056"/>
                  <a:gd name="connsiteX4" fmla="*/ 0 w 70008"/>
                  <a:gd name="connsiteY4" fmla="*/ 39053 h 6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08" h="69056">
                    <a:moveTo>
                      <a:pt x="0" y="39053"/>
                    </a:moveTo>
                    <a:cubicBezTo>
                      <a:pt x="10954" y="25241"/>
                      <a:pt x="20479" y="13811"/>
                      <a:pt x="31433" y="0"/>
                    </a:cubicBezTo>
                    <a:cubicBezTo>
                      <a:pt x="44768" y="10954"/>
                      <a:pt x="56674" y="21431"/>
                      <a:pt x="70009" y="31909"/>
                    </a:cubicBezTo>
                    <a:cubicBezTo>
                      <a:pt x="60008" y="44768"/>
                      <a:pt x="51435" y="55721"/>
                      <a:pt x="40958" y="69056"/>
                    </a:cubicBezTo>
                    <a:cubicBezTo>
                      <a:pt x="27623" y="59531"/>
                      <a:pt x="14764" y="50006"/>
                      <a:pt x="0" y="39053"/>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89" name="Freeform: Shape 288">
                <a:extLst>
                  <a:ext uri="{FF2B5EF4-FFF2-40B4-BE49-F238E27FC236}">
                    <a16:creationId xmlns:a16="http://schemas.microsoft.com/office/drawing/2014/main" id="{77FFA8D4-7E8A-4AC2-A9D9-F7FA6832E2C7}"/>
                  </a:ext>
                </a:extLst>
              </p:cNvPr>
              <p:cNvSpPr/>
              <p:nvPr/>
            </p:nvSpPr>
            <p:spPr>
              <a:xfrm>
                <a:off x="3114654" y="2877716"/>
                <a:ext cx="64770" cy="63817"/>
              </a:xfrm>
              <a:custGeom>
                <a:avLst/>
                <a:gdLst>
                  <a:gd name="connsiteX0" fmla="*/ 64770 w 64770"/>
                  <a:gd name="connsiteY0" fmla="*/ 20002 h 63817"/>
                  <a:gd name="connsiteX1" fmla="*/ 46196 w 64770"/>
                  <a:gd name="connsiteY1" fmla="*/ 63817 h 63817"/>
                  <a:gd name="connsiteX2" fmla="*/ 0 w 64770"/>
                  <a:gd name="connsiteY2" fmla="*/ 46673 h 63817"/>
                  <a:gd name="connsiteX3" fmla="*/ 19050 w 64770"/>
                  <a:gd name="connsiteY3" fmla="*/ 0 h 63817"/>
                  <a:gd name="connsiteX4" fmla="*/ 64770 w 64770"/>
                  <a:gd name="connsiteY4" fmla="*/ 20002 h 63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70" h="63817">
                    <a:moveTo>
                      <a:pt x="64770" y="20002"/>
                    </a:moveTo>
                    <a:cubicBezTo>
                      <a:pt x="58103" y="36195"/>
                      <a:pt x="52388" y="49054"/>
                      <a:pt x="46196" y="63817"/>
                    </a:cubicBezTo>
                    <a:cubicBezTo>
                      <a:pt x="30004" y="57626"/>
                      <a:pt x="15716" y="52388"/>
                      <a:pt x="0" y="46673"/>
                    </a:cubicBezTo>
                    <a:cubicBezTo>
                      <a:pt x="6668" y="30004"/>
                      <a:pt x="12382" y="15716"/>
                      <a:pt x="19050" y="0"/>
                    </a:cubicBezTo>
                    <a:cubicBezTo>
                      <a:pt x="35243" y="6667"/>
                      <a:pt x="49054" y="12859"/>
                      <a:pt x="64770" y="20002"/>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90" name="Freeform: Shape 289">
                <a:extLst>
                  <a:ext uri="{FF2B5EF4-FFF2-40B4-BE49-F238E27FC236}">
                    <a16:creationId xmlns:a16="http://schemas.microsoft.com/office/drawing/2014/main" id="{3DE3E014-2E8D-4D85-8323-2005687F53E3}"/>
                  </a:ext>
                </a:extLst>
              </p:cNvPr>
              <p:cNvSpPr/>
              <p:nvPr/>
            </p:nvSpPr>
            <p:spPr>
              <a:xfrm>
                <a:off x="3723777" y="3856411"/>
                <a:ext cx="50787" cy="51910"/>
              </a:xfrm>
              <a:custGeom>
                <a:avLst/>
                <a:gdLst>
                  <a:gd name="connsiteX0" fmla="*/ 0 w 50787"/>
                  <a:gd name="connsiteY0" fmla="*/ 51911 h 51910"/>
                  <a:gd name="connsiteX1" fmla="*/ 2381 w 50787"/>
                  <a:gd name="connsiteY1" fmla="*/ 5714 h 51910"/>
                  <a:gd name="connsiteX2" fmla="*/ 49054 w 50787"/>
                  <a:gd name="connsiteY2" fmla="*/ 51911 h 51910"/>
                  <a:gd name="connsiteX3" fmla="*/ 0 w 50787"/>
                  <a:gd name="connsiteY3" fmla="*/ 51911 h 51910"/>
                </a:gdLst>
                <a:ahLst/>
                <a:cxnLst>
                  <a:cxn ang="0">
                    <a:pos x="connsiteX0" y="connsiteY0"/>
                  </a:cxn>
                  <a:cxn ang="0">
                    <a:pos x="connsiteX1" y="connsiteY1"/>
                  </a:cxn>
                  <a:cxn ang="0">
                    <a:pos x="connsiteX2" y="connsiteY2"/>
                  </a:cxn>
                  <a:cxn ang="0">
                    <a:pos x="connsiteX3" y="connsiteY3"/>
                  </a:cxn>
                </a:cxnLst>
                <a:rect l="l" t="t" r="r" b="b"/>
                <a:pathLst>
                  <a:path w="50787" h="51910">
                    <a:moveTo>
                      <a:pt x="0" y="51911"/>
                    </a:moveTo>
                    <a:cubicBezTo>
                      <a:pt x="953" y="35242"/>
                      <a:pt x="1429" y="20002"/>
                      <a:pt x="2381" y="5714"/>
                    </a:cubicBezTo>
                    <a:cubicBezTo>
                      <a:pt x="48101" y="-7144"/>
                      <a:pt x="54769" y="-953"/>
                      <a:pt x="49054" y="51911"/>
                    </a:cubicBezTo>
                    <a:cubicBezTo>
                      <a:pt x="33814" y="51911"/>
                      <a:pt x="18574" y="51911"/>
                      <a:pt x="0" y="51911"/>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91" name="Freeform: Shape 290">
                <a:extLst>
                  <a:ext uri="{FF2B5EF4-FFF2-40B4-BE49-F238E27FC236}">
                    <a16:creationId xmlns:a16="http://schemas.microsoft.com/office/drawing/2014/main" id="{4F3AAECF-AD01-4980-9BB7-866B5C2C9B96}"/>
                  </a:ext>
                </a:extLst>
              </p:cNvPr>
              <p:cNvSpPr/>
              <p:nvPr/>
            </p:nvSpPr>
            <p:spPr>
              <a:xfrm>
                <a:off x="3517085" y="3813548"/>
                <a:ext cx="62388" cy="62865"/>
              </a:xfrm>
              <a:custGeom>
                <a:avLst/>
                <a:gdLst>
                  <a:gd name="connsiteX0" fmla="*/ 0 w 62388"/>
                  <a:gd name="connsiteY0" fmla="*/ 45720 h 62865"/>
                  <a:gd name="connsiteX1" fmla="*/ 13811 w 62388"/>
                  <a:gd name="connsiteY1" fmla="*/ 10001 h 62865"/>
                  <a:gd name="connsiteX2" fmla="*/ 19526 w 62388"/>
                  <a:gd name="connsiteY2" fmla="*/ 0 h 62865"/>
                  <a:gd name="connsiteX3" fmla="*/ 62389 w 62388"/>
                  <a:gd name="connsiteY3" fmla="*/ 14764 h 62865"/>
                  <a:gd name="connsiteX4" fmla="*/ 46673 w 62388"/>
                  <a:gd name="connsiteY4" fmla="*/ 62865 h 62865"/>
                  <a:gd name="connsiteX5" fmla="*/ 0 w 62388"/>
                  <a:gd name="connsiteY5" fmla="*/ 45720 h 62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388" h="62865">
                    <a:moveTo>
                      <a:pt x="0" y="45720"/>
                    </a:moveTo>
                    <a:cubicBezTo>
                      <a:pt x="5239" y="31909"/>
                      <a:pt x="9525" y="20479"/>
                      <a:pt x="13811" y="10001"/>
                    </a:cubicBezTo>
                    <a:cubicBezTo>
                      <a:pt x="14764" y="7144"/>
                      <a:pt x="16669" y="4763"/>
                      <a:pt x="19526" y="0"/>
                    </a:cubicBezTo>
                    <a:cubicBezTo>
                      <a:pt x="33338" y="4763"/>
                      <a:pt x="46673" y="9525"/>
                      <a:pt x="62389" y="14764"/>
                    </a:cubicBezTo>
                    <a:cubicBezTo>
                      <a:pt x="57150" y="31433"/>
                      <a:pt x="52388" y="46196"/>
                      <a:pt x="46673" y="62865"/>
                    </a:cubicBezTo>
                    <a:cubicBezTo>
                      <a:pt x="30956" y="56674"/>
                      <a:pt x="16669" y="51435"/>
                      <a:pt x="0" y="4572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92" name="Freeform: Shape 291">
                <a:extLst>
                  <a:ext uri="{FF2B5EF4-FFF2-40B4-BE49-F238E27FC236}">
                    <a16:creationId xmlns:a16="http://schemas.microsoft.com/office/drawing/2014/main" id="{71F69A0D-906E-406C-8330-AA378977026E}"/>
                  </a:ext>
                </a:extLst>
              </p:cNvPr>
              <p:cNvSpPr/>
              <p:nvPr/>
            </p:nvSpPr>
            <p:spPr>
              <a:xfrm>
                <a:off x="3620149" y="3843075"/>
                <a:ext cx="56479" cy="56197"/>
              </a:xfrm>
              <a:custGeom>
                <a:avLst/>
                <a:gdLst>
                  <a:gd name="connsiteX0" fmla="*/ 13141 w 56479"/>
                  <a:gd name="connsiteY0" fmla="*/ 0 h 56197"/>
                  <a:gd name="connsiteX1" fmla="*/ 56479 w 56479"/>
                  <a:gd name="connsiteY1" fmla="*/ 8572 h 56197"/>
                  <a:gd name="connsiteX2" fmla="*/ 47431 w 56479"/>
                  <a:gd name="connsiteY2" fmla="*/ 56197 h 56197"/>
                  <a:gd name="connsiteX3" fmla="*/ 13141 w 56479"/>
                  <a:gd name="connsiteY3" fmla="*/ 0 h 56197"/>
                </a:gdLst>
                <a:ahLst/>
                <a:cxnLst>
                  <a:cxn ang="0">
                    <a:pos x="connsiteX0" y="connsiteY0"/>
                  </a:cxn>
                  <a:cxn ang="0">
                    <a:pos x="connsiteX1" y="connsiteY1"/>
                  </a:cxn>
                  <a:cxn ang="0">
                    <a:pos x="connsiteX2" y="connsiteY2"/>
                  </a:cxn>
                  <a:cxn ang="0">
                    <a:pos x="connsiteX3" y="connsiteY3"/>
                  </a:cxn>
                </a:cxnLst>
                <a:rect l="l" t="t" r="r" b="b"/>
                <a:pathLst>
                  <a:path w="56479" h="56197">
                    <a:moveTo>
                      <a:pt x="13141" y="0"/>
                    </a:moveTo>
                    <a:cubicBezTo>
                      <a:pt x="27428" y="2858"/>
                      <a:pt x="40287" y="5239"/>
                      <a:pt x="56479" y="8572"/>
                    </a:cubicBezTo>
                    <a:cubicBezTo>
                      <a:pt x="53146" y="25241"/>
                      <a:pt x="50288" y="40958"/>
                      <a:pt x="47431" y="56197"/>
                    </a:cubicBezTo>
                    <a:cubicBezTo>
                      <a:pt x="-5433" y="53340"/>
                      <a:pt x="-9719" y="46672"/>
                      <a:pt x="13141" y="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93" name="Freeform: Shape 292">
                <a:extLst>
                  <a:ext uri="{FF2B5EF4-FFF2-40B4-BE49-F238E27FC236}">
                    <a16:creationId xmlns:a16="http://schemas.microsoft.com/office/drawing/2014/main" id="{D7DF637D-6987-4BBC-9786-8BC1B02C8D08}"/>
                  </a:ext>
                </a:extLst>
              </p:cNvPr>
              <p:cNvSpPr/>
              <p:nvPr/>
            </p:nvSpPr>
            <p:spPr>
              <a:xfrm>
                <a:off x="3366590" y="2558629"/>
                <a:ext cx="69056" cy="68103"/>
              </a:xfrm>
              <a:custGeom>
                <a:avLst/>
                <a:gdLst>
                  <a:gd name="connsiteX0" fmla="*/ 41434 w 69056"/>
                  <a:gd name="connsiteY0" fmla="*/ 0 h 68103"/>
                  <a:gd name="connsiteX1" fmla="*/ 69056 w 69056"/>
                  <a:gd name="connsiteY1" fmla="*/ 40958 h 68103"/>
                  <a:gd name="connsiteX2" fmla="*/ 30480 w 69056"/>
                  <a:gd name="connsiteY2" fmla="*/ 68104 h 68103"/>
                  <a:gd name="connsiteX3" fmla="*/ 0 w 69056"/>
                  <a:gd name="connsiteY3" fmla="*/ 27622 h 68103"/>
                  <a:gd name="connsiteX4" fmla="*/ 41434 w 69056"/>
                  <a:gd name="connsiteY4" fmla="*/ 0 h 68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56" h="68103">
                    <a:moveTo>
                      <a:pt x="41434" y="0"/>
                    </a:moveTo>
                    <a:cubicBezTo>
                      <a:pt x="50959" y="14288"/>
                      <a:pt x="59531" y="26670"/>
                      <a:pt x="69056" y="40958"/>
                    </a:cubicBezTo>
                    <a:cubicBezTo>
                      <a:pt x="56197" y="50006"/>
                      <a:pt x="44291" y="58579"/>
                      <a:pt x="30480" y="68104"/>
                    </a:cubicBezTo>
                    <a:cubicBezTo>
                      <a:pt x="20479" y="55245"/>
                      <a:pt x="11430" y="42863"/>
                      <a:pt x="0" y="27622"/>
                    </a:cubicBezTo>
                    <a:cubicBezTo>
                      <a:pt x="14288" y="18097"/>
                      <a:pt x="27146" y="9525"/>
                      <a:pt x="41434" y="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94" name="Freeform: Shape 293">
                <a:extLst>
                  <a:ext uri="{FF2B5EF4-FFF2-40B4-BE49-F238E27FC236}">
                    <a16:creationId xmlns:a16="http://schemas.microsoft.com/office/drawing/2014/main" id="{1066DAD4-D7E5-4D67-8768-794E9D3A1F03}"/>
                  </a:ext>
                </a:extLst>
              </p:cNvPr>
              <p:cNvSpPr/>
              <p:nvPr/>
            </p:nvSpPr>
            <p:spPr>
              <a:xfrm>
                <a:off x="3421835" y="3768304"/>
                <a:ext cx="66675" cy="67627"/>
              </a:xfrm>
              <a:custGeom>
                <a:avLst/>
                <a:gdLst>
                  <a:gd name="connsiteX0" fmla="*/ 43339 w 66675"/>
                  <a:gd name="connsiteY0" fmla="*/ 67628 h 67627"/>
                  <a:gd name="connsiteX1" fmla="*/ 0 w 66675"/>
                  <a:gd name="connsiteY1" fmla="*/ 42863 h 67627"/>
                  <a:gd name="connsiteX2" fmla="*/ 25241 w 66675"/>
                  <a:gd name="connsiteY2" fmla="*/ 0 h 67627"/>
                  <a:gd name="connsiteX3" fmla="*/ 66675 w 66675"/>
                  <a:gd name="connsiteY3" fmla="*/ 22384 h 67627"/>
                  <a:gd name="connsiteX4" fmla="*/ 43339 w 66675"/>
                  <a:gd name="connsiteY4" fmla="*/ 67628 h 67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7627">
                    <a:moveTo>
                      <a:pt x="43339" y="67628"/>
                    </a:moveTo>
                    <a:cubicBezTo>
                      <a:pt x="27623" y="58579"/>
                      <a:pt x="14764" y="51435"/>
                      <a:pt x="0" y="42863"/>
                    </a:cubicBezTo>
                    <a:cubicBezTo>
                      <a:pt x="8573" y="28099"/>
                      <a:pt x="16669" y="14764"/>
                      <a:pt x="25241" y="0"/>
                    </a:cubicBezTo>
                    <a:cubicBezTo>
                      <a:pt x="39529" y="7620"/>
                      <a:pt x="52388" y="14764"/>
                      <a:pt x="66675" y="22384"/>
                    </a:cubicBezTo>
                    <a:cubicBezTo>
                      <a:pt x="58579" y="37624"/>
                      <a:pt x="51435" y="51435"/>
                      <a:pt x="43339" y="67628"/>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95" name="Freeform: Shape 294">
                <a:extLst>
                  <a:ext uri="{FF2B5EF4-FFF2-40B4-BE49-F238E27FC236}">
                    <a16:creationId xmlns:a16="http://schemas.microsoft.com/office/drawing/2014/main" id="{C363B617-6E26-4853-837D-AE874716092B}"/>
                  </a:ext>
                </a:extLst>
              </p:cNvPr>
              <p:cNvSpPr/>
              <p:nvPr/>
            </p:nvSpPr>
            <p:spPr>
              <a:xfrm>
                <a:off x="3139895" y="3476839"/>
                <a:ext cx="66675" cy="66198"/>
              </a:xfrm>
              <a:custGeom>
                <a:avLst/>
                <a:gdLst>
                  <a:gd name="connsiteX0" fmla="*/ 45244 w 66675"/>
                  <a:gd name="connsiteY0" fmla="*/ 0 h 66198"/>
                  <a:gd name="connsiteX1" fmla="*/ 66675 w 66675"/>
                  <a:gd name="connsiteY1" fmla="*/ 41434 h 66198"/>
                  <a:gd name="connsiteX2" fmla="*/ 23336 w 66675"/>
                  <a:gd name="connsiteY2" fmla="*/ 66199 h 66198"/>
                  <a:gd name="connsiteX3" fmla="*/ 0 w 66675"/>
                  <a:gd name="connsiteY3" fmla="*/ 22384 h 66198"/>
                  <a:gd name="connsiteX4" fmla="*/ 45244 w 66675"/>
                  <a:gd name="connsiteY4" fmla="*/ 0 h 66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198">
                    <a:moveTo>
                      <a:pt x="45244" y="0"/>
                    </a:moveTo>
                    <a:cubicBezTo>
                      <a:pt x="52864" y="14764"/>
                      <a:pt x="59531" y="27622"/>
                      <a:pt x="66675" y="41434"/>
                    </a:cubicBezTo>
                    <a:cubicBezTo>
                      <a:pt x="53340" y="49054"/>
                      <a:pt x="40005" y="56674"/>
                      <a:pt x="23336" y="66199"/>
                    </a:cubicBezTo>
                    <a:cubicBezTo>
                      <a:pt x="15240" y="50959"/>
                      <a:pt x="7620" y="37147"/>
                      <a:pt x="0" y="22384"/>
                    </a:cubicBezTo>
                    <a:cubicBezTo>
                      <a:pt x="15716" y="14764"/>
                      <a:pt x="29527" y="7620"/>
                      <a:pt x="45244" y="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96" name="Freeform: Shape 295">
                <a:extLst>
                  <a:ext uri="{FF2B5EF4-FFF2-40B4-BE49-F238E27FC236}">
                    <a16:creationId xmlns:a16="http://schemas.microsoft.com/office/drawing/2014/main" id="{8A9709EE-C5CE-4134-86D6-4BCA908A97D4}"/>
                  </a:ext>
                </a:extLst>
              </p:cNvPr>
              <p:cNvSpPr/>
              <p:nvPr/>
            </p:nvSpPr>
            <p:spPr>
              <a:xfrm>
                <a:off x="3192282" y="3562564"/>
                <a:ext cx="68579" cy="69056"/>
              </a:xfrm>
              <a:custGeom>
                <a:avLst/>
                <a:gdLst>
                  <a:gd name="connsiteX0" fmla="*/ 68580 w 68579"/>
                  <a:gd name="connsiteY0" fmla="*/ 39052 h 69056"/>
                  <a:gd name="connsiteX1" fmla="*/ 30004 w 68579"/>
                  <a:gd name="connsiteY1" fmla="*/ 69056 h 69056"/>
                  <a:gd name="connsiteX2" fmla="*/ 0 w 68579"/>
                  <a:gd name="connsiteY2" fmla="*/ 29051 h 69056"/>
                  <a:gd name="connsiteX3" fmla="*/ 41434 w 68579"/>
                  <a:gd name="connsiteY3" fmla="*/ 0 h 69056"/>
                  <a:gd name="connsiteX4" fmla="*/ 68580 w 68579"/>
                  <a:gd name="connsiteY4" fmla="*/ 39052 h 6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79" h="69056">
                    <a:moveTo>
                      <a:pt x="68580" y="39052"/>
                    </a:moveTo>
                    <a:cubicBezTo>
                      <a:pt x="54769" y="49530"/>
                      <a:pt x="43339" y="58579"/>
                      <a:pt x="30004" y="69056"/>
                    </a:cubicBezTo>
                    <a:cubicBezTo>
                      <a:pt x="20002" y="55721"/>
                      <a:pt x="10954" y="43339"/>
                      <a:pt x="0" y="29051"/>
                    </a:cubicBezTo>
                    <a:cubicBezTo>
                      <a:pt x="14288" y="19050"/>
                      <a:pt x="27622" y="10001"/>
                      <a:pt x="41434" y="0"/>
                    </a:cubicBezTo>
                    <a:cubicBezTo>
                      <a:pt x="50483" y="13335"/>
                      <a:pt x="59055" y="25241"/>
                      <a:pt x="68580" y="39052"/>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97" name="Freeform: Shape 296">
                <a:extLst>
                  <a:ext uri="{FF2B5EF4-FFF2-40B4-BE49-F238E27FC236}">
                    <a16:creationId xmlns:a16="http://schemas.microsoft.com/office/drawing/2014/main" id="{F2A35019-2C20-47DF-83A6-35CD3E0B2FDC}"/>
                  </a:ext>
                </a:extLst>
              </p:cNvPr>
              <p:cNvSpPr/>
              <p:nvPr/>
            </p:nvSpPr>
            <p:spPr>
              <a:xfrm>
                <a:off x="3286104" y="2621494"/>
                <a:ext cx="69056" cy="68103"/>
              </a:xfrm>
              <a:custGeom>
                <a:avLst/>
                <a:gdLst>
                  <a:gd name="connsiteX0" fmla="*/ 35719 w 69056"/>
                  <a:gd name="connsiteY0" fmla="*/ 68104 h 68103"/>
                  <a:gd name="connsiteX1" fmla="*/ 0 w 69056"/>
                  <a:gd name="connsiteY1" fmla="*/ 33814 h 68103"/>
                  <a:gd name="connsiteX2" fmla="*/ 36195 w 69056"/>
                  <a:gd name="connsiteY2" fmla="*/ 0 h 68103"/>
                  <a:gd name="connsiteX3" fmla="*/ 69056 w 69056"/>
                  <a:gd name="connsiteY3" fmla="*/ 37148 h 68103"/>
                  <a:gd name="connsiteX4" fmla="*/ 35719 w 69056"/>
                  <a:gd name="connsiteY4" fmla="*/ 68104 h 68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56" h="68103">
                    <a:moveTo>
                      <a:pt x="35719" y="68104"/>
                    </a:moveTo>
                    <a:cubicBezTo>
                      <a:pt x="23336" y="56198"/>
                      <a:pt x="12859" y="46196"/>
                      <a:pt x="0" y="33814"/>
                    </a:cubicBezTo>
                    <a:cubicBezTo>
                      <a:pt x="12382" y="22384"/>
                      <a:pt x="23813" y="11906"/>
                      <a:pt x="36195" y="0"/>
                    </a:cubicBezTo>
                    <a:cubicBezTo>
                      <a:pt x="47625" y="12859"/>
                      <a:pt x="57150" y="23813"/>
                      <a:pt x="69056" y="37148"/>
                    </a:cubicBezTo>
                    <a:cubicBezTo>
                      <a:pt x="58579" y="47149"/>
                      <a:pt x="47625" y="57150"/>
                      <a:pt x="35719" y="68104"/>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98" name="Freeform: Shape 297">
                <a:extLst>
                  <a:ext uri="{FF2B5EF4-FFF2-40B4-BE49-F238E27FC236}">
                    <a16:creationId xmlns:a16="http://schemas.microsoft.com/office/drawing/2014/main" id="{B03E8B9E-BABB-46D8-A11A-90023A8B428A}"/>
                  </a:ext>
                </a:extLst>
              </p:cNvPr>
              <p:cNvSpPr/>
              <p:nvPr/>
            </p:nvSpPr>
            <p:spPr>
              <a:xfrm>
                <a:off x="3456601" y="2507194"/>
                <a:ext cx="64769" cy="66675"/>
              </a:xfrm>
              <a:custGeom>
                <a:avLst/>
                <a:gdLst>
                  <a:gd name="connsiteX0" fmla="*/ 64770 w 64769"/>
                  <a:gd name="connsiteY0" fmla="*/ 47149 h 66675"/>
                  <a:gd name="connsiteX1" fmla="*/ 24765 w 64769"/>
                  <a:gd name="connsiteY1" fmla="*/ 66675 h 66675"/>
                  <a:gd name="connsiteX2" fmla="*/ 0 w 64769"/>
                  <a:gd name="connsiteY2" fmla="*/ 22860 h 66675"/>
                  <a:gd name="connsiteX3" fmla="*/ 45244 w 64769"/>
                  <a:gd name="connsiteY3" fmla="*/ 0 h 66675"/>
                  <a:gd name="connsiteX4" fmla="*/ 64770 w 64769"/>
                  <a:gd name="connsiteY4" fmla="*/ 47149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69" h="66675">
                    <a:moveTo>
                      <a:pt x="64770" y="47149"/>
                    </a:moveTo>
                    <a:cubicBezTo>
                      <a:pt x="50006" y="54293"/>
                      <a:pt x="38100" y="60484"/>
                      <a:pt x="24765" y="66675"/>
                    </a:cubicBezTo>
                    <a:cubicBezTo>
                      <a:pt x="16669" y="51911"/>
                      <a:pt x="9049" y="38576"/>
                      <a:pt x="0" y="22860"/>
                    </a:cubicBezTo>
                    <a:cubicBezTo>
                      <a:pt x="15240" y="15240"/>
                      <a:pt x="29051" y="8096"/>
                      <a:pt x="45244" y="0"/>
                    </a:cubicBezTo>
                    <a:cubicBezTo>
                      <a:pt x="51911" y="15716"/>
                      <a:pt x="57626" y="30480"/>
                      <a:pt x="64770" y="47149"/>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299" name="Freeform: Shape 298">
                <a:extLst>
                  <a:ext uri="{FF2B5EF4-FFF2-40B4-BE49-F238E27FC236}">
                    <a16:creationId xmlns:a16="http://schemas.microsoft.com/office/drawing/2014/main" id="{8976B349-EA50-46C8-80E4-742C933B1DEA}"/>
                  </a:ext>
                </a:extLst>
              </p:cNvPr>
              <p:cNvSpPr/>
              <p:nvPr/>
            </p:nvSpPr>
            <p:spPr>
              <a:xfrm>
                <a:off x="3555185" y="2473380"/>
                <a:ext cx="60483" cy="61912"/>
              </a:xfrm>
              <a:custGeom>
                <a:avLst/>
                <a:gdLst>
                  <a:gd name="connsiteX0" fmla="*/ 16669 w 60483"/>
                  <a:gd name="connsiteY0" fmla="*/ 61913 h 61912"/>
                  <a:gd name="connsiteX1" fmla="*/ 0 w 60483"/>
                  <a:gd name="connsiteY1" fmla="*/ 14288 h 61912"/>
                  <a:gd name="connsiteX2" fmla="*/ 46673 w 60483"/>
                  <a:gd name="connsiteY2" fmla="*/ 0 h 61912"/>
                  <a:gd name="connsiteX3" fmla="*/ 60484 w 60483"/>
                  <a:gd name="connsiteY3" fmla="*/ 47625 h 61912"/>
                  <a:gd name="connsiteX4" fmla="*/ 16669 w 60483"/>
                  <a:gd name="connsiteY4" fmla="*/ 61913 h 61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483" h="61912">
                    <a:moveTo>
                      <a:pt x="16669" y="61913"/>
                    </a:moveTo>
                    <a:cubicBezTo>
                      <a:pt x="10477" y="44291"/>
                      <a:pt x="5715" y="30480"/>
                      <a:pt x="0" y="14288"/>
                    </a:cubicBezTo>
                    <a:cubicBezTo>
                      <a:pt x="15716" y="9525"/>
                      <a:pt x="29527" y="5239"/>
                      <a:pt x="46673" y="0"/>
                    </a:cubicBezTo>
                    <a:cubicBezTo>
                      <a:pt x="50959" y="15716"/>
                      <a:pt x="55245" y="30480"/>
                      <a:pt x="60484" y="47625"/>
                    </a:cubicBezTo>
                    <a:cubicBezTo>
                      <a:pt x="45720" y="52388"/>
                      <a:pt x="32385" y="56674"/>
                      <a:pt x="16669" y="61913"/>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grpSp>
      </p:grpSp>
      <p:sp>
        <p:nvSpPr>
          <p:cNvPr id="194" name="TextBox 193">
            <a:extLst>
              <a:ext uri="{FF2B5EF4-FFF2-40B4-BE49-F238E27FC236}">
                <a16:creationId xmlns:a16="http://schemas.microsoft.com/office/drawing/2014/main" id="{82CB345C-82D1-49C5-84F1-14FE1160A5B6}"/>
              </a:ext>
            </a:extLst>
          </p:cNvPr>
          <p:cNvSpPr txBox="1"/>
          <p:nvPr/>
        </p:nvSpPr>
        <p:spPr>
          <a:xfrm>
            <a:off x="9043537" y="5386239"/>
            <a:ext cx="2138169" cy="1169551"/>
          </a:xfrm>
          <a:prstGeom prst="rect">
            <a:avLst/>
          </a:prstGeom>
          <a:noFill/>
        </p:spPr>
        <p:txBody>
          <a:bodyPr wrap="square" rtlCol="0">
            <a:spAutoFit/>
          </a:bodyPr>
          <a:lstStyle/>
          <a:p>
            <a:pPr defTabSz="1219170">
              <a:defRPr/>
            </a:pPr>
            <a:r>
              <a:rPr lang="en-US" sz="1400" b="1" dirty="0">
                <a:solidFill>
                  <a:srgbClr val="B7FFFF">
                    <a:lumMod val="10000"/>
                  </a:srgbClr>
                </a:solidFill>
                <a:latin typeface="Arial"/>
              </a:rPr>
              <a:t>Leverage Existing Facilities</a:t>
            </a:r>
          </a:p>
          <a:p>
            <a:pPr marL="152396" indent="-152396" defTabSz="1219170">
              <a:buFont typeface="Arial" panose="020B0604020202020204" pitchFamily="34" charset="0"/>
              <a:buChar char="•"/>
              <a:defRPr/>
            </a:pPr>
            <a:r>
              <a:rPr lang="en-US" sz="1400" dirty="0">
                <a:solidFill>
                  <a:srgbClr val="000000"/>
                </a:solidFill>
                <a:latin typeface="Arial"/>
              </a:rPr>
              <a:t>Facilities of large pharma partners</a:t>
            </a:r>
          </a:p>
          <a:p>
            <a:pPr marL="152396" indent="-152396" defTabSz="1219170">
              <a:buFont typeface="Arial" panose="020B0604020202020204" pitchFamily="34" charset="0"/>
              <a:buChar char="•"/>
              <a:defRPr/>
            </a:pPr>
            <a:r>
              <a:rPr lang="en-US" sz="1400" dirty="0">
                <a:solidFill>
                  <a:srgbClr val="000000"/>
                </a:solidFill>
                <a:latin typeface="Arial"/>
              </a:rPr>
              <a:t>CMOs</a:t>
            </a:r>
          </a:p>
        </p:txBody>
      </p:sp>
      <p:grpSp>
        <p:nvGrpSpPr>
          <p:cNvPr id="300" name="Group 299">
            <a:extLst>
              <a:ext uri="{FF2B5EF4-FFF2-40B4-BE49-F238E27FC236}">
                <a16:creationId xmlns:a16="http://schemas.microsoft.com/office/drawing/2014/main" id="{54393302-E52E-41B2-A636-7BF3C900EE97}"/>
              </a:ext>
            </a:extLst>
          </p:cNvPr>
          <p:cNvGrpSpPr/>
          <p:nvPr/>
        </p:nvGrpSpPr>
        <p:grpSpPr>
          <a:xfrm>
            <a:off x="8439216" y="5386239"/>
            <a:ext cx="604321" cy="604321"/>
            <a:chOff x="6596937" y="3036631"/>
            <a:chExt cx="453241" cy="453241"/>
          </a:xfrm>
        </p:grpSpPr>
        <p:sp>
          <p:nvSpPr>
            <p:cNvPr id="301" name="Oval 300">
              <a:extLst>
                <a:ext uri="{FF2B5EF4-FFF2-40B4-BE49-F238E27FC236}">
                  <a16:creationId xmlns:a16="http://schemas.microsoft.com/office/drawing/2014/main" id="{CA20F77E-80AC-44EB-BC76-2C88EE1A3980}"/>
                </a:ext>
              </a:extLst>
            </p:cNvPr>
            <p:cNvSpPr/>
            <p:nvPr/>
          </p:nvSpPr>
          <p:spPr>
            <a:xfrm>
              <a:off x="6596937" y="3036631"/>
              <a:ext cx="453241" cy="453241"/>
            </a:xfrm>
            <a:prstGeom prst="ellipse">
              <a:avLst/>
            </a:prstGeom>
            <a:gradFill>
              <a:gsLst>
                <a:gs pos="0">
                  <a:schemeClr val="accent6">
                    <a:lumMod val="10000"/>
                  </a:schemeClr>
                </a:gs>
                <a:gs pos="100000">
                  <a:schemeClr val="accent6">
                    <a:lumMod val="25000"/>
                  </a:schemeClr>
                </a:gs>
              </a:gsLst>
            </a:gradFill>
            <a:ln>
              <a:noFill/>
            </a:ln>
            <a:effectLst/>
          </p:spPr>
          <p:style>
            <a:lnRef idx="1">
              <a:schemeClr val="dk1"/>
            </a:lnRef>
            <a:fillRef idx="3">
              <a:schemeClr val="dk1"/>
            </a:fillRef>
            <a:effectRef idx="2">
              <a:schemeClr val="dk1"/>
            </a:effectRef>
            <a:fontRef idx="minor">
              <a:schemeClr val="lt1"/>
            </a:fontRef>
          </p:style>
          <p:txBody>
            <a:bodyPr rtlCol="0" anchor="ctr"/>
            <a:lstStyle/>
            <a:p>
              <a:pPr algn="ctr" defTabSz="1219170"/>
              <a:endParaRPr lang="en-US" sz="1867" dirty="0">
                <a:solidFill>
                  <a:prstClr val="white"/>
                </a:solidFill>
                <a:latin typeface="Arial"/>
              </a:endParaRPr>
            </a:p>
          </p:txBody>
        </p:sp>
        <p:grpSp>
          <p:nvGrpSpPr>
            <p:cNvPr id="302" name="Graphic 8">
              <a:extLst>
                <a:ext uri="{FF2B5EF4-FFF2-40B4-BE49-F238E27FC236}">
                  <a16:creationId xmlns:a16="http://schemas.microsoft.com/office/drawing/2014/main" id="{29A96D5C-8D0F-41FE-8E70-DE62583E49F1}"/>
                </a:ext>
              </a:extLst>
            </p:cNvPr>
            <p:cNvGrpSpPr/>
            <p:nvPr/>
          </p:nvGrpSpPr>
          <p:grpSpPr>
            <a:xfrm>
              <a:off x="6657164" y="3081555"/>
              <a:ext cx="292025" cy="316125"/>
              <a:chOff x="2800056" y="2019038"/>
              <a:chExt cx="1745253" cy="1889284"/>
            </a:xfrm>
            <a:solidFill>
              <a:srgbClr val="00ADB4"/>
            </a:solidFill>
          </p:grpSpPr>
          <p:sp>
            <p:nvSpPr>
              <p:cNvPr id="303" name="Freeform: Shape 302">
                <a:extLst>
                  <a:ext uri="{FF2B5EF4-FFF2-40B4-BE49-F238E27FC236}">
                    <a16:creationId xmlns:a16="http://schemas.microsoft.com/office/drawing/2014/main" id="{BE2E1C00-826B-4811-ABA3-F61DD47CEFD8}"/>
                  </a:ext>
                </a:extLst>
              </p:cNvPr>
              <p:cNvSpPr/>
              <p:nvPr/>
            </p:nvSpPr>
            <p:spPr>
              <a:xfrm>
                <a:off x="3681391" y="2019038"/>
                <a:ext cx="863917" cy="703421"/>
              </a:xfrm>
              <a:custGeom>
                <a:avLst/>
                <a:gdLst>
                  <a:gd name="connsiteX0" fmla="*/ 110014 w 863917"/>
                  <a:gd name="connsiteY0" fmla="*/ 0 h 703421"/>
                  <a:gd name="connsiteX1" fmla="*/ 110014 w 863917"/>
                  <a:gd name="connsiteY1" fmla="*/ 402431 h 703421"/>
                  <a:gd name="connsiteX2" fmla="*/ 328613 w 863917"/>
                  <a:gd name="connsiteY2" fmla="*/ 402431 h 703421"/>
                  <a:gd name="connsiteX3" fmla="*/ 328613 w 863917"/>
                  <a:gd name="connsiteY3" fmla="*/ 159068 h 703421"/>
                  <a:gd name="connsiteX4" fmla="*/ 457200 w 863917"/>
                  <a:gd name="connsiteY4" fmla="*/ 286703 h 703421"/>
                  <a:gd name="connsiteX5" fmla="*/ 580073 w 863917"/>
                  <a:gd name="connsiteY5" fmla="*/ 408146 h 703421"/>
                  <a:gd name="connsiteX6" fmla="*/ 587693 w 863917"/>
                  <a:gd name="connsiteY6" fmla="*/ 402908 h 703421"/>
                  <a:gd name="connsiteX7" fmla="*/ 587693 w 863917"/>
                  <a:gd name="connsiteY7" fmla="*/ 160973 h 703421"/>
                  <a:gd name="connsiteX8" fmla="*/ 608648 w 863917"/>
                  <a:gd name="connsiteY8" fmla="*/ 180023 h 703421"/>
                  <a:gd name="connsiteX9" fmla="*/ 807244 w 863917"/>
                  <a:gd name="connsiteY9" fmla="*/ 377666 h 703421"/>
                  <a:gd name="connsiteX10" fmla="*/ 863918 w 863917"/>
                  <a:gd name="connsiteY10" fmla="*/ 402908 h 703421"/>
                  <a:gd name="connsiteX11" fmla="*/ 863918 w 863917"/>
                  <a:gd name="connsiteY11" fmla="*/ 703421 h 703421"/>
                  <a:gd name="connsiteX12" fmla="*/ 0 w 863917"/>
                  <a:gd name="connsiteY12" fmla="*/ 703421 h 703421"/>
                  <a:gd name="connsiteX13" fmla="*/ 0 w 863917"/>
                  <a:gd name="connsiteY13" fmla="*/ 405289 h 703421"/>
                  <a:gd name="connsiteX14" fmla="*/ 57150 w 863917"/>
                  <a:gd name="connsiteY14" fmla="*/ 405289 h 703421"/>
                  <a:gd name="connsiteX15" fmla="*/ 57150 w 863917"/>
                  <a:gd name="connsiteY15" fmla="*/ 476 h 703421"/>
                  <a:gd name="connsiteX16" fmla="*/ 110014 w 863917"/>
                  <a:gd name="connsiteY16" fmla="*/ 0 h 703421"/>
                  <a:gd name="connsiteX17" fmla="*/ 102870 w 863917"/>
                  <a:gd name="connsiteY17" fmla="*/ 642461 h 703421"/>
                  <a:gd name="connsiteX18" fmla="*/ 165259 w 863917"/>
                  <a:gd name="connsiteY18" fmla="*/ 642461 h 703421"/>
                  <a:gd name="connsiteX19" fmla="*/ 165259 w 863917"/>
                  <a:gd name="connsiteY19" fmla="*/ 582454 h 703421"/>
                  <a:gd name="connsiteX20" fmla="*/ 102870 w 863917"/>
                  <a:gd name="connsiteY20" fmla="*/ 582454 h 703421"/>
                  <a:gd name="connsiteX21" fmla="*/ 102870 w 863917"/>
                  <a:gd name="connsiteY21" fmla="*/ 642461 h 703421"/>
                  <a:gd name="connsiteX22" fmla="*/ 284798 w 863917"/>
                  <a:gd name="connsiteY22" fmla="*/ 582454 h 703421"/>
                  <a:gd name="connsiteX23" fmla="*/ 223838 w 863917"/>
                  <a:gd name="connsiteY23" fmla="*/ 582454 h 703421"/>
                  <a:gd name="connsiteX24" fmla="*/ 223838 w 863917"/>
                  <a:gd name="connsiteY24" fmla="*/ 642938 h 703421"/>
                  <a:gd name="connsiteX25" fmla="*/ 284798 w 863917"/>
                  <a:gd name="connsiteY25" fmla="*/ 642938 h 703421"/>
                  <a:gd name="connsiteX26" fmla="*/ 284798 w 863917"/>
                  <a:gd name="connsiteY26" fmla="*/ 582454 h 703421"/>
                  <a:gd name="connsiteX27" fmla="*/ 102870 w 863917"/>
                  <a:gd name="connsiteY27" fmla="*/ 466249 h 703421"/>
                  <a:gd name="connsiteX28" fmla="*/ 102870 w 863917"/>
                  <a:gd name="connsiteY28" fmla="*/ 527209 h 703421"/>
                  <a:gd name="connsiteX29" fmla="*/ 165259 w 863917"/>
                  <a:gd name="connsiteY29" fmla="*/ 527209 h 703421"/>
                  <a:gd name="connsiteX30" fmla="*/ 165259 w 863917"/>
                  <a:gd name="connsiteY30" fmla="*/ 466249 h 703421"/>
                  <a:gd name="connsiteX31" fmla="*/ 102870 w 863917"/>
                  <a:gd name="connsiteY31" fmla="*/ 466249 h 703421"/>
                  <a:gd name="connsiteX32" fmla="*/ 222885 w 863917"/>
                  <a:gd name="connsiteY32" fmla="*/ 465773 h 703421"/>
                  <a:gd name="connsiteX33" fmla="*/ 222885 w 863917"/>
                  <a:gd name="connsiteY33" fmla="*/ 526733 h 703421"/>
                  <a:gd name="connsiteX34" fmla="*/ 284321 w 863917"/>
                  <a:gd name="connsiteY34" fmla="*/ 526733 h 703421"/>
                  <a:gd name="connsiteX35" fmla="*/ 284321 w 863917"/>
                  <a:gd name="connsiteY35" fmla="*/ 465773 h 703421"/>
                  <a:gd name="connsiteX36" fmla="*/ 222885 w 863917"/>
                  <a:gd name="connsiteY36" fmla="*/ 465773 h 703421"/>
                  <a:gd name="connsiteX37" fmla="*/ 760572 w 863917"/>
                  <a:gd name="connsiteY37" fmla="*/ 581978 h 703421"/>
                  <a:gd name="connsiteX38" fmla="*/ 700564 w 863917"/>
                  <a:gd name="connsiteY38" fmla="*/ 581978 h 703421"/>
                  <a:gd name="connsiteX39" fmla="*/ 700564 w 863917"/>
                  <a:gd name="connsiteY39" fmla="*/ 642938 h 703421"/>
                  <a:gd name="connsiteX40" fmla="*/ 760572 w 863917"/>
                  <a:gd name="connsiteY40" fmla="*/ 642938 h 703421"/>
                  <a:gd name="connsiteX41" fmla="*/ 760572 w 863917"/>
                  <a:gd name="connsiteY41" fmla="*/ 581978 h 703421"/>
                  <a:gd name="connsiteX42" fmla="*/ 581501 w 863917"/>
                  <a:gd name="connsiteY42" fmla="*/ 581978 h 703421"/>
                  <a:gd name="connsiteX43" fmla="*/ 581501 w 863917"/>
                  <a:gd name="connsiteY43" fmla="*/ 643414 h 703421"/>
                  <a:gd name="connsiteX44" fmla="*/ 640556 w 863917"/>
                  <a:gd name="connsiteY44" fmla="*/ 643414 h 703421"/>
                  <a:gd name="connsiteX45" fmla="*/ 640556 w 863917"/>
                  <a:gd name="connsiteY45" fmla="*/ 581978 h 703421"/>
                  <a:gd name="connsiteX46" fmla="*/ 581501 w 863917"/>
                  <a:gd name="connsiteY46" fmla="*/ 581978 h 703421"/>
                  <a:gd name="connsiteX47" fmla="*/ 522446 w 863917"/>
                  <a:gd name="connsiteY47" fmla="*/ 582454 h 703421"/>
                  <a:gd name="connsiteX48" fmla="*/ 462439 w 863917"/>
                  <a:gd name="connsiteY48" fmla="*/ 582454 h 703421"/>
                  <a:gd name="connsiteX49" fmla="*/ 462439 w 863917"/>
                  <a:gd name="connsiteY49" fmla="*/ 642938 h 703421"/>
                  <a:gd name="connsiteX50" fmla="*/ 522446 w 863917"/>
                  <a:gd name="connsiteY50" fmla="*/ 642938 h 703421"/>
                  <a:gd name="connsiteX51" fmla="*/ 522446 w 863917"/>
                  <a:gd name="connsiteY51" fmla="*/ 582454 h 703421"/>
                  <a:gd name="connsiteX52" fmla="*/ 403384 w 863917"/>
                  <a:gd name="connsiteY52" fmla="*/ 583406 h 703421"/>
                  <a:gd name="connsiteX53" fmla="*/ 342900 w 863917"/>
                  <a:gd name="connsiteY53" fmla="*/ 583406 h 703421"/>
                  <a:gd name="connsiteX54" fmla="*/ 342900 w 863917"/>
                  <a:gd name="connsiteY54" fmla="*/ 642461 h 703421"/>
                  <a:gd name="connsiteX55" fmla="*/ 403384 w 863917"/>
                  <a:gd name="connsiteY55" fmla="*/ 642461 h 703421"/>
                  <a:gd name="connsiteX56" fmla="*/ 403384 w 863917"/>
                  <a:gd name="connsiteY56" fmla="*/ 583406 h 703421"/>
                  <a:gd name="connsiteX57" fmla="*/ 342424 w 863917"/>
                  <a:gd name="connsiteY57" fmla="*/ 527209 h 703421"/>
                  <a:gd name="connsiteX58" fmla="*/ 403384 w 863917"/>
                  <a:gd name="connsiteY58" fmla="*/ 527209 h 703421"/>
                  <a:gd name="connsiteX59" fmla="*/ 403384 w 863917"/>
                  <a:gd name="connsiteY59" fmla="*/ 466249 h 703421"/>
                  <a:gd name="connsiteX60" fmla="*/ 342424 w 863917"/>
                  <a:gd name="connsiteY60" fmla="*/ 466249 h 703421"/>
                  <a:gd name="connsiteX61" fmla="*/ 342424 w 863917"/>
                  <a:gd name="connsiteY61" fmla="*/ 527209 h 703421"/>
                  <a:gd name="connsiteX62" fmla="*/ 581978 w 863917"/>
                  <a:gd name="connsiteY62" fmla="*/ 465296 h 703421"/>
                  <a:gd name="connsiteX63" fmla="*/ 581978 w 863917"/>
                  <a:gd name="connsiteY63" fmla="*/ 527685 h 703421"/>
                  <a:gd name="connsiteX64" fmla="*/ 641033 w 863917"/>
                  <a:gd name="connsiteY64" fmla="*/ 527685 h 703421"/>
                  <a:gd name="connsiteX65" fmla="*/ 641033 w 863917"/>
                  <a:gd name="connsiteY65" fmla="*/ 465296 h 703421"/>
                  <a:gd name="connsiteX66" fmla="*/ 581978 w 863917"/>
                  <a:gd name="connsiteY66" fmla="*/ 465296 h 703421"/>
                  <a:gd name="connsiteX67" fmla="*/ 700564 w 863917"/>
                  <a:gd name="connsiteY67" fmla="*/ 465773 h 703421"/>
                  <a:gd name="connsiteX68" fmla="*/ 700564 w 863917"/>
                  <a:gd name="connsiteY68" fmla="*/ 527209 h 703421"/>
                  <a:gd name="connsiteX69" fmla="*/ 760095 w 863917"/>
                  <a:gd name="connsiteY69" fmla="*/ 527209 h 703421"/>
                  <a:gd name="connsiteX70" fmla="*/ 760095 w 863917"/>
                  <a:gd name="connsiteY70" fmla="*/ 465773 h 703421"/>
                  <a:gd name="connsiteX71" fmla="*/ 700564 w 863917"/>
                  <a:gd name="connsiteY71" fmla="*/ 465773 h 703421"/>
                  <a:gd name="connsiteX72" fmla="*/ 462439 w 863917"/>
                  <a:gd name="connsiteY72" fmla="*/ 465773 h 703421"/>
                  <a:gd name="connsiteX73" fmla="*/ 462439 w 863917"/>
                  <a:gd name="connsiteY73" fmla="*/ 527209 h 703421"/>
                  <a:gd name="connsiteX74" fmla="*/ 521970 w 863917"/>
                  <a:gd name="connsiteY74" fmla="*/ 527209 h 703421"/>
                  <a:gd name="connsiteX75" fmla="*/ 521970 w 863917"/>
                  <a:gd name="connsiteY75" fmla="*/ 465773 h 703421"/>
                  <a:gd name="connsiteX76" fmla="*/ 462439 w 863917"/>
                  <a:gd name="connsiteY76" fmla="*/ 465773 h 703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863917" h="703421">
                    <a:moveTo>
                      <a:pt x="110014" y="0"/>
                    </a:moveTo>
                    <a:cubicBezTo>
                      <a:pt x="110014" y="133350"/>
                      <a:pt x="110014" y="267176"/>
                      <a:pt x="110014" y="402431"/>
                    </a:cubicBezTo>
                    <a:cubicBezTo>
                      <a:pt x="183833" y="402431"/>
                      <a:pt x="254794" y="402431"/>
                      <a:pt x="328613" y="402431"/>
                    </a:cubicBezTo>
                    <a:cubicBezTo>
                      <a:pt x="328613" y="323374"/>
                      <a:pt x="328613" y="244793"/>
                      <a:pt x="328613" y="159068"/>
                    </a:cubicBezTo>
                    <a:cubicBezTo>
                      <a:pt x="374809" y="204788"/>
                      <a:pt x="415766" y="245745"/>
                      <a:pt x="457200" y="286703"/>
                    </a:cubicBezTo>
                    <a:cubicBezTo>
                      <a:pt x="498158" y="327184"/>
                      <a:pt x="539115" y="368141"/>
                      <a:pt x="580073" y="408146"/>
                    </a:cubicBezTo>
                    <a:cubicBezTo>
                      <a:pt x="582454" y="406241"/>
                      <a:pt x="585311" y="404813"/>
                      <a:pt x="587693" y="402908"/>
                    </a:cubicBezTo>
                    <a:cubicBezTo>
                      <a:pt x="587693" y="324326"/>
                      <a:pt x="587693" y="245745"/>
                      <a:pt x="587693" y="160973"/>
                    </a:cubicBezTo>
                    <a:cubicBezTo>
                      <a:pt x="597694" y="170021"/>
                      <a:pt x="603409" y="174784"/>
                      <a:pt x="608648" y="180023"/>
                    </a:cubicBezTo>
                    <a:cubicBezTo>
                      <a:pt x="674847" y="245745"/>
                      <a:pt x="741522" y="311468"/>
                      <a:pt x="807244" y="377666"/>
                    </a:cubicBezTo>
                    <a:cubicBezTo>
                      <a:pt x="822960" y="393383"/>
                      <a:pt x="836772" y="411956"/>
                      <a:pt x="863918" y="402908"/>
                    </a:cubicBezTo>
                    <a:cubicBezTo>
                      <a:pt x="863918" y="504825"/>
                      <a:pt x="863918" y="603409"/>
                      <a:pt x="863918" y="703421"/>
                    </a:cubicBezTo>
                    <a:cubicBezTo>
                      <a:pt x="576263" y="703421"/>
                      <a:pt x="289084" y="703421"/>
                      <a:pt x="0" y="703421"/>
                    </a:cubicBezTo>
                    <a:cubicBezTo>
                      <a:pt x="0" y="604838"/>
                      <a:pt x="0" y="506254"/>
                      <a:pt x="0" y="405289"/>
                    </a:cubicBezTo>
                    <a:cubicBezTo>
                      <a:pt x="17145" y="405289"/>
                      <a:pt x="35242" y="405289"/>
                      <a:pt x="57150" y="405289"/>
                    </a:cubicBezTo>
                    <a:cubicBezTo>
                      <a:pt x="57150" y="268605"/>
                      <a:pt x="57150" y="134303"/>
                      <a:pt x="57150" y="476"/>
                    </a:cubicBezTo>
                    <a:cubicBezTo>
                      <a:pt x="75248" y="0"/>
                      <a:pt x="92869" y="0"/>
                      <a:pt x="110014" y="0"/>
                    </a:cubicBezTo>
                    <a:close/>
                    <a:moveTo>
                      <a:pt x="102870" y="642461"/>
                    </a:moveTo>
                    <a:cubicBezTo>
                      <a:pt x="124778" y="642461"/>
                      <a:pt x="144780" y="642461"/>
                      <a:pt x="165259" y="642461"/>
                    </a:cubicBezTo>
                    <a:cubicBezTo>
                      <a:pt x="165259" y="621506"/>
                      <a:pt x="165259" y="602933"/>
                      <a:pt x="165259" y="582454"/>
                    </a:cubicBezTo>
                    <a:cubicBezTo>
                      <a:pt x="143828" y="582454"/>
                      <a:pt x="124301" y="582454"/>
                      <a:pt x="102870" y="582454"/>
                    </a:cubicBezTo>
                    <a:cubicBezTo>
                      <a:pt x="102870" y="602933"/>
                      <a:pt x="102870" y="621506"/>
                      <a:pt x="102870" y="642461"/>
                    </a:cubicBezTo>
                    <a:close/>
                    <a:moveTo>
                      <a:pt x="284798" y="582454"/>
                    </a:moveTo>
                    <a:cubicBezTo>
                      <a:pt x="262890" y="582454"/>
                      <a:pt x="243840" y="582454"/>
                      <a:pt x="223838" y="582454"/>
                    </a:cubicBezTo>
                    <a:cubicBezTo>
                      <a:pt x="223838" y="603885"/>
                      <a:pt x="223838" y="623888"/>
                      <a:pt x="223838" y="642938"/>
                    </a:cubicBezTo>
                    <a:cubicBezTo>
                      <a:pt x="245269" y="642938"/>
                      <a:pt x="264795" y="642938"/>
                      <a:pt x="284798" y="642938"/>
                    </a:cubicBezTo>
                    <a:cubicBezTo>
                      <a:pt x="284798" y="621983"/>
                      <a:pt x="284798" y="603409"/>
                      <a:pt x="284798" y="582454"/>
                    </a:cubicBezTo>
                    <a:close/>
                    <a:moveTo>
                      <a:pt x="102870" y="466249"/>
                    </a:moveTo>
                    <a:cubicBezTo>
                      <a:pt x="102870" y="487204"/>
                      <a:pt x="102870" y="506254"/>
                      <a:pt x="102870" y="527209"/>
                    </a:cubicBezTo>
                    <a:cubicBezTo>
                      <a:pt x="124301" y="527209"/>
                      <a:pt x="143828" y="527209"/>
                      <a:pt x="165259" y="527209"/>
                    </a:cubicBezTo>
                    <a:cubicBezTo>
                      <a:pt x="165259" y="506254"/>
                      <a:pt x="165259" y="487204"/>
                      <a:pt x="165259" y="466249"/>
                    </a:cubicBezTo>
                    <a:cubicBezTo>
                      <a:pt x="143828" y="466249"/>
                      <a:pt x="123825" y="466249"/>
                      <a:pt x="102870" y="466249"/>
                    </a:cubicBezTo>
                    <a:close/>
                    <a:moveTo>
                      <a:pt x="222885" y="465773"/>
                    </a:moveTo>
                    <a:cubicBezTo>
                      <a:pt x="222885" y="486728"/>
                      <a:pt x="222885" y="506254"/>
                      <a:pt x="222885" y="526733"/>
                    </a:cubicBezTo>
                    <a:cubicBezTo>
                      <a:pt x="244316" y="526733"/>
                      <a:pt x="263843" y="526733"/>
                      <a:pt x="284321" y="526733"/>
                    </a:cubicBezTo>
                    <a:cubicBezTo>
                      <a:pt x="284321" y="505301"/>
                      <a:pt x="284321" y="486251"/>
                      <a:pt x="284321" y="465773"/>
                    </a:cubicBezTo>
                    <a:cubicBezTo>
                      <a:pt x="263843" y="465773"/>
                      <a:pt x="245269" y="465773"/>
                      <a:pt x="222885" y="465773"/>
                    </a:cubicBezTo>
                    <a:close/>
                    <a:moveTo>
                      <a:pt x="760572" y="581978"/>
                    </a:moveTo>
                    <a:cubicBezTo>
                      <a:pt x="739140" y="581978"/>
                      <a:pt x="720566" y="581978"/>
                      <a:pt x="700564" y="581978"/>
                    </a:cubicBezTo>
                    <a:cubicBezTo>
                      <a:pt x="700564" y="602456"/>
                      <a:pt x="700564" y="621983"/>
                      <a:pt x="700564" y="642938"/>
                    </a:cubicBezTo>
                    <a:cubicBezTo>
                      <a:pt x="720566" y="642938"/>
                      <a:pt x="739616" y="642938"/>
                      <a:pt x="760572" y="642938"/>
                    </a:cubicBezTo>
                    <a:cubicBezTo>
                      <a:pt x="760572" y="622459"/>
                      <a:pt x="760572" y="603409"/>
                      <a:pt x="760572" y="581978"/>
                    </a:cubicBezTo>
                    <a:close/>
                    <a:moveTo>
                      <a:pt x="581501" y="581978"/>
                    </a:moveTo>
                    <a:cubicBezTo>
                      <a:pt x="581501" y="603885"/>
                      <a:pt x="581501" y="623411"/>
                      <a:pt x="581501" y="643414"/>
                    </a:cubicBezTo>
                    <a:cubicBezTo>
                      <a:pt x="601980" y="643414"/>
                      <a:pt x="621506" y="643414"/>
                      <a:pt x="640556" y="643414"/>
                    </a:cubicBezTo>
                    <a:cubicBezTo>
                      <a:pt x="640556" y="621983"/>
                      <a:pt x="640556" y="602456"/>
                      <a:pt x="640556" y="581978"/>
                    </a:cubicBezTo>
                    <a:cubicBezTo>
                      <a:pt x="620554" y="581978"/>
                      <a:pt x="601980" y="581978"/>
                      <a:pt x="581501" y="581978"/>
                    </a:cubicBezTo>
                    <a:close/>
                    <a:moveTo>
                      <a:pt x="522446" y="582454"/>
                    </a:moveTo>
                    <a:cubicBezTo>
                      <a:pt x="500539" y="582454"/>
                      <a:pt x="481489" y="582454"/>
                      <a:pt x="462439" y="582454"/>
                    </a:cubicBezTo>
                    <a:cubicBezTo>
                      <a:pt x="462439" y="603885"/>
                      <a:pt x="462439" y="622935"/>
                      <a:pt x="462439" y="642938"/>
                    </a:cubicBezTo>
                    <a:cubicBezTo>
                      <a:pt x="483394" y="642938"/>
                      <a:pt x="502444" y="642938"/>
                      <a:pt x="522446" y="642938"/>
                    </a:cubicBezTo>
                    <a:cubicBezTo>
                      <a:pt x="522446" y="622459"/>
                      <a:pt x="522446" y="602933"/>
                      <a:pt x="522446" y="582454"/>
                    </a:cubicBezTo>
                    <a:close/>
                    <a:moveTo>
                      <a:pt x="403384" y="583406"/>
                    </a:moveTo>
                    <a:cubicBezTo>
                      <a:pt x="381000" y="583406"/>
                      <a:pt x="361950" y="583406"/>
                      <a:pt x="342900" y="583406"/>
                    </a:cubicBezTo>
                    <a:cubicBezTo>
                      <a:pt x="342900" y="604838"/>
                      <a:pt x="342900" y="623411"/>
                      <a:pt x="342900" y="642461"/>
                    </a:cubicBezTo>
                    <a:cubicBezTo>
                      <a:pt x="363855" y="642461"/>
                      <a:pt x="383858" y="642461"/>
                      <a:pt x="403384" y="642461"/>
                    </a:cubicBezTo>
                    <a:cubicBezTo>
                      <a:pt x="403384" y="621506"/>
                      <a:pt x="403384" y="602933"/>
                      <a:pt x="403384" y="583406"/>
                    </a:cubicBezTo>
                    <a:close/>
                    <a:moveTo>
                      <a:pt x="342424" y="527209"/>
                    </a:moveTo>
                    <a:cubicBezTo>
                      <a:pt x="364808" y="527209"/>
                      <a:pt x="383858" y="527209"/>
                      <a:pt x="403384" y="527209"/>
                    </a:cubicBezTo>
                    <a:cubicBezTo>
                      <a:pt x="403384" y="506254"/>
                      <a:pt x="403384" y="486728"/>
                      <a:pt x="403384" y="466249"/>
                    </a:cubicBezTo>
                    <a:cubicBezTo>
                      <a:pt x="382429" y="466249"/>
                      <a:pt x="362426" y="466249"/>
                      <a:pt x="342424" y="466249"/>
                    </a:cubicBezTo>
                    <a:cubicBezTo>
                      <a:pt x="342424" y="487204"/>
                      <a:pt x="342424" y="506730"/>
                      <a:pt x="342424" y="527209"/>
                    </a:cubicBezTo>
                    <a:close/>
                    <a:moveTo>
                      <a:pt x="581978" y="465296"/>
                    </a:moveTo>
                    <a:cubicBezTo>
                      <a:pt x="581978" y="487680"/>
                      <a:pt x="581978" y="507683"/>
                      <a:pt x="581978" y="527685"/>
                    </a:cubicBezTo>
                    <a:cubicBezTo>
                      <a:pt x="602933" y="527685"/>
                      <a:pt x="621506" y="527685"/>
                      <a:pt x="641033" y="527685"/>
                    </a:cubicBezTo>
                    <a:cubicBezTo>
                      <a:pt x="641033" y="506254"/>
                      <a:pt x="641033" y="486251"/>
                      <a:pt x="641033" y="465296"/>
                    </a:cubicBezTo>
                    <a:cubicBezTo>
                      <a:pt x="621030" y="465296"/>
                      <a:pt x="602456" y="465296"/>
                      <a:pt x="581978" y="465296"/>
                    </a:cubicBezTo>
                    <a:close/>
                    <a:moveTo>
                      <a:pt x="700564" y="465773"/>
                    </a:moveTo>
                    <a:cubicBezTo>
                      <a:pt x="700564" y="488156"/>
                      <a:pt x="700564" y="507683"/>
                      <a:pt x="700564" y="527209"/>
                    </a:cubicBezTo>
                    <a:cubicBezTo>
                      <a:pt x="721519" y="527209"/>
                      <a:pt x="740569" y="527209"/>
                      <a:pt x="760095" y="527209"/>
                    </a:cubicBezTo>
                    <a:cubicBezTo>
                      <a:pt x="760095" y="505778"/>
                      <a:pt x="760095" y="485775"/>
                      <a:pt x="760095" y="465773"/>
                    </a:cubicBezTo>
                    <a:cubicBezTo>
                      <a:pt x="739616" y="465773"/>
                      <a:pt x="721043" y="465773"/>
                      <a:pt x="700564" y="465773"/>
                    </a:cubicBezTo>
                    <a:close/>
                    <a:moveTo>
                      <a:pt x="462439" y="465773"/>
                    </a:moveTo>
                    <a:cubicBezTo>
                      <a:pt x="462439" y="487204"/>
                      <a:pt x="462439" y="507206"/>
                      <a:pt x="462439" y="527209"/>
                    </a:cubicBezTo>
                    <a:cubicBezTo>
                      <a:pt x="483394" y="527209"/>
                      <a:pt x="502444" y="527209"/>
                      <a:pt x="521970" y="527209"/>
                    </a:cubicBezTo>
                    <a:cubicBezTo>
                      <a:pt x="521970" y="505301"/>
                      <a:pt x="521970" y="485299"/>
                      <a:pt x="521970" y="465773"/>
                    </a:cubicBezTo>
                    <a:cubicBezTo>
                      <a:pt x="501015" y="465773"/>
                      <a:pt x="482441" y="465773"/>
                      <a:pt x="462439" y="465773"/>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04" name="Freeform: Shape 303">
                <a:extLst>
                  <a:ext uri="{FF2B5EF4-FFF2-40B4-BE49-F238E27FC236}">
                    <a16:creationId xmlns:a16="http://schemas.microsoft.com/office/drawing/2014/main" id="{8FA7E697-97D1-4C1C-8935-7A905684387C}"/>
                  </a:ext>
                </a:extLst>
              </p:cNvPr>
              <p:cNvSpPr/>
              <p:nvPr/>
            </p:nvSpPr>
            <p:spPr>
              <a:xfrm>
                <a:off x="2800056" y="2978205"/>
                <a:ext cx="663212" cy="538167"/>
              </a:xfrm>
              <a:custGeom>
                <a:avLst/>
                <a:gdLst>
                  <a:gd name="connsiteX0" fmla="*/ 270783 w 663212"/>
                  <a:gd name="connsiteY0" fmla="*/ 439579 h 538167"/>
                  <a:gd name="connsiteX1" fmla="*/ 162674 w 663212"/>
                  <a:gd name="connsiteY1" fmla="*/ 537686 h 538167"/>
                  <a:gd name="connsiteX2" fmla="*/ 70758 w 663212"/>
                  <a:gd name="connsiteY2" fmla="*/ 438150 h 538167"/>
                  <a:gd name="connsiteX3" fmla="*/ 22180 w 663212"/>
                  <a:gd name="connsiteY3" fmla="*/ 437198 h 538167"/>
                  <a:gd name="connsiteX4" fmla="*/ 273 w 663212"/>
                  <a:gd name="connsiteY4" fmla="*/ 420529 h 538167"/>
                  <a:gd name="connsiteX5" fmla="*/ 10750 w 663212"/>
                  <a:gd name="connsiteY5" fmla="*/ 397193 h 538167"/>
                  <a:gd name="connsiteX6" fmla="*/ 22180 w 663212"/>
                  <a:gd name="connsiteY6" fmla="*/ 372904 h 538167"/>
                  <a:gd name="connsiteX7" fmla="*/ 25990 w 663212"/>
                  <a:gd name="connsiteY7" fmla="*/ 228600 h 538167"/>
                  <a:gd name="connsiteX8" fmla="*/ 45040 w 663212"/>
                  <a:gd name="connsiteY8" fmla="*/ 187643 h 538167"/>
                  <a:gd name="connsiteX9" fmla="*/ 116001 w 663212"/>
                  <a:gd name="connsiteY9" fmla="*/ 117634 h 538167"/>
                  <a:gd name="connsiteX10" fmla="*/ 165055 w 663212"/>
                  <a:gd name="connsiteY10" fmla="*/ 98584 h 538167"/>
                  <a:gd name="connsiteX11" fmla="*/ 221253 w 663212"/>
                  <a:gd name="connsiteY11" fmla="*/ 98108 h 538167"/>
                  <a:gd name="connsiteX12" fmla="*/ 221253 w 663212"/>
                  <a:gd name="connsiteY12" fmla="*/ 29528 h 538167"/>
                  <a:gd name="connsiteX13" fmla="*/ 249828 w 663212"/>
                  <a:gd name="connsiteY13" fmla="*/ 0 h 538167"/>
                  <a:gd name="connsiteX14" fmla="*/ 634638 w 663212"/>
                  <a:gd name="connsiteY14" fmla="*/ 0 h 538167"/>
                  <a:gd name="connsiteX15" fmla="*/ 663213 w 663212"/>
                  <a:gd name="connsiteY15" fmla="*/ 32385 h 538167"/>
                  <a:gd name="connsiteX16" fmla="*/ 663213 w 663212"/>
                  <a:gd name="connsiteY16" fmla="*/ 410051 h 538167"/>
                  <a:gd name="connsiteX17" fmla="*/ 634638 w 663212"/>
                  <a:gd name="connsiteY17" fmla="*/ 438626 h 538167"/>
                  <a:gd name="connsiteX18" fmla="*/ 610825 w 663212"/>
                  <a:gd name="connsiteY18" fmla="*/ 458629 h 538167"/>
                  <a:gd name="connsiteX19" fmla="*/ 517956 w 663212"/>
                  <a:gd name="connsiteY19" fmla="*/ 538163 h 538167"/>
                  <a:gd name="connsiteX20" fmla="*/ 422230 w 663212"/>
                  <a:gd name="connsiteY20" fmla="*/ 459581 h 538167"/>
                  <a:gd name="connsiteX21" fmla="*/ 396513 w 663212"/>
                  <a:gd name="connsiteY21" fmla="*/ 438626 h 538167"/>
                  <a:gd name="connsiteX22" fmla="*/ 277926 w 663212"/>
                  <a:gd name="connsiteY22" fmla="*/ 439103 h 538167"/>
                  <a:gd name="connsiteX23" fmla="*/ 270783 w 663212"/>
                  <a:gd name="connsiteY23" fmla="*/ 439579 h 538167"/>
                  <a:gd name="connsiteX24" fmla="*/ 65995 w 663212"/>
                  <a:gd name="connsiteY24" fmla="*/ 245269 h 538167"/>
                  <a:gd name="connsiteX25" fmla="*/ 220300 w 663212"/>
                  <a:gd name="connsiteY25" fmla="*/ 245269 h 538167"/>
                  <a:gd name="connsiteX26" fmla="*/ 220300 w 663212"/>
                  <a:gd name="connsiteY26" fmla="*/ 141446 h 538167"/>
                  <a:gd name="connsiteX27" fmla="*/ 140766 w 663212"/>
                  <a:gd name="connsiteY27" fmla="*/ 155258 h 538167"/>
                  <a:gd name="connsiteX28" fmla="*/ 65995 w 663212"/>
                  <a:gd name="connsiteY28" fmla="*/ 245269 h 538167"/>
                  <a:gd name="connsiteX29" fmla="*/ 169818 w 663212"/>
                  <a:gd name="connsiteY29" fmla="*/ 491490 h 538167"/>
                  <a:gd name="connsiteX30" fmla="*/ 221729 w 663212"/>
                  <a:gd name="connsiteY30" fmla="*/ 441960 h 538167"/>
                  <a:gd name="connsiteX31" fmla="*/ 169341 w 663212"/>
                  <a:gd name="connsiteY31" fmla="*/ 389573 h 538167"/>
                  <a:gd name="connsiteX32" fmla="*/ 118383 w 663212"/>
                  <a:gd name="connsiteY32" fmla="*/ 441008 h 538167"/>
                  <a:gd name="connsiteX33" fmla="*/ 169818 w 663212"/>
                  <a:gd name="connsiteY33" fmla="*/ 491490 h 538167"/>
                  <a:gd name="connsiteX34" fmla="*/ 567963 w 663212"/>
                  <a:gd name="connsiteY34" fmla="*/ 441960 h 538167"/>
                  <a:gd name="connsiteX35" fmla="*/ 517956 w 663212"/>
                  <a:gd name="connsiteY35" fmla="*/ 390049 h 538167"/>
                  <a:gd name="connsiteX36" fmla="*/ 464616 w 663212"/>
                  <a:gd name="connsiteY36" fmla="*/ 441484 h 538167"/>
                  <a:gd name="connsiteX37" fmla="*/ 516528 w 663212"/>
                  <a:gd name="connsiteY37" fmla="*/ 491490 h 538167"/>
                  <a:gd name="connsiteX38" fmla="*/ 567963 w 663212"/>
                  <a:gd name="connsiteY38" fmla="*/ 441960 h 53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63212" h="538167">
                    <a:moveTo>
                      <a:pt x="270783" y="439579"/>
                    </a:moveTo>
                    <a:cubicBezTo>
                      <a:pt x="243160" y="515303"/>
                      <a:pt x="214109" y="541496"/>
                      <a:pt x="162674" y="537686"/>
                    </a:cubicBezTo>
                    <a:cubicBezTo>
                      <a:pt x="114573" y="533876"/>
                      <a:pt x="83616" y="501015"/>
                      <a:pt x="70758" y="438150"/>
                    </a:cubicBezTo>
                    <a:cubicBezTo>
                      <a:pt x="55041" y="438150"/>
                      <a:pt x="38373" y="440055"/>
                      <a:pt x="22180" y="437198"/>
                    </a:cubicBezTo>
                    <a:cubicBezTo>
                      <a:pt x="14084" y="435769"/>
                      <a:pt x="3130" y="428149"/>
                      <a:pt x="273" y="420529"/>
                    </a:cubicBezTo>
                    <a:cubicBezTo>
                      <a:pt x="-1632" y="414814"/>
                      <a:pt x="6940" y="404813"/>
                      <a:pt x="10750" y="397193"/>
                    </a:cubicBezTo>
                    <a:cubicBezTo>
                      <a:pt x="14560" y="389096"/>
                      <a:pt x="21704" y="381476"/>
                      <a:pt x="22180" y="372904"/>
                    </a:cubicBezTo>
                    <a:cubicBezTo>
                      <a:pt x="24085" y="324803"/>
                      <a:pt x="22656" y="276225"/>
                      <a:pt x="25990" y="228600"/>
                    </a:cubicBezTo>
                    <a:cubicBezTo>
                      <a:pt x="26943" y="214313"/>
                      <a:pt x="35515" y="198596"/>
                      <a:pt x="45040" y="187643"/>
                    </a:cubicBezTo>
                    <a:cubicBezTo>
                      <a:pt x="66948" y="162878"/>
                      <a:pt x="90284" y="138589"/>
                      <a:pt x="116001" y="117634"/>
                    </a:cubicBezTo>
                    <a:cubicBezTo>
                      <a:pt x="128860" y="107156"/>
                      <a:pt x="147910" y="101918"/>
                      <a:pt x="165055" y="98584"/>
                    </a:cubicBezTo>
                    <a:cubicBezTo>
                      <a:pt x="182676" y="95250"/>
                      <a:pt x="200774" y="98108"/>
                      <a:pt x="221253" y="98108"/>
                    </a:cubicBezTo>
                    <a:cubicBezTo>
                      <a:pt x="221253" y="73343"/>
                      <a:pt x="221729" y="51435"/>
                      <a:pt x="221253" y="29528"/>
                    </a:cubicBezTo>
                    <a:cubicBezTo>
                      <a:pt x="220776" y="10001"/>
                      <a:pt x="230301" y="0"/>
                      <a:pt x="249828" y="0"/>
                    </a:cubicBezTo>
                    <a:cubicBezTo>
                      <a:pt x="377939" y="0"/>
                      <a:pt x="506526" y="0"/>
                      <a:pt x="634638" y="0"/>
                    </a:cubicBezTo>
                    <a:cubicBezTo>
                      <a:pt x="656545" y="0"/>
                      <a:pt x="663213" y="12859"/>
                      <a:pt x="663213" y="32385"/>
                    </a:cubicBezTo>
                    <a:cubicBezTo>
                      <a:pt x="663213" y="158115"/>
                      <a:pt x="663213" y="283845"/>
                      <a:pt x="663213" y="410051"/>
                    </a:cubicBezTo>
                    <a:cubicBezTo>
                      <a:pt x="663213" y="429578"/>
                      <a:pt x="654164" y="439579"/>
                      <a:pt x="634638" y="438626"/>
                    </a:cubicBezTo>
                    <a:cubicBezTo>
                      <a:pt x="619874" y="437674"/>
                      <a:pt x="613206" y="441008"/>
                      <a:pt x="610825" y="458629"/>
                    </a:cubicBezTo>
                    <a:cubicBezTo>
                      <a:pt x="605586" y="502920"/>
                      <a:pt x="563200" y="537686"/>
                      <a:pt x="517956" y="538163"/>
                    </a:cubicBezTo>
                    <a:cubicBezTo>
                      <a:pt x="471284" y="538639"/>
                      <a:pt x="428421" y="505301"/>
                      <a:pt x="422230" y="459581"/>
                    </a:cubicBezTo>
                    <a:cubicBezTo>
                      <a:pt x="419849" y="441008"/>
                      <a:pt x="412229" y="438150"/>
                      <a:pt x="396513" y="438626"/>
                    </a:cubicBezTo>
                    <a:cubicBezTo>
                      <a:pt x="356984" y="439579"/>
                      <a:pt x="317455" y="439103"/>
                      <a:pt x="277926" y="439103"/>
                    </a:cubicBezTo>
                    <a:cubicBezTo>
                      <a:pt x="275069" y="438626"/>
                      <a:pt x="272688" y="439579"/>
                      <a:pt x="270783" y="439579"/>
                    </a:cubicBezTo>
                    <a:close/>
                    <a:moveTo>
                      <a:pt x="65995" y="245269"/>
                    </a:moveTo>
                    <a:cubicBezTo>
                      <a:pt x="120288" y="245269"/>
                      <a:pt x="169818" y="245269"/>
                      <a:pt x="220300" y="245269"/>
                    </a:cubicBezTo>
                    <a:cubicBezTo>
                      <a:pt x="220300" y="210979"/>
                      <a:pt x="220300" y="178118"/>
                      <a:pt x="220300" y="141446"/>
                    </a:cubicBezTo>
                    <a:cubicBezTo>
                      <a:pt x="193154" y="150019"/>
                      <a:pt x="163150" y="129540"/>
                      <a:pt x="140766" y="155258"/>
                    </a:cubicBezTo>
                    <a:cubicBezTo>
                      <a:pt x="116001" y="183356"/>
                      <a:pt x="78854" y="202406"/>
                      <a:pt x="65995" y="245269"/>
                    </a:cubicBezTo>
                    <a:close/>
                    <a:moveTo>
                      <a:pt x="169818" y="491490"/>
                    </a:moveTo>
                    <a:cubicBezTo>
                      <a:pt x="198869" y="491490"/>
                      <a:pt x="221253" y="470535"/>
                      <a:pt x="221729" y="441960"/>
                    </a:cubicBezTo>
                    <a:cubicBezTo>
                      <a:pt x="222205" y="412433"/>
                      <a:pt x="199345" y="389573"/>
                      <a:pt x="169341" y="389573"/>
                    </a:cubicBezTo>
                    <a:cubicBezTo>
                      <a:pt x="141243" y="389573"/>
                      <a:pt x="118383" y="412433"/>
                      <a:pt x="118383" y="441008"/>
                    </a:cubicBezTo>
                    <a:cubicBezTo>
                      <a:pt x="118859" y="469583"/>
                      <a:pt x="140766" y="491490"/>
                      <a:pt x="169818" y="491490"/>
                    </a:cubicBezTo>
                    <a:close/>
                    <a:moveTo>
                      <a:pt x="567963" y="441960"/>
                    </a:moveTo>
                    <a:cubicBezTo>
                      <a:pt x="568439" y="413861"/>
                      <a:pt x="545579" y="390525"/>
                      <a:pt x="517956" y="390049"/>
                    </a:cubicBezTo>
                    <a:cubicBezTo>
                      <a:pt x="489381" y="389573"/>
                      <a:pt x="464140" y="413861"/>
                      <a:pt x="464616" y="441484"/>
                    </a:cubicBezTo>
                    <a:cubicBezTo>
                      <a:pt x="465093" y="469106"/>
                      <a:pt x="487953" y="491490"/>
                      <a:pt x="516528" y="491490"/>
                    </a:cubicBezTo>
                    <a:cubicBezTo>
                      <a:pt x="545579" y="491490"/>
                      <a:pt x="567486" y="470059"/>
                      <a:pt x="567963" y="44196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05" name="Freeform: Shape 304">
                <a:extLst>
                  <a:ext uri="{FF2B5EF4-FFF2-40B4-BE49-F238E27FC236}">
                    <a16:creationId xmlns:a16="http://schemas.microsoft.com/office/drawing/2014/main" id="{33D3DE02-CE02-449D-94EE-19AA0C09D917}"/>
                  </a:ext>
                </a:extLst>
              </p:cNvPr>
              <p:cNvSpPr/>
              <p:nvPr/>
            </p:nvSpPr>
            <p:spPr>
              <a:xfrm>
                <a:off x="4071440" y="3634674"/>
                <a:ext cx="310460" cy="239063"/>
              </a:xfrm>
              <a:custGeom>
                <a:avLst/>
                <a:gdLst>
                  <a:gd name="connsiteX0" fmla="*/ 0 w 310460"/>
                  <a:gd name="connsiteY0" fmla="*/ 152681 h 239063"/>
                  <a:gd name="connsiteX1" fmla="*/ 2858 w 310460"/>
                  <a:gd name="connsiteY1" fmla="*/ 96007 h 239063"/>
                  <a:gd name="connsiteX2" fmla="*/ 107156 w 310460"/>
                  <a:gd name="connsiteY2" fmla="*/ 1709 h 239063"/>
                  <a:gd name="connsiteX3" fmla="*/ 215741 w 310460"/>
                  <a:gd name="connsiteY3" fmla="*/ 5043 h 239063"/>
                  <a:gd name="connsiteX4" fmla="*/ 309086 w 310460"/>
                  <a:gd name="connsiteY4" fmla="*/ 109818 h 239063"/>
                  <a:gd name="connsiteX5" fmla="*/ 308610 w 310460"/>
                  <a:gd name="connsiteY5" fmla="*/ 197448 h 239063"/>
                  <a:gd name="connsiteX6" fmla="*/ 289084 w 310460"/>
                  <a:gd name="connsiteY6" fmla="*/ 218403 h 239063"/>
                  <a:gd name="connsiteX7" fmla="*/ 79058 w 310460"/>
                  <a:gd name="connsiteY7" fmla="*/ 230786 h 239063"/>
                  <a:gd name="connsiteX8" fmla="*/ 65246 w 310460"/>
                  <a:gd name="connsiteY8" fmla="*/ 228404 h 239063"/>
                  <a:gd name="connsiteX9" fmla="*/ 0 w 310460"/>
                  <a:gd name="connsiteY9" fmla="*/ 152681 h 239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0460" h="239063">
                    <a:moveTo>
                      <a:pt x="0" y="152681"/>
                    </a:moveTo>
                    <a:cubicBezTo>
                      <a:pt x="953" y="133631"/>
                      <a:pt x="0" y="114580"/>
                      <a:pt x="2858" y="96007"/>
                    </a:cubicBezTo>
                    <a:cubicBezTo>
                      <a:pt x="11906" y="44572"/>
                      <a:pt x="53340" y="5519"/>
                      <a:pt x="107156" y="1709"/>
                    </a:cubicBezTo>
                    <a:cubicBezTo>
                      <a:pt x="142875" y="-1148"/>
                      <a:pt x="180023" y="-672"/>
                      <a:pt x="215741" y="5043"/>
                    </a:cubicBezTo>
                    <a:cubicBezTo>
                      <a:pt x="269081" y="13139"/>
                      <a:pt x="305753" y="56478"/>
                      <a:pt x="309086" y="109818"/>
                    </a:cubicBezTo>
                    <a:cubicBezTo>
                      <a:pt x="310991" y="138869"/>
                      <a:pt x="310991" y="168397"/>
                      <a:pt x="308610" y="197448"/>
                    </a:cubicBezTo>
                    <a:cubicBezTo>
                      <a:pt x="308134" y="205068"/>
                      <a:pt x="297180" y="215546"/>
                      <a:pt x="289084" y="218403"/>
                    </a:cubicBezTo>
                    <a:cubicBezTo>
                      <a:pt x="220504" y="243644"/>
                      <a:pt x="150019" y="243168"/>
                      <a:pt x="79058" y="230786"/>
                    </a:cubicBezTo>
                    <a:cubicBezTo>
                      <a:pt x="74295" y="229833"/>
                      <a:pt x="69533" y="228881"/>
                      <a:pt x="65246" y="228404"/>
                    </a:cubicBezTo>
                    <a:cubicBezTo>
                      <a:pt x="476" y="216974"/>
                      <a:pt x="476" y="216974"/>
                      <a:pt x="0" y="152681"/>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06" name="Freeform: Shape 305">
                <a:extLst>
                  <a:ext uri="{FF2B5EF4-FFF2-40B4-BE49-F238E27FC236}">
                    <a16:creationId xmlns:a16="http://schemas.microsoft.com/office/drawing/2014/main" id="{27903CC1-25D5-45F4-A633-AF9DC71FAC3B}"/>
                  </a:ext>
                </a:extLst>
              </p:cNvPr>
              <p:cNvSpPr/>
              <p:nvPr/>
            </p:nvSpPr>
            <p:spPr>
              <a:xfrm>
                <a:off x="3908563" y="3540412"/>
                <a:ext cx="229076" cy="239798"/>
              </a:xfrm>
              <a:custGeom>
                <a:avLst/>
                <a:gdLst>
                  <a:gd name="connsiteX0" fmla="*/ 196215 w 229076"/>
                  <a:gd name="connsiteY0" fmla="*/ 721 h 239798"/>
                  <a:gd name="connsiteX1" fmla="*/ 229076 w 229076"/>
                  <a:gd name="connsiteY1" fmla="*/ 76921 h 239798"/>
                  <a:gd name="connsiteX2" fmla="*/ 136208 w 229076"/>
                  <a:gd name="connsiteY2" fmla="*/ 239799 h 239798"/>
                  <a:gd name="connsiteX3" fmla="*/ 0 w 229076"/>
                  <a:gd name="connsiteY3" fmla="*/ 212653 h 239798"/>
                  <a:gd name="connsiteX4" fmla="*/ 7144 w 229076"/>
                  <a:gd name="connsiteY4" fmla="*/ 87399 h 239798"/>
                  <a:gd name="connsiteX5" fmla="*/ 104775 w 229076"/>
                  <a:gd name="connsiteY5" fmla="*/ 1198 h 239798"/>
                  <a:gd name="connsiteX6" fmla="*/ 196215 w 229076"/>
                  <a:gd name="connsiteY6" fmla="*/ 721 h 239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076" h="239798">
                    <a:moveTo>
                      <a:pt x="196215" y="721"/>
                    </a:moveTo>
                    <a:cubicBezTo>
                      <a:pt x="207645" y="27391"/>
                      <a:pt x="218123" y="51680"/>
                      <a:pt x="229076" y="76921"/>
                    </a:cubicBezTo>
                    <a:cubicBezTo>
                      <a:pt x="161449" y="105973"/>
                      <a:pt x="132874" y="160741"/>
                      <a:pt x="136208" y="239799"/>
                    </a:cubicBezTo>
                    <a:cubicBezTo>
                      <a:pt x="90011" y="230750"/>
                      <a:pt x="46673" y="222178"/>
                      <a:pt x="0" y="212653"/>
                    </a:cubicBezTo>
                    <a:cubicBezTo>
                      <a:pt x="1905" y="168838"/>
                      <a:pt x="476" y="127404"/>
                      <a:pt x="7144" y="87399"/>
                    </a:cubicBezTo>
                    <a:cubicBezTo>
                      <a:pt x="14764" y="40250"/>
                      <a:pt x="57150" y="5008"/>
                      <a:pt x="104775" y="1198"/>
                    </a:cubicBezTo>
                    <a:cubicBezTo>
                      <a:pt x="136208" y="-1184"/>
                      <a:pt x="168116" y="721"/>
                      <a:pt x="196215" y="721"/>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07" name="Freeform: Shape 306">
                <a:extLst>
                  <a:ext uri="{FF2B5EF4-FFF2-40B4-BE49-F238E27FC236}">
                    <a16:creationId xmlns:a16="http://schemas.microsoft.com/office/drawing/2014/main" id="{6F1A79CB-7816-46C4-B34F-D3F0C4957D36}"/>
                  </a:ext>
                </a:extLst>
              </p:cNvPr>
              <p:cNvSpPr/>
              <p:nvPr/>
            </p:nvSpPr>
            <p:spPr>
              <a:xfrm>
                <a:off x="4315756" y="3542071"/>
                <a:ext cx="217646" cy="240996"/>
              </a:xfrm>
              <a:custGeom>
                <a:avLst/>
                <a:gdLst>
                  <a:gd name="connsiteX0" fmla="*/ 0 w 217646"/>
                  <a:gd name="connsiteY0" fmla="*/ 75262 h 240996"/>
                  <a:gd name="connsiteX1" fmla="*/ 30956 w 217646"/>
                  <a:gd name="connsiteY1" fmla="*/ 1443 h 240996"/>
                  <a:gd name="connsiteX2" fmla="*/ 125254 w 217646"/>
                  <a:gd name="connsiteY2" fmla="*/ 2395 h 240996"/>
                  <a:gd name="connsiteX3" fmla="*/ 217170 w 217646"/>
                  <a:gd name="connsiteY3" fmla="*/ 112885 h 240996"/>
                  <a:gd name="connsiteX4" fmla="*/ 216694 w 217646"/>
                  <a:gd name="connsiteY4" fmla="*/ 193372 h 240996"/>
                  <a:gd name="connsiteX5" fmla="*/ 204311 w 217646"/>
                  <a:gd name="connsiteY5" fmla="*/ 212422 h 240996"/>
                  <a:gd name="connsiteX6" fmla="*/ 90488 w 217646"/>
                  <a:gd name="connsiteY6" fmla="*/ 240997 h 240996"/>
                  <a:gd name="connsiteX7" fmla="*/ 0 w 217646"/>
                  <a:gd name="connsiteY7" fmla="*/ 75262 h 240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7646" h="240996">
                    <a:moveTo>
                      <a:pt x="0" y="75262"/>
                    </a:moveTo>
                    <a:cubicBezTo>
                      <a:pt x="10954" y="49068"/>
                      <a:pt x="20955" y="25255"/>
                      <a:pt x="30956" y="1443"/>
                    </a:cubicBezTo>
                    <a:cubicBezTo>
                      <a:pt x="60960" y="1443"/>
                      <a:pt x="93821" y="-2367"/>
                      <a:pt x="125254" y="2395"/>
                    </a:cubicBezTo>
                    <a:cubicBezTo>
                      <a:pt x="179546" y="10968"/>
                      <a:pt x="216218" y="58117"/>
                      <a:pt x="217170" y="112885"/>
                    </a:cubicBezTo>
                    <a:cubicBezTo>
                      <a:pt x="217646" y="139555"/>
                      <a:pt x="218123" y="166702"/>
                      <a:pt x="216694" y="193372"/>
                    </a:cubicBezTo>
                    <a:cubicBezTo>
                      <a:pt x="216218" y="200039"/>
                      <a:pt x="210026" y="210993"/>
                      <a:pt x="204311" y="212422"/>
                    </a:cubicBezTo>
                    <a:cubicBezTo>
                      <a:pt x="168116" y="222423"/>
                      <a:pt x="131921" y="230995"/>
                      <a:pt x="90488" y="240997"/>
                    </a:cubicBezTo>
                    <a:cubicBezTo>
                      <a:pt x="97155" y="160034"/>
                      <a:pt x="68104" y="105265"/>
                      <a:pt x="0" y="75262"/>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08" name="Freeform: Shape 307">
                <a:extLst>
                  <a:ext uri="{FF2B5EF4-FFF2-40B4-BE49-F238E27FC236}">
                    <a16:creationId xmlns:a16="http://schemas.microsoft.com/office/drawing/2014/main" id="{CBC10184-4EC1-48DA-95BD-150AFAD60598}"/>
                  </a:ext>
                </a:extLst>
              </p:cNvPr>
              <p:cNvSpPr/>
              <p:nvPr/>
            </p:nvSpPr>
            <p:spPr>
              <a:xfrm>
                <a:off x="4137639" y="3444930"/>
                <a:ext cx="178133" cy="180038"/>
              </a:xfrm>
              <a:custGeom>
                <a:avLst/>
                <a:gdLst>
                  <a:gd name="connsiteX0" fmla="*/ 0 w 178133"/>
                  <a:gd name="connsiteY0" fmla="*/ 89535 h 180038"/>
                  <a:gd name="connsiteX1" fmla="*/ 88583 w 178133"/>
                  <a:gd name="connsiteY1" fmla="*/ 0 h 180038"/>
                  <a:gd name="connsiteX2" fmla="*/ 178118 w 178133"/>
                  <a:gd name="connsiteY2" fmla="*/ 91440 h 180038"/>
                  <a:gd name="connsiteX3" fmla="*/ 88106 w 178133"/>
                  <a:gd name="connsiteY3" fmla="*/ 180023 h 180038"/>
                  <a:gd name="connsiteX4" fmla="*/ 0 w 178133"/>
                  <a:gd name="connsiteY4" fmla="*/ 89535 h 1800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133" h="180038">
                    <a:moveTo>
                      <a:pt x="0" y="89535"/>
                    </a:moveTo>
                    <a:cubicBezTo>
                      <a:pt x="476" y="40958"/>
                      <a:pt x="40958" y="0"/>
                      <a:pt x="88583" y="0"/>
                    </a:cubicBezTo>
                    <a:cubicBezTo>
                      <a:pt x="137160" y="0"/>
                      <a:pt x="179070" y="42863"/>
                      <a:pt x="178118" y="91440"/>
                    </a:cubicBezTo>
                    <a:cubicBezTo>
                      <a:pt x="177165" y="139065"/>
                      <a:pt x="134779" y="180975"/>
                      <a:pt x="88106" y="180023"/>
                    </a:cubicBezTo>
                    <a:cubicBezTo>
                      <a:pt x="40005" y="178594"/>
                      <a:pt x="0" y="137636"/>
                      <a:pt x="0" y="89535"/>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09" name="Freeform: Shape 308">
                <a:extLst>
                  <a:ext uri="{FF2B5EF4-FFF2-40B4-BE49-F238E27FC236}">
                    <a16:creationId xmlns:a16="http://schemas.microsoft.com/office/drawing/2014/main" id="{F6365DC6-638C-4BBA-8A34-4092E0B853C9}"/>
                  </a:ext>
                </a:extLst>
              </p:cNvPr>
              <p:cNvSpPr/>
              <p:nvPr/>
            </p:nvSpPr>
            <p:spPr>
              <a:xfrm>
                <a:off x="3976666" y="3349653"/>
                <a:ext cx="176563" cy="180173"/>
              </a:xfrm>
              <a:custGeom>
                <a:avLst/>
                <a:gdLst>
                  <a:gd name="connsiteX0" fmla="*/ 0 w 176563"/>
                  <a:gd name="connsiteY0" fmla="*/ 89563 h 180173"/>
                  <a:gd name="connsiteX1" fmla="*/ 79058 w 176563"/>
                  <a:gd name="connsiteY1" fmla="*/ 504 h 180173"/>
                  <a:gd name="connsiteX2" fmla="*/ 174308 w 176563"/>
                  <a:gd name="connsiteY2" fmla="*/ 66226 h 180173"/>
                  <a:gd name="connsiteX3" fmla="*/ 166211 w 176563"/>
                  <a:gd name="connsiteY3" fmla="*/ 105279 h 180173"/>
                  <a:gd name="connsiteX4" fmla="*/ 140970 w 176563"/>
                  <a:gd name="connsiteY4" fmla="*/ 144808 h 180173"/>
                  <a:gd name="connsiteX5" fmla="*/ 85249 w 176563"/>
                  <a:gd name="connsiteY5" fmla="*/ 180050 h 180173"/>
                  <a:gd name="connsiteX6" fmla="*/ 0 w 176563"/>
                  <a:gd name="connsiteY6" fmla="*/ 89563 h 18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563" h="180173">
                    <a:moveTo>
                      <a:pt x="0" y="89563"/>
                    </a:moveTo>
                    <a:cubicBezTo>
                      <a:pt x="0" y="44319"/>
                      <a:pt x="33814" y="6219"/>
                      <a:pt x="79058" y="504"/>
                    </a:cubicBezTo>
                    <a:cubicBezTo>
                      <a:pt x="120015" y="-4258"/>
                      <a:pt x="162878" y="25269"/>
                      <a:pt x="174308" y="66226"/>
                    </a:cubicBezTo>
                    <a:cubicBezTo>
                      <a:pt x="178118" y="80514"/>
                      <a:pt x="178118" y="92897"/>
                      <a:pt x="166211" y="105279"/>
                    </a:cubicBezTo>
                    <a:cubicBezTo>
                      <a:pt x="155734" y="116233"/>
                      <a:pt x="147161" y="130520"/>
                      <a:pt x="140970" y="144808"/>
                    </a:cubicBezTo>
                    <a:cubicBezTo>
                      <a:pt x="130016" y="170525"/>
                      <a:pt x="113824" y="181479"/>
                      <a:pt x="85249" y="180050"/>
                    </a:cubicBezTo>
                    <a:cubicBezTo>
                      <a:pt x="37148" y="177193"/>
                      <a:pt x="0" y="137664"/>
                      <a:pt x="0" y="89563"/>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10" name="Freeform: Shape 309">
                <a:extLst>
                  <a:ext uri="{FF2B5EF4-FFF2-40B4-BE49-F238E27FC236}">
                    <a16:creationId xmlns:a16="http://schemas.microsoft.com/office/drawing/2014/main" id="{A26186FC-1E09-43B6-B6E2-0871AA389E9A}"/>
                  </a:ext>
                </a:extLst>
              </p:cNvPr>
              <p:cNvSpPr/>
              <p:nvPr/>
            </p:nvSpPr>
            <p:spPr>
              <a:xfrm>
                <a:off x="4292115" y="3349203"/>
                <a:ext cx="175092" cy="179440"/>
              </a:xfrm>
              <a:custGeom>
                <a:avLst/>
                <a:gdLst>
                  <a:gd name="connsiteX0" fmla="*/ 175089 w 175092"/>
                  <a:gd name="connsiteY0" fmla="*/ 89536 h 179440"/>
                  <a:gd name="connsiteX1" fmla="*/ 68886 w 175092"/>
                  <a:gd name="connsiteY1" fmla="*/ 177166 h 179440"/>
                  <a:gd name="connsiteX2" fmla="*/ 47931 w 175092"/>
                  <a:gd name="connsiteY2" fmla="*/ 159069 h 179440"/>
                  <a:gd name="connsiteX3" fmla="*/ 6973 w 175092"/>
                  <a:gd name="connsiteY3" fmla="*/ 94299 h 179440"/>
                  <a:gd name="connsiteX4" fmla="*/ 306 w 175092"/>
                  <a:gd name="connsiteY4" fmla="*/ 69534 h 179440"/>
                  <a:gd name="connsiteX5" fmla="*/ 95556 w 175092"/>
                  <a:gd name="connsiteY5" fmla="*/ 477 h 179440"/>
                  <a:gd name="connsiteX6" fmla="*/ 175089 w 175092"/>
                  <a:gd name="connsiteY6" fmla="*/ 89536 h 17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092" h="179440">
                    <a:moveTo>
                      <a:pt x="175089" y="89536"/>
                    </a:moveTo>
                    <a:cubicBezTo>
                      <a:pt x="175566" y="146686"/>
                      <a:pt x="123178" y="190025"/>
                      <a:pt x="68886" y="177166"/>
                    </a:cubicBezTo>
                    <a:cubicBezTo>
                      <a:pt x="60789" y="175261"/>
                      <a:pt x="53169" y="166689"/>
                      <a:pt x="47931" y="159069"/>
                    </a:cubicBezTo>
                    <a:cubicBezTo>
                      <a:pt x="33643" y="138114"/>
                      <a:pt x="19832" y="116206"/>
                      <a:pt x="6973" y="94299"/>
                    </a:cubicBezTo>
                    <a:cubicBezTo>
                      <a:pt x="2687" y="87155"/>
                      <a:pt x="-1123" y="77154"/>
                      <a:pt x="306" y="69534"/>
                    </a:cubicBezTo>
                    <a:cubicBezTo>
                      <a:pt x="9354" y="27147"/>
                      <a:pt x="53646" y="-4285"/>
                      <a:pt x="95556" y="477"/>
                    </a:cubicBezTo>
                    <a:cubicBezTo>
                      <a:pt x="140799" y="6669"/>
                      <a:pt x="175089" y="44293"/>
                      <a:pt x="175089" y="89536"/>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11" name="Freeform: Shape 310">
                <a:extLst>
                  <a:ext uri="{FF2B5EF4-FFF2-40B4-BE49-F238E27FC236}">
                    <a16:creationId xmlns:a16="http://schemas.microsoft.com/office/drawing/2014/main" id="{677D9B06-704A-47C1-8369-6EE7FE1720ED}"/>
                  </a:ext>
                </a:extLst>
              </p:cNvPr>
              <p:cNvSpPr/>
              <p:nvPr/>
            </p:nvSpPr>
            <p:spPr>
              <a:xfrm>
                <a:off x="3262291" y="3639240"/>
                <a:ext cx="64770" cy="66675"/>
              </a:xfrm>
              <a:custGeom>
                <a:avLst/>
                <a:gdLst>
                  <a:gd name="connsiteX0" fmla="*/ 27146 w 64770"/>
                  <a:gd name="connsiteY0" fmla="*/ 66675 h 66675"/>
                  <a:gd name="connsiteX1" fmla="*/ 0 w 64770"/>
                  <a:gd name="connsiteY1" fmla="*/ 38576 h 66675"/>
                  <a:gd name="connsiteX2" fmla="*/ 30956 w 64770"/>
                  <a:gd name="connsiteY2" fmla="*/ 0 h 66675"/>
                  <a:gd name="connsiteX3" fmla="*/ 64770 w 64770"/>
                  <a:gd name="connsiteY3" fmla="*/ 38100 h 66675"/>
                  <a:gd name="connsiteX4" fmla="*/ 27146 w 64770"/>
                  <a:gd name="connsiteY4" fmla="*/ 66675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70" h="66675">
                    <a:moveTo>
                      <a:pt x="27146" y="66675"/>
                    </a:moveTo>
                    <a:cubicBezTo>
                      <a:pt x="19526" y="58579"/>
                      <a:pt x="9049" y="48101"/>
                      <a:pt x="0" y="38576"/>
                    </a:cubicBezTo>
                    <a:cubicBezTo>
                      <a:pt x="9525" y="26670"/>
                      <a:pt x="19526" y="14288"/>
                      <a:pt x="30956" y="0"/>
                    </a:cubicBezTo>
                    <a:cubicBezTo>
                      <a:pt x="43339" y="14288"/>
                      <a:pt x="53340" y="25241"/>
                      <a:pt x="64770" y="38100"/>
                    </a:cubicBezTo>
                    <a:cubicBezTo>
                      <a:pt x="51911" y="47625"/>
                      <a:pt x="39529" y="56674"/>
                      <a:pt x="27146" y="66675"/>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12" name="Freeform: Shape 311">
                <a:extLst>
                  <a:ext uri="{FF2B5EF4-FFF2-40B4-BE49-F238E27FC236}">
                    <a16:creationId xmlns:a16="http://schemas.microsoft.com/office/drawing/2014/main" id="{990BBAC4-E2F5-49C7-837D-15131D0F737E}"/>
                  </a:ext>
                </a:extLst>
              </p:cNvPr>
              <p:cNvSpPr/>
              <p:nvPr/>
            </p:nvSpPr>
            <p:spPr>
              <a:xfrm>
                <a:off x="4361476" y="2837235"/>
                <a:ext cx="65246" cy="65246"/>
              </a:xfrm>
              <a:custGeom>
                <a:avLst/>
                <a:gdLst>
                  <a:gd name="connsiteX0" fmla="*/ 65246 w 65246"/>
                  <a:gd name="connsiteY0" fmla="*/ 44291 h 65246"/>
                  <a:gd name="connsiteX1" fmla="*/ 20479 w 65246"/>
                  <a:gd name="connsiteY1" fmla="*/ 65246 h 65246"/>
                  <a:gd name="connsiteX2" fmla="*/ 0 w 65246"/>
                  <a:gd name="connsiteY2" fmla="*/ 22384 h 65246"/>
                  <a:gd name="connsiteX3" fmla="*/ 44768 w 65246"/>
                  <a:gd name="connsiteY3" fmla="*/ 0 h 65246"/>
                  <a:gd name="connsiteX4" fmla="*/ 65246 w 65246"/>
                  <a:gd name="connsiteY4" fmla="*/ 44291 h 65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46" h="65246">
                    <a:moveTo>
                      <a:pt x="65246" y="44291"/>
                    </a:moveTo>
                    <a:cubicBezTo>
                      <a:pt x="50006" y="51435"/>
                      <a:pt x="35719" y="58103"/>
                      <a:pt x="20479" y="65246"/>
                    </a:cubicBezTo>
                    <a:cubicBezTo>
                      <a:pt x="13811" y="50959"/>
                      <a:pt x="7620" y="38100"/>
                      <a:pt x="0" y="22384"/>
                    </a:cubicBezTo>
                    <a:cubicBezTo>
                      <a:pt x="14764" y="15240"/>
                      <a:pt x="28099" y="8096"/>
                      <a:pt x="44768" y="0"/>
                    </a:cubicBezTo>
                    <a:cubicBezTo>
                      <a:pt x="51911" y="14764"/>
                      <a:pt x="58103" y="28575"/>
                      <a:pt x="65246" y="44291"/>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13" name="Freeform: Shape 312">
                <a:extLst>
                  <a:ext uri="{FF2B5EF4-FFF2-40B4-BE49-F238E27FC236}">
                    <a16:creationId xmlns:a16="http://schemas.microsoft.com/office/drawing/2014/main" id="{F289CD1D-7D7F-49CD-87D0-547E46E59369}"/>
                  </a:ext>
                </a:extLst>
              </p:cNvPr>
              <p:cNvSpPr/>
              <p:nvPr/>
            </p:nvSpPr>
            <p:spPr>
              <a:xfrm>
                <a:off x="4439105" y="3142569"/>
                <a:ext cx="51837" cy="49472"/>
              </a:xfrm>
              <a:custGeom>
                <a:avLst/>
                <a:gdLst>
                  <a:gd name="connsiteX0" fmla="*/ 0 w 51837"/>
                  <a:gd name="connsiteY0" fmla="*/ 49473 h 49472"/>
                  <a:gd name="connsiteX1" fmla="*/ 0 w 51837"/>
                  <a:gd name="connsiteY1" fmla="*/ 5658 h 49472"/>
                  <a:gd name="connsiteX2" fmla="*/ 48577 w 51837"/>
                  <a:gd name="connsiteY2" fmla="*/ 49473 h 49472"/>
                  <a:gd name="connsiteX3" fmla="*/ 0 w 51837"/>
                  <a:gd name="connsiteY3" fmla="*/ 49473 h 49472"/>
                </a:gdLst>
                <a:ahLst/>
                <a:cxnLst>
                  <a:cxn ang="0">
                    <a:pos x="connsiteX0" y="connsiteY0"/>
                  </a:cxn>
                  <a:cxn ang="0">
                    <a:pos x="connsiteX1" y="connsiteY1"/>
                  </a:cxn>
                  <a:cxn ang="0">
                    <a:pos x="connsiteX2" y="connsiteY2"/>
                  </a:cxn>
                  <a:cxn ang="0">
                    <a:pos x="connsiteX3" y="connsiteY3"/>
                  </a:cxn>
                </a:cxnLst>
                <a:rect l="l" t="t" r="r" b="b"/>
                <a:pathLst>
                  <a:path w="51837" h="49472">
                    <a:moveTo>
                      <a:pt x="0" y="49473"/>
                    </a:moveTo>
                    <a:cubicBezTo>
                      <a:pt x="0" y="33757"/>
                      <a:pt x="0" y="19469"/>
                      <a:pt x="0" y="5658"/>
                    </a:cubicBezTo>
                    <a:cubicBezTo>
                      <a:pt x="54292" y="-5772"/>
                      <a:pt x="56197" y="-3867"/>
                      <a:pt x="48577" y="49473"/>
                    </a:cubicBezTo>
                    <a:cubicBezTo>
                      <a:pt x="33338" y="49473"/>
                      <a:pt x="18097" y="49473"/>
                      <a:pt x="0" y="49473"/>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14" name="Freeform: Shape 313">
                <a:extLst>
                  <a:ext uri="{FF2B5EF4-FFF2-40B4-BE49-F238E27FC236}">
                    <a16:creationId xmlns:a16="http://schemas.microsoft.com/office/drawing/2014/main" id="{CA7CCAE7-2D90-474B-A2DC-3C6E3C31CD22}"/>
                  </a:ext>
                </a:extLst>
              </p:cNvPr>
              <p:cNvSpPr/>
              <p:nvPr/>
            </p:nvSpPr>
            <p:spPr>
              <a:xfrm>
                <a:off x="4426246" y="3037736"/>
                <a:ext cx="56673" cy="56197"/>
              </a:xfrm>
              <a:custGeom>
                <a:avLst/>
                <a:gdLst>
                  <a:gd name="connsiteX0" fmla="*/ 49530 w 56673"/>
                  <a:gd name="connsiteY0" fmla="*/ 0 h 56197"/>
                  <a:gd name="connsiteX1" fmla="*/ 56674 w 56673"/>
                  <a:gd name="connsiteY1" fmla="*/ 49530 h 56197"/>
                  <a:gd name="connsiteX2" fmla="*/ 8573 w 56673"/>
                  <a:gd name="connsiteY2" fmla="*/ 56198 h 56197"/>
                  <a:gd name="connsiteX3" fmla="*/ 0 w 56673"/>
                  <a:gd name="connsiteY3" fmla="*/ 9049 h 56197"/>
                  <a:gd name="connsiteX4" fmla="*/ 49530 w 56673"/>
                  <a:gd name="connsiteY4" fmla="*/ 0 h 56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673" h="56197">
                    <a:moveTo>
                      <a:pt x="49530" y="0"/>
                    </a:moveTo>
                    <a:cubicBezTo>
                      <a:pt x="51911" y="17145"/>
                      <a:pt x="54292" y="32385"/>
                      <a:pt x="56674" y="49530"/>
                    </a:cubicBezTo>
                    <a:cubicBezTo>
                      <a:pt x="40481" y="51911"/>
                      <a:pt x="25717" y="53816"/>
                      <a:pt x="8573" y="56198"/>
                    </a:cubicBezTo>
                    <a:cubicBezTo>
                      <a:pt x="5715" y="40958"/>
                      <a:pt x="3334" y="26194"/>
                      <a:pt x="0" y="9049"/>
                    </a:cubicBezTo>
                    <a:cubicBezTo>
                      <a:pt x="17145" y="5715"/>
                      <a:pt x="31909" y="2858"/>
                      <a:pt x="49530" y="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15" name="Freeform: Shape 314">
                <a:extLst>
                  <a:ext uri="{FF2B5EF4-FFF2-40B4-BE49-F238E27FC236}">
                    <a16:creationId xmlns:a16="http://schemas.microsoft.com/office/drawing/2014/main" id="{C834C662-D549-477E-A314-2A8D91051B73}"/>
                  </a:ext>
                </a:extLst>
              </p:cNvPr>
              <p:cNvSpPr/>
              <p:nvPr/>
            </p:nvSpPr>
            <p:spPr>
              <a:xfrm>
                <a:off x="4399100" y="2934867"/>
                <a:ext cx="63817" cy="60960"/>
              </a:xfrm>
              <a:custGeom>
                <a:avLst/>
                <a:gdLst>
                  <a:gd name="connsiteX0" fmla="*/ 63817 w 63817"/>
                  <a:gd name="connsiteY0" fmla="*/ 47149 h 60960"/>
                  <a:gd name="connsiteX1" fmla="*/ 16669 w 63817"/>
                  <a:gd name="connsiteY1" fmla="*/ 60960 h 60960"/>
                  <a:gd name="connsiteX2" fmla="*/ 0 w 63817"/>
                  <a:gd name="connsiteY2" fmla="*/ 15240 h 60960"/>
                  <a:gd name="connsiteX3" fmla="*/ 48577 w 63817"/>
                  <a:gd name="connsiteY3" fmla="*/ 0 h 60960"/>
                  <a:gd name="connsiteX4" fmla="*/ 63817 w 63817"/>
                  <a:gd name="connsiteY4" fmla="*/ 47149 h 60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17" h="60960">
                    <a:moveTo>
                      <a:pt x="63817" y="47149"/>
                    </a:moveTo>
                    <a:cubicBezTo>
                      <a:pt x="47149" y="51911"/>
                      <a:pt x="32861" y="56198"/>
                      <a:pt x="16669" y="60960"/>
                    </a:cubicBezTo>
                    <a:cubicBezTo>
                      <a:pt x="10954" y="45244"/>
                      <a:pt x="5715" y="31432"/>
                      <a:pt x="0" y="15240"/>
                    </a:cubicBezTo>
                    <a:cubicBezTo>
                      <a:pt x="16669" y="10001"/>
                      <a:pt x="30956" y="5239"/>
                      <a:pt x="48577" y="0"/>
                    </a:cubicBezTo>
                    <a:cubicBezTo>
                      <a:pt x="53816" y="15240"/>
                      <a:pt x="58102" y="29527"/>
                      <a:pt x="63817" y="47149"/>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16" name="Freeform: Shape 315">
                <a:extLst>
                  <a:ext uri="{FF2B5EF4-FFF2-40B4-BE49-F238E27FC236}">
                    <a16:creationId xmlns:a16="http://schemas.microsoft.com/office/drawing/2014/main" id="{BEFDB8A3-3285-494C-80CF-0500EEEDF51A}"/>
                  </a:ext>
                </a:extLst>
              </p:cNvPr>
              <p:cNvSpPr/>
              <p:nvPr/>
            </p:nvSpPr>
            <p:spPr>
              <a:xfrm>
                <a:off x="4431009" y="3246810"/>
                <a:ext cx="54768" cy="52387"/>
              </a:xfrm>
              <a:custGeom>
                <a:avLst/>
                <a:gdLst>
                  <a:gd name="connsiteX0" fmla="*/ 0 w 54768"/>
                  <a:gd name="connsiteY0" fmla="*/ 44768 h 52387"/>
                  <a:gd name="connsiteX1" fmla="*/ 5239 w 54768"/>
                  <a:gd name="connsiteY1" fmla="*/ 0 h 52387"/>
                  <a:gd name="connsiteX2" fmla="*/ 54769 w 54768"/>
                  <a:gd name="connsiteY2" fmla="*/ 2858 h 52387"/>
                  <a:gd name="connsiteX3" fmla="*/ 49054 w 54768"/>
                  <a:gd name="connsiteY3" fmla="*/ 52388 h 52387"/>
                  <a:gd name="connsiteX4" fmla="*/ 0 w 54768"/>
                  <a:gd name="connsiteY4" fmla="*/ 44768 h 5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68" h="52387">
                    <a:moveTo>
                      <a:pt x="0" y="44768"/>
                    </a:moveTo>
                    <a:cubicBezTo>
                      <a:pt x="1905" y="30004"/>
                      <a:pt x="3334" y="16669"/>
                      <a:pt x="5239" y="0"/>
                    </a:cubicBezTo>
                    <a:cubicBezTo>
                      <a:pt x="21431" y="953"/>
                      <a:pt x="36671" y="1905"/>
                      <a:pt x="54769" y="2858"/>
                    </a:cubicBezTo>
                    <a:cubicBezTo>
                      <a:pt x="52864" y="19526"/>
                      <a:pt x="50959" y="34290"/>
                      <a:pt x="49054" y="52388"/>
                    </a:cubicBezTo>
                    <a:cubicBezTo>
                      <a:pt x="32385" y="50006"/>
                      <a:pt x="16669" y="47625"/>
                      <a:pt x="0" y="44768"/>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17" name="Freeform: Shape 316">
                <a:extLst>
                  <a:ext uri="{FF2B5EF4-FFF2-40B4-BE49-F238E27FC236}">
                    <a16:creationId xmlns:a16="http://schemas.microsoft.com/office/drawing/2014/main" id="{6684BEFB-C18D-4020-88C4-3F7246077281}"/>
                  </a:ext>
                </a:extLst>
              </p:cNvPr>
              <p:cNvSpPr/>
              <p:nvPr/>
            </p:nvSpPr>
            <p:spPr>
              <a:xfrm>
                <a:off x="4308136" y="2745795"/>
                <a:ext cx="69532" cy="67627"/>
              </a:xfrm>
              <a:custGeom>
                <a:avLst/>
                <a:gdLst>
                  <a:gd name="connsiteX0" fmla="*/ 41910 w 69532"/>
                  <a:gd name="connsiteY0" fmla="*/ 0 h 67627"/>
                  <a:gd name="connsiteX1" fmla="*/ 69533 w 69532"/>
                  <a:gd name="connsiteY1" fmla="*/ 40957 h 67627"/>
                  <a:gd name="connsiteX2" fmla="*/ 28099 w 69532"/>
                  <a:gd name="connsiteY2" fmla="*/ 67628 h 67627"/>
                  <a:gd name="connsiteX3" fmla="*/ 0 w 69532"/>
                  <a:gd name="connsiteY3" fmla="*/ 28099 h 67627"/>
                  <a:gd name="connsiteX4" fmla="*/ 41910 w 69532"/>
                  <a:gd name="connsiteY4" fmla="*/ 0 h 67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32" h="67627">
                    <a:moveTo>
                      <a:pt x="41910" y="0"/>
                    </a:moveTo>
                    <a:cubicBezTo>
                      <a:pt x="51911" y="14288"/>
                      <a:pt x="60008" y="26670"/>
                      <a:pt x="69533" y="40957"/>
                    </a:cubicBezTo>
                    <a:cubicBezTo>
                      <a:pt x="55721" y="50006"/>
                      <a:pt x="42863" y="58579"/>
                      <a:pt x="28099" y="67628"/>
                    </a:cubicBezTo>
                    <a:cubicBezTo>
                      <a:pt x="18574" y="54292"/>
                      <a:pt x="9525" y="41910"/>
                      <a:pt x="0" y="28099"/>
                    </a:cubicBezTo>
                    <a:cubicBezTo>
                      <a:pt x="14288" y="18574"/>
                      <a:pt x="27146" y="10001"/>
                      <a:pt x="41910" y="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18" name="Freeform: Shape 317">
                <a:extLst>
                  <a:ext uri="{FF2B5EF4-FFF2-40B4-BE49-F238E27FC236}">
                    <a16:creationId xmlns:a16="http://schemas.microsoft.com/office/drawing/2014/main" id="{1BE03A00-E290-4AA5-88B4-91CC36C0EF31}"/>
                  </a:ext>
                </a:extLst>
              </p:cNvPr>
              <p:cNvSpPr/>
              <p:nvPr/>
            </p:nvSpPr>
            <p:spPr>
              <a:xfrm>
                <a:off x="3335157" y="3710678"/>
                <a:ext cx="69056" cy="69056"/>
              </a:xfrm>
              <a:custGeom>
                <a:avLst/>
                <a:gdLst>
                  <a:gd name="connsiteX0" fmla="*/ 69056 w 69056"/>
                  <a:gd name="connsiteY0" fmla="*/ 28575 h 69056"/>
                  <a:gd name="connsiteX1" fmla="*/ 39529 w 69056"/>
                  <a:gd name="connsiteY1" fmla="*/ 69056 h 69056"/>
                  <a:gd name="connsiteX2" fmla="*/ 0 w 69056"/>
                  <a:gd name="connsiteY2" fmla="*/ 39529 h 69056"/>
                  <a:gd name="connsiteX3" fmla="*/ 30956 w 69056"/>
                  <a:gd name="connsiteY3" fmla="*/ 0 h 69056"/>
                  <a:gd name="connsiteX4" fmla="*/ 69056 w 69056"/>
                  <a:gd name="connsiteY4" fmla="*/ 28575 h 6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56" h="69056">
                    <a:moveTo>
                      <a:pt x="69056" y="28575"/>
                    </a:moveTo>
                    <a:cubicBezTo>
                      <a:pt x="58579" y="42863"/>
                      <a:pt x="50006" y="54769"/>
                      <a:pt x="39529" y="69056"/>
                    </a:cubicBezTo>
                    <a:cubicBezTo>
                      <a:pt x="26194" y="59055"/>
                      <a:pt x="13811" y="50006"/>
                      <a:pt x="0" y="39529"/>
                    </a:cubicBezTo>
                    <a:cubicBezTo>
                      <a:pt x="10477" y="25717"/>
                      <a:pt x="20002" y="13811"/>
                      <a:pt x="30956" y="0"/>
                    </a:cubicBezTo>
                    <a:cubicBezTo>
                      <a:pt x="43339" y="9525"/>
                      <a:pt x="54769" y="18574"/>
                      <a:pt x="69056" y="28575"/>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19" name="Freeform: Shape 318">
                <a:extLst>
                  <a:ext uri="{FF2B5EF4-FFF2-40B4-BE49-F238E27FC236}">
                    <a16:creationId xmlns:a16="http://schemas.microsoft.com/office/drawing/2014/main" id="{6C843419-474B-4D0B-B141-F54621AAC64D}"/>
                  </a:ext>
                </a:extLst>
              </p:cNvPr>
              <p:cNvSpPr/>
              <p:nvPr/>
            </p:nvSpPr>
            <p:spPr>
              <a:xfrm>
                <a:off x="3923803" y="3832122"/>
                <a:ext cx="60007" cy="60959"/>
              </a:xfrm>
              <a:custGeom>
                <a:avLst/>
                <a:gdLst>
                  <a:gd name="connsiteX0" fmla="*/ 11430 w 60007"/>
                  <a:gd name="connsiteY0" fmla="*/ 60960 h 60959"/>
                  <a:gd name="connsiteX1" fmla="*/ 0 w 60007"/>
                  <a:gd name="connsiteY1" fmla="*/ 11430 h 60959"/>
                  <a:gd name="connsiteX2" fmla="*/ 45720 w 60007"/>
                  <a:gd name="connsiteY2" fmla="*/ 0 h 60959"/>
                  <a:gd name="connsiteX3" fmla="*/ 60008 w 60007"/>
                  <a:gd name="connsiteY3" fmla="*/ 47625 h 60959"/>
                  <a:gd name="connsiteX4" fmla="*/ 11430 w 60007"/>
                  <a:gd name="connsiteY4" fmla="*/ 60960 h 60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7" h="60959">
                    <a:moveTo>
                      <a:pt x="11430" y="60960"/>
                    </a:moveTo>
                    <a:cubicBezTo>
                      <a:pt x="7144" y="43339"/>
                      <a:pt x="3810" y="29051"/>
                      <a:pt x="0" y="11430"/>
                    </a:cubicBezTo>
                    <a:cubicBezTo>
                      <a:pt x="15716" y="7620"/>
                      <a:pt x="30480" y="3810"/>
                      <a:pt x="45720" y="0"/>
                    </a:cubicBezTo>
                    <a:cubicBezTo>
                      <a:pt x="50483" y="16669"/>
                      <a:pt x="54769" y="30480"/>
                      <a:pt x="60008" y="47625"/>
                    </a:cubicBezTo>
                    <a:cubicBezTo>
                      <a:pt x="43815" y="52388"/>
                      <a:pt x="29051" y="56197"/>
                      <a:pt x="11430" y="6096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20" name="Freeform: Shape 319">
                <a:extLst>
                  <a:ext uri="{FF2B5EF4-FFF2-40B4-BE49-F238E27FC236}">
                    <a16:creationId xmlns:a16="http://schemas.microsoft.com/office/drawing/2014/main" id="{0E039B86-F3E6-4FDA-BAC0-F8859A167CBD}"/>
                  </a:ext>
                </a:extLst>
              </p:cNvPr>
              <p:cNvSpPr/>
              <p:nvPr/>
            </p:nvSpPr>
            <p:spPr>
              <a:xfrm>
                <a:off x="3825219" y="3852600"/>
                <a:ext cx="55245" cy="55245"/>
              </a:xfrm>
              <a:custGeom>
                <a:avLst/>
                <a:gdLst>
                  <a:gd name="connsiteX0" fmla="*/ 47625 w 55245"/>
                  <a:gd name="connsiteY0" fmla="*/ 0 h 55245"/>
                  <a:gd name="connsiteX1" fmla="*/ 55245 w 55245"/>
                  <a:gd name="connsiteY1" fmla="*/ 50959 h 55245"/>
                  <a:gd name="connsiteX2" fmla="*/ 5239 w 55245"/>
                  <a:gd name="connsiteY2" fmla="*/ 55245 h 55245"/>
                  <a:gd name="connsiteX3" fmla="*/ 0 w 55245"/>
                  <a:gd name="connsiteY3" fmla="*/ 7144 h 55245"/>
                  <a:gd name="connsiteX4" fmla="*/ 47625 w 55245"/>
                  <a:gd name="connsiteY4" fmla="*/ 0 h 55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245" h="55245">
                    <a:moveTo>
                      <a:pt x="47625" y="0"/>
                    </a:moveTo>
                    <a:cubicBezTo>
                      <a:pt x="50006" y="17621"/>
                      <a:pt x="52388" y="32861"/>
                      <a:pt x="55245" y="50959"/>
                    </a:cubicBezTo>
                    <a:cubicBezTo>
                      <a:pt x="38100" y="52388"/>
                      <a:pt x="22384" y="53816"/>
                      <a:pt x="5239" y="55245"/>
                    </a:cubicBezTo>
                    <a:cubicBezTo>
                      <a:pt x="3334" y="39053"/>
                      <a:pt x="1905" y="24765"/>
                      <a:pt x="0" y="7144"/>
                    </a:cubicBezTo>
                    <a:cubicBezTo>
                      <a:pt x="15240" y="4763"/>
                      <a:pt x="30004" y="2858"/>
                      <a:pt x="47625" y="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21" name="Freeform: Shape 320">
                <a:extLst>
                  <a:ext uri="{FF2B5EF4-FFF2-40B4-BE49-F238E27FC236}">
                    <a16:creationId xmlns:a16="http://schemas.microsoft.com/office/drawing/2014/main" id="{098E221A-2533-4D55-9C1A-6AE26A64E395}"/>
                  </a:ext>
                </a:extLst>
              </p:cNvPr>
              <p:cNvSpPr/>
              <p:nvPr/>
            </p:nvSpPr>
            <p:spPr>
              <a:xfrm>
                <a:off x="3158945" y="2782466"/>
                <a:ext cx="66675" cy="68103"/>
              </a:xfrm>
              <a:custGeom>
                <a:avLst/>
                <a:gdLst>
                  <a:gd name="connsiteX0" fmla="*/ 43339 w 66675"/>
                  <a:gd name="connsiteY0" fmla="*/ 68104 h 68103"/>
                  <a:gd name="connsiteX1" fmla="*/ 0 w 66675"/>
                  <a:gd name="connsiteY1" fmla="*/ 43815 h 68103"/>
                  <a:gd name="connsiteX2" fmla="*/ 24765 w 66675"/>
                  <a:gd name="connsiteY2" fmla="*/ 0 h 68103"/>
                  <a:gd name="connsiteX3" fmla="*/ 66675 w 66675"/>
                  <a:gd name="connsiteY3" fmla="*/ 26194 h 68103"/>
                  <a:gd name="connsiteX4" fmla="*/ 43339 w 66675"/>
                  <a:gd name="connsiteY4" fmla="*/ 68104 h 68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8103">
                    <a:moveTo>
                      <a:pt x="43339" y="68104"/>
                    </a:moveTo>
                    <a:cubicBezTo>
                      <a:pt x="28099" y="59531"/>
                      <a:pt x="15240" y="52388"/>
                      <a:pt x="0" y="43815"/>
                    </a:cubicBezTo>
                    <a:cubicBezTo>
                      <a:pt x="8096" y="29527"/>
                      <a:pt x="16192" y="15716"/>
                      <a:pt x="24765" y="0"/>
                    </a:cubicBezTo>
                    <a:cubicBezTo>
                      <a:pt x="39529" y="9525"/>
                      <a:pt x="52864" y="17621"/>
                      <a:pt x="66675" y="26194"/>
                    </a:cubicBezTo>
                    <a:cubicBezTo>
                      <a:pt x="59055" y="40481"/>
                      <a:pt x="51911" y="53340"/>
                      <a:pt x="43339" y="68104"/>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22" name="Freeform: Shape 321">
                <a:extLst>
                  <a:ext uri="{FF2B5EF4-FFF2-40B4-BE49-F238E27FC236}">
                    <a16:creationId xmlns:a16="http://schemas.microsoft.com/office/drawing/2014/main" id="{3D715607-F2EF-4286-A8F6-5B003957C3DE}"/>
                  </a:ext>
                </a:extLst>
              </p:cNvPr>
              <p:cNvSpPr/>
              <p:nvPr/>
            </p:nvSpPr>
            <p:spPr>
              <a:xfrm>
                <a:off x="3215619" y="2697218"/>
                <a:ext cx="70008" cy="69056"/>
              </a:xfrm>
              <a:custGeom>
                <a:avLst/>
                <a:gdLst>
                  <a:gd name="connsiteX0" fmla="*/ 0 w 70008"/>
                  <a:gd name="connsiteY0" fmla="*/ 39053 h 69056"/>
                  <a:gd name="connsiteX1" fmla="*/ 31433 w 70008"/>
                  <a:gd name="connsiteY1" fmla="*/ 0 h 69056"/>
                  <a:gd name="connsiteX2" fmla="*/ 70009 w 70008"/>
                  <a:gd name="connsiteY2" fmla="*/ 31909 h 69056"/>
                  <a:gd name="connsiteX3" fmla="*/ 40958 w 70008"/>
                  <a:gd name="connsiteY3" fmla="*/ 69056 h 69056"/>
                  <a:gd name="connsiteX4" fmla="*/ 0 w 70008"/>
                  <a:gd name="connsiteY4" fmla="*/ 39053 h 6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08" h="69056">
                    <a:moveTo>
                      <a:pt x="0" y="39053"/>
                    </a:moveTo>
                    <a:cubicBezTo>
                      <a:pt x="10954" y="25241"/>
                      <a:pt x="20479" y="13811"/>
                      <a:pt x="31433" y="0"/>
                    </a:cubicBezTo>
                    <a:cubicBezTo>
                      <a:pt x="44768" y="10954"/>
                      <a:pt x="56674" y="21431"/>
                      <a:pt x="70009" y="31909"/>
                    </a:cubicBezTo>
                    <a:cubicBezTo>
                      <a:pt x="60008" y="44768"/>
                      <a:pt x="51435" y="55721"/>
                      <a:pt x="40958" y="69056"/>
                    </a:cubicBezTo>
                    <a:cubicBezTo>
                      <a:pt x="27623" y="59531"/>
                      <a:pt x="14764" y="50006"/>
                      <a:pt x="0" y="39053"/>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23" name="Freeform: Shape 322">
                <a:extLst>
                  <a:ext uri="{FF2B5EF4-FFF2-40B4-BE49-F238E27FC236}">
                    <a16:creationId xmlns:a16="http://schemas.microsoft.com/office/drawing/2014/main" id="{E9BEBA04-8955-46C3-A256-983DB67C2614}"/>
                  </a:ext>
                </a:extLst>
              </p:cNvPr>
              <p:cNvSpPr/>
              <p:nvPr/>
            </p:nvSpPr>
            <p:spPr>
              <a:xfrm>
                <a:off x="3114654" y="2877716"/>
                <a:ext cx="64770" cy="63817"/>
              </a:xfrm>
              <a:custGeom>
                <a:avLst/>
                <a:gdLst>
                  <a:gd name="connsiteX0" fmla="*/ 64770 w 64770"/>
                  <a:gd name="connsiteY0" fmla="*/ 20002 h 63817"/>
                  <a:gd name="connsiteX1" fmla="*/ 46196 w 64770"/>
                  <a:gd name="connsiteY1" fmla="*/ 63817 h 63817"/>
                  <a:gd name="connsiteX2" fmla="*/ 0 w 64770"/>
                  <a:gd name="connsiteY2" fmla="*/ 46673 h 63817"/>
                  <a:gd name="connsiteX3" fmla="*/ 19050 w 64770"/>
                  <a:gd name="connsiteY3" fmla="*/ 0 h 63817"/>
                  <a:gd name="connsiteX4" fmla="*/ 64770 w 64770"/>
                  <a:gd name="connsiteY4" fmla="*/ 20002 h 63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70" h="63817">
                    <a:moveTo>
                      <a:pt x="64770" y="20002"/>
                    </a:moveTo>
                    <a:cubicBezTo>
                      <a:pt x="58103" y="36195"/>
                      <a:pt x="52388" y="49054"/>
                      <a:pt x="46196" y="63817"/>
                    </a:cubicBezTo>
                    <a:cubicBezTo>
                      <a:pt x="30004" y="57626"/>
                      <a:pt x="15716" y="52388"/>
                      <a:pt x="0" y="46673"/>
                    </a:cubicBezTo>
                    <a:cubicBezTo>
                      <a:pt x="6668" y="30004"/>
                      <a:pt x="12382" y="15716"/>
                      <a:pt x="19050" y="0"/>
                    </a:cubicBezTo>
                    <a:cubicBezTo>
                      <a:pt x="35243" y="6667"/>
                      <a:pt x="49054" y="12859"/>
                      <a:pt x="64770" y="20002"/>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24" name="Freeform: Shape 323">
                <a:extLst>
                  <a:ext uri="{FF2B5EF4-FFF2-40B4-BE49-F238E27FC236}">
                    <a16:creationId xmlns:a16="http://schemas.microsoft.com/office/drawing/2014/main" id="{F00B606F-4A17-4577-A416-7AF2C3CA388D}"/>
                  </a:ext>
                </a:extLst>
              </p:cNvPr>
              <p:cNvSpPr/>
              <p:nvPr/>
            </p:nvSpPr>
            <p:spPr>
              <a:xfrm>
                <a:off x="3723777" y="3856411"/>
                <a:ext cx="50787" cy="51910"/>
              </a:xfrm>
              <a:custGeom>
                <a:avLst/>
                <a:gdLst>
                  <a:gd name="connsiteX0" fmla="*/ 0 w 50787"/>
                  <a:gd name="connsiteY0" fmla="*/ 51911 h 51910"/>
                  <a:gd name="connsiteX1" fmla="*/ 2381 w 50787"/>
                  <a:gd name="connsiteY1" fmla="*/ 5714 h 51910"/>
                  <a:gd name="connsiteX2" fmla="*/ 49054 w 50787"/>
                  <a:gd name="connsiteY2" fmla="*/ 51911 h 51910"/>
                  <a:gd name="connsiteX3" fmla="*/ 0 w 50787"/>
                  <a:gd name="connsiteY3" fmla="*/ 51911 h 51910"/>
                </a:gdLst>
                <a:ahLst/>
                <a:cxnLst>
                  <a:cxn ang="0">
                    <a:pos x="connsiteX0" y="connsiteY0"/>
                  </a:cxn>
                  <a:cxn ang="0">
                    <a:pos x="connsiteX1" y="connsiteY1"/>
                  </a:cxn>
                  <a:cxn ang="0">
                    <a:pos x="connsiteX2" y="connsiteY2"/>
                  </a:cxn>
                  <a:cxn ang="0">
                    <a:pos x="connsiteX3" y="connsiteY3"/>
                  </a:cxn>
                </a:cxnLst>
                <a:rect l="l" t="t" r="r" b="b"/>
                <a:pathLst>
                  <a:path w="50787" h="51910">
                    <a:moveTo>
                      <a:pt x="0" y="51911"/>
                    </a:moveTo>
                    <a:cubicBezTo>
                      <a:pt x="953" y="35242"/>
                      <a:pt x="1429" y="20002"/>
                      <a:pt x="2381" y="5714"/>
                    </a:cubicBezTo>
                    <a:cubicBezTo>
                      <a:pt x="48101" y="-7144"/>
                      <a:pt x="54769" y="-953"/>
                      <a:pt x="49054" y="51911"/>
                    </a:cubicBezTo>
                    <a:cubicBezTo>
                      <a:pt x="33814" y="51911"/>
                      <a:pt x="18574" y="51911"/>
                      <a:pt x="0" y="51911"/>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25" name="Freeform: Shape 324">
                <a:extLst>
                  <a:ext uri="{FF2B5EF4-FFF2-40B4-BE49-F238E27FC236}">
                    <a16:creationId xmlns:a16="http://schemas.microsoft.com/office/drawing/2014/main" id="{07AB88A7-012D-46A4-B7EA-3BC68E228DE8}"/>
                  </a:ext>
                </a:extLst>
              </p:cNvPr>
              <p:cNvSpPr/>
              <p:nvPr/>
            </p:nvSpPr>
            <p:spPr>
              <a:xfrm>
                <a:off x="3517085" y="3813548"/>
                <a:ext cx="62388" cy="62865"/>
              </a:xfrm>
              <a:custGeom>
                <a:avLst/>
                <a:gdLst>
                  <a:gd name="connsiteX0" fmla="*/ 0 w 62388"/>
                  <a:gd name="connsiteY0" fmla="*/ 45720 h 62865"/>
                  <a:gd name="connsiteX1" fmla="*/ 13811 w 62388"/>
                  <a:gd name="connsiteY1" fmla="*/ 10001 h 62865"/>
                  <a:gd name="connsiteX2" fmla="*/ 19526 w 62388"/>
                  <a:gd name="connsiteY2" fmla="*/ 0 h 62865"/>
                  <a:gd name="connsiteX3" fmla="*/ 62389 w 62388"/>
                  <a:gd name="connsiteY3" fmla="*/ 14764 h 62865"/>
                  <a:gd name="connsiteX4" fmla="*/ 46673 w 62388"/>
                  <a:gd name="connsiteY4" fmla="*/ 62865 h 62865"/>
                  <a:gd name="connsiteX5" fmla="*/ 0 w 62388"/>
                  <a:gd name="connsiteY5" fmla="*/ 45720 h 62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388" h="62865">
                    <a:moveTo>
                      <a:pt x="0" y="45720"/>
                    </a:moveTo>
                    <a:cubicBezTo>
                      <a:pt x="5239" y="31909"/>
                      <a:pt x="9525" y="20479"/>
                      <a:pt x="13811" y="10001"/>
                    </a:cubicBezTo>
                    <a:cubicBezTo>
                      <a:pt x="14764" y="7144"/>
                      <a:pt x="16669" y="4763"/>
                      <a:pt x="19526" y="0"/>
                    </a:cubicBezTo>
                    <a:cubicBezTo>
                      <a:pt x="33338" y="4763"/>
                      <a:pt x="46673" y="9525"/>
                      <a:pt x="62389" y="14764"/>
                    </a:cubicBezTo>
                    <a:cubicBezTo>
                      <a:pt x="57150" y="31433"/>
                      <a:pt x="52388" y="46196"/>
                      <a:pt x="46673" y="62865"/>
                    </a:cubicBezTo>
                    <a:cubicBezTo>
                      <a:pt x="30956" y="56674"/>
                      <a:pt x="16669" y="51435"/>
                      <a:pt x="0" y="4572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26" name="Freeform: Shape 325">
                <a:extLst>
                  <a:ext uri="{FF2B5EF4-FFF2-40B4-BE49-F238E27FC236}">
                    <a16:creationId xmlns:a16="http://schemas.microsoft.com/office/drawing/2014/main" id="{8F92BB56-2CB4-4864-BE7E-0B1EECC478BC}"/>
                  </a:ext>
                </a:extLst>
              </p:cNvPr>
              <p:cNvSpPr/>
              <p:nvPr/>
            </p:nvSpPr>
            <p:spPr>
              <a:xfrm>
                <a:off x="3620149" y="3843075"/>
                <a:ext cx="56479" cy="56197"/>
              </a:xfrm>
              <a:custGeom>
                <a:avLst/>
                <a:gdLst>
                  <a:gd name="connsiteX0" fmla="*/ 13141 w 56479"/>
                  <a:gd name="connsiteY0" fmla="*/ 0 h 56197"/>
                  <a:gd name="connsiteX1" fmla="*/ 56479 w 56479"/>
                  <a:gd name="connsiteY1" fmla="*/ 8572 h 56197"/>
                  <a:gd name="connsiteX2" fmla="*/ 47431 w 56479"/>
                  <a:gd name="connsiteY2" fmla="*/ 56197 h 56197"/>
                  <a:gd name="connsiteX3" fmla="*/ 13141 w 56479"/>
                  <a:gd name="connsiteY3" fmla="*/ 0 h 56197"/>
                </a:gdLst>
                <a:ahLst/>
                <a:cxnLst>
                  <a:cxn ang="0">
                    <a:pos x="connsiteX0" y="connsiteY0"/>
                  </a:cxn>
                  <a:cxn ang="0">
                    <a:pos x="connsiteX1" y="connsiteY1"/>
                  </a:cxn>
                  <a:cxn ang="0">
                    <a:pos x="connsiteX2" y="connsiteY2"/>
                  </a:cxn>
                  <a:cxn ang="0">
                    <a:pos x="connsiteX3" y="connsiteY3"/>
                  </a:cxn>
                </a:cxnLst>
                <a:rect l="l" t="t" r="r" b="b"/>
                <a:pathLst>
                  <a:path w="56479" h="56197">
                    <a:moveTo>
                      <a:pt x="13141" y="0"/>
                    </a:moveTo>
                    <a:cubicBezTo>
                      <a:pt x="27428" y="2858"/>
                      <a:pt x="40287" y="5239"/>
                      <a:pt x="56479" y="8572"/>
                    </a:cubicBezTo>
                    <a:cubicBezTo>
                      <a:pt x="53146" y="25241"/>
                      <a:pt x="50288" y="40958"/>
                      <a:pt x="47431" y="56197"/>
                    </a:cubicBezTo>
                    <a:cubicBezTo>
                      <a:pt x="-5433" y="53340"/>
                      <a:pt x="-9719" y="46672"/>
                      <a:pt x="13141" y="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27" name="Freeform: Shape 326">
                <a:extLst>
                  <a:ext uri="{FF2B5EF4-FFF2-40B4-BE49-F238E27FC236}">
                    <a16:creationId xmlns:a16="http://schemas.microsoft.com/office/drawing/2014/main" id="{77E78710-3C8B-4F7D-B2B7-F8D8A9F87E49}"/>
                  </a:ext>
                </a:extLst>
              </p:cNvPr>
              <p:cNvSpPr/>
              <p:nvPr/>
            </p:nvSpPr>
            <p:spPr>
              <a:xfrm>
                <a:off x="3366590" y="2558629"/>
                <a:ext cx="69056" cy="68103"/>
              </a:xfrm>
              <a:custGeom>
                <a:avLst/>
                <a:gdLst>
                  <a:gd name="connsiteX0" fmla="*/ 41434 w 69056"/>
                  <a:gd name="connsiteY0" fmla="*/ 0 h 68103"/>
                  <a:gd name="connsiteX1" fmla="*/ 69056 w 69056"/>
                  <a:gd name="connsiteY1" fmla="*/ 40958 h 68103"/>
                  <a:gd name="connsiteX2" fmla="*/ 30480 w 69056"/>
                  <a:gd name="connsiteY2" fmla="*/ 68104 h 68103"/>
                  <a:gd name="connsiteX3" fmla="*/ 0 w 69056"/>
                  <a:gd name="connsiteY3" fmla="*/ 27622 h 68103"/>
                  <a:gd name="connsiteX4" fmla="*/ 41434 w 69056"/>
                  <a:gd name="connsiteY4" fmla="*/ 0 h 68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56" h="68103">
                    <a:moveTo>
                      <a:pt x="41434" y="0"/>
                    </a:moveTo>
                    <a:cubicBezTo>
                      <a:pt x="50959" y="14288"/>
                      <a:pt x="59531" y="26670"/>
                      <a:pt x="69056" y="40958"/>
                    </a:cubicBezTo>
                    <a:cubicBezTo>
                      <a:pt x="56197" y="50006"/>
                      <a:pt x="44291" y="58579"/>
                      <a:pt x="30480" y="68104"/>
                    </a:cubicBezTo>
                    <a:cubicBezTo>
                      <a:pt x="20479" y="55245"/>
                      <a:pt x="11430" y="42863"/>
                      <a:pt x="0" y="27622"/>
                    </a:cubicBezTo>
                    <a:cubicBezTo>
                      <a:pt x="14288" y="18097"/>
                      <a:pt x="27146" y="9525"/>
                      <a:pt x="41434" y="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28" name="Freeform: Shape 327">
                <a:extLst>
                  <a:ext uri="{FF2B5EF4-FFF2-40B4-BE49-F238E27FC236}">
                    <a16:creationId xmlns:a16="http://schemas.microsoft.com/office/drawing/2014/main" id="{906BDFA5-09AD-49AA-A6C7-213874229334}"/>
                  </a:ext>
                </a:extLst>
              </p:cNvPr>
              <p:cNvSpPr/>
              <p:nvPr/>
            </p:nvSpPr>
            <p:spPr>
              <a:xfrm>
                <a:off x="3421835" y="3768304"/>
                <a:ext cx="66675" cy="67627"/>
              </a:xfrm>
              <a:custGeom>
                <a:avLst/>
                <a:gdLst>
                  <a:gd name="connsiteX0" fmla="*/ 43339 w 66675"/>
                  <a:gd name="connsiteY0" fmla="*/ 67628 h 67627"/>
                  <a:gd name="connsiteX1" fmla="*/ 0 w 66675"/>
                  <a:gd name="connsiteY1" fmla="*/ 42863 h 67627"/>
                  <a:gd name="connsiteX2" fmla="*/ 25241 w 66675"/>
                  <a:gd name="connsiteY2" fmla="*/ 0 h 67627"/>
                  <a:gd name="connsiteX3" fmla="*/ 66675 w 66675"/>
                  <a:gd name="connsiteY3" fmla="*/ 22384 h 67627"/>
                  <a:gd name="connsiteX4" fmla="*/ 43339 w 66675"/>
                  <a:gd name="connsiteY4" fmla="*/ 67628 h 67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7627">
                    <a:moveTo>
                      <a:pt x="43339" y="67628"/>
                    </a:moveTo>
                    <a:cubicBezTo>
                      <a:pt x="27623" y="58579"/>
                      <a:pt x="14764" y="51435"/>
                      <a:pt x="0" y="42863"/>
                    </a:cubicBezTo>
                    <a:cubicBezTo>
                      <a:pt x="8573" y="28099"/>
                      <a:pt x="16669" y="14764"/>
                      <a:pt x="25241" y="0"/>
                    </a:cubicBezTo>
                    <a:cubicBezTo>
                      <a:pt x="39529" y="7620"/>
                      <a:pt x="52388" y="14764"/>
                      <a:pt x="66675" y="22384"/>
                    </a:cubicBezTo>
                    <a:cubicBezTo>
                      <a:pt x="58579" y="37624"/>
                      <a:pt x="51435" y="51435"/>
                      <a:pt x="43339" y="67628"/>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29" name="Freeform: Shape 328">
                <a:extLst>
                  <a:ext uri="{FF2B5EF4-FFF2-40B4-BE49-F238E27FC236}">
                    <a16:creationId xmlns:a16="http://schemas.microsoft.com/office/drawing/2014/main" id="{3F2D8451-AC95-4B60-B682-49D59F615CD3}"/>
                  </a:ext>
                </a:extLst>
              </p:cNvPr>
              <p:cNvSpPr/>
              <p:nvPr/>
            </p:nvSpPr>
            <p:spPr>
              <a:xfrm>
                <a:off x="3139895" y="3476839"/>
                <a:ext cx="66675" cy="66198"/>
              </a:xfrm>
              <a:custGeom>
                <a:avLst/>
                <a:gdLst>
                  <a:gd name="connsiteX0" fmla="*/ 45244 w 66675"/>
                  <a:gd name="connsiteY0" fmla="*/ 0 h 66198"/>
                  <a:gd name="connsiteX1" fmla="*/ 66675 w 66675"/>
                  <a:gd name="connsiteY1" fmla="*/ 41434 h 66198"/>
                  <a:gd name="connsiteX2" fmla="*/ 23336 w 66675"/>
                  <a:gd name="connsiteY2" fmla="*/ 66199 h 66198"/>
                  <a:gd name="connsiteX3" fmla="*/ 0 w 66675"/>
                  <a:gd name="connsiteY3" fmla="*/ 22384 h 66198"/>
                  <a:gd name="connsiteX4" fmla="*/ 45244 w 66675"/>
                  <a:gd name="connsiteY4" fmla="*/ 0 h 66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198">
                    <a:moveTo>
                      <a:pt x="45244" y="0"/>
                    </a:moveTo>
                    <a:cubicBezTo>
                      <a:pt x="52864" y="14764"/>
                      <a:pt x="59531" y="27622"/>
                      <a:pt x="66675" y="41434"/>
                    </a:cubicBezTo>
                    <a:cubicBezTo>
                      <a:pt x="53340" y="49054"/>
                      <a:pt x="40005" y="56674"/>
                      <a:pt x="23336" y="66199"/>
                    </a:cubicBezTo>
                    <a:cubicBezTo>
                      <a:pt x="15240" y="50959"/>
                      <a:pt x="7620" y="37147"/>
                      <a:pt x="0" y="22384"/>
                    </a:cubicBezTo>
                    <a:cubicBezTo>
                      <a:pt x="15716" y="14764"/>
                      <a:pt x="29527" y="7620"/>
                      <a:pt x="45244" y="0"/>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30" name="Freeform: Shape 329">
                <a:extLst>
                  <a:ext uri="{FF2B5EF4-FFF2-40B4-BE49-F238E27FC236}">
                    <a16:creationId xmlns:a16="http://schemas.microsoft.com/office/drawing/2014/main" id="{DBF60828-22C8-4184-9784-EAA5434227E6}"/>
                  </a:ext>
                </a:extLst>
              </p:cNvPr>
              <p:cNvSpPr/>
              <p:nvPr/>
            </p:nvSpPr>
            <p:spPr>
              <a:xfrm>
                <a:off x="3192282" y="3562564"/>
                <a:ext cx="68579" cy="69056"/>
              </a:xfrm>
              <a:custGeom>
                <a:avLst/>
                <a:gdLst>
                  <a:gd name="connsiteX0" fmla="*/ 68580 w 68579"/>
                  <a:gd name="connsiteY0" fmla="*/ 39052 h 69056"/>
                  <a:gd name="connsiteX1" fmla="*/ 30004 w 68579"/>
                  <a:gd name="connsiteY1" fmla="*/ 69056 h 69056"/>
                  <a:gd name="connsiteX2" fmla="*/ 0 w 68579"/>
                  <a:gd name="connsiteY2" fmla="*/ 29051 h 69056"/>
                  <a:gd name="connsiteX3" fmla="*/ 41434 w 68579"/>
                  <a:gd name="connsiteY3" fmla="*/ 0 h 69056"/>
                  <a:gd name="connsiteX4" fmla="*/ 68580 w 68579"/>
                  <a:gd name="connsiteY4" fmla="*/ 39052 h 690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79" h="69056">
                    <a:moveTo>
                      <a:pt x="68580" y="39052"/>
                    </a:moveTo>
                    <a:cubicBezTo>
                      <a:pt x="54769" y="49530"/>
                      <a:pt x="43339" y="58579"/>
                      <a:pt x="30004" y="69056"/>
                    </a:cubicBezTo>
                    <a:cubicBezTo>
                      <a:pt x="20002" y="55721"/>
                      <a:pt x="10954" y="43339"/>
                      <a:pt x="0" y="29051"/>
                    </a:cubicBezTo>
                    <a:cubicBezTo>
                      <a:pt x="14288" y="19050"/>
                      <a:pt x="27622" y="10001"/>
                      <a:pt x="41434" y="0"/>
                    </a:cubicBezTo>
                    <a:cubicBezTo>
                      <a:pt x="50483" y="13335"/>
                      <a:pt x="59055" y="25241"/>
                      <a:pt x="68580" y="39052"/>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31" name="Freeform: Shape 330">
                <a:extLst>
                  <a:ext uri="{FF2B5EF4-FFF2-40B4-BE49-F238E27FC236}">
                    <a16:creationId xmlns:a16="http://schemas.microsoft.com/office/drawing/2014/main" id="{626E2E0E-75C4-4D94-9589-1221E99E2B52}"/>
                  </a:ext>
                </a:extLst>
              </p:cNvPr>
              <p:cNvSpPr/>
              <p:nvPr/>
            </p:nvSpPr>
            <p:spPr>
              <a:xfrm>
                <a:off x="3286104" y="2621494"/>
                <a:ext cx="69056" cy="68103"/>
              </a:xfrm>
              <a:custGeom>
                <a:avLst/>
                <a:gdLst>
                  <a:gd name="connsiteX0" fmla="*/ 35719 w 69056"/>
                  <a:gd name="connsiteY0" fmla="*/ 68104 h 68103"/>
                  <a:gd name="connsiteX1" fmla="*/ 0 w 69056"/>
                  <a:gd name="connsiteY1" fmla="*/ 33814 h 68103"/>
                  <a:gd name="connsiteX2" fmla="*/ 36195 w 69056"/>
                  <a:gd name="connsiteY2" fmla="*/ 0 h 68103"/>
                  <a:gd name="connsiteX3" fmla="*/ 69056 w 69056"/>
                  <a:gd name="connsiteY3" fmla="*/ 37148 h 68103"/>
                  <a:gd name="connsiteX4" fmla="*/ 35719 w 69056"/>
                  <a:gd name="connsiteY4" fmla="*/ 68104 h 68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56" h="68103">
                    <a:moveTo>
                      <a:pt x="35719" y="68104"/>
                    </a:moveTo>
                    <a:cubicBezTo>
                      <a:pt x="23336" y="56198"/>
                      <a:pt x="12859" y="46196"/>
                      <a:pt x="0" y="33814"/>
                    </a:cubicBezTo>
                    <a:cubicBezTo>
                      <a:pt x="12382" y="22384"/>
                      <a:pt x="23813" y="11906"/>
                      <a:pt x="36195" y="0"/>
                    </a:cubicBezTo>
                    <a:cubicBezTo>
                      <a:pt x="47625" y="12859"/>
                      <a:pt x="57150" y="23813"/>
                      <a:pt x="69056" y="37148"/>
                    </a:cubicBezTo>
                    <a:cubicBezTo>
                      <a:pt x="58579" y="47149"/>
                      <a:pt x="47625" y="57150"/>
                      <a:pt x="35719" y="68104"/>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32" name="Freeform: Shape 331">
                <a:extLst>
                  <a:ext uri="{FF2B5EF4-FFF2-40B4-BE49-F238E27FC236}">
                    <a16:creationId xmlns:a16="http://schemas.microsoft.com/office/drawing/2014/main" id="{3D6960AE-98BD-4587-AEA8-BD9F45AB3E32}"/>
                  </a:ext>
                </a:extLst>
              </p:cNvPr>
              <p:cNvSpPr/>
              <p:nvPr/>
            </p:nvSpPr>
            <p:spPr>
              <a:xfrm>
                <a:off x="3456601" y="2507194"/>
                <a:ext cx="64769" cy="66675"/>
              </a:xfrm>
              <a:custGeom>
                <a:avLst/>
                <a:gdLst>
                  <a:gd name="connsiteX0" fmla="*/ 64770 w 64769"/>
                  <a:gd name="connsiteY0" fmla="*/ 47149 h 66675"/>
                  <a:gd name="connsiteX1" fmla="*/ 24765 w 64769"/>
                  <a:gd name="connsiteY1" fmla="*/ 66675 h 66675"/>
                  <a:gd name="connsiteX2" fmla="*/ 0 w 64769"/>
                  <a:gd name="connsiteY2" fmla="*/ 22860 h 66675"/>
                  <a:gd name="connsiteX3" fmla="*/ 45244 w 64769"/>
                  <a:gd name="connsiteY3" fmla="*/ 0 h 66675"/>
                  <a:gd name="connsiteX4" fmla="*/ 64770 w 64769"/>
                  <a:gd name="connsiteY4" fmla="*/ 47149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69" h="66675">
                    <a:moveTo>
                      <a:pt x="64770" y="47149"/>
                    </a:moveTo>
                    <a:cubicBezTo>
                      <a:pt x="50006" y="54293"/>
                      <a:pt x="38100" y="60484"/>
                      <a:pt x="24765" y="66675"/>
                    </a:cubicBezTo>
                    <a:cubicBezTo>
                      <a:pt x="16669" y="51911"/>
                      <a:pt x="9049" y="38576"/>
                      <a:pt x="0" y="22860"/>
                    </a:cubicBezTo>
                    <a:cubicBezTo>
                      <a:pt x="15240" y="15240"/>
                      <a:pt x="29051" y="8096"/>
                      <a:pt x="45244" y="0"/>
                    </a:cubicBezTo>
                    <a:cubicBezTo>
                      <a:pt x="51911" y="15716"/>
                      <a:pt x="57626" y="30480"/>
                      <a:pt x="64770" y="47149"/>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sp>
            <p:nvSpPr>
              <p:cNvPr id="333" name="Freeform: Shape 332">
                <a:extLst>
                  <a:ext uri="{FF2B5EF4-FFF2-40B4-BE49-F238E27FC236}">
                    <a16:creationId xmlns:a16="http://schemas.microsoft.com/office/drawing/2014/main" id="{DF12309F-5353-488A-BE99-9953E9FD592D}"/>
                  </a:ext>
                </a:extLst>
              </p:cNvPr>
              <p:cNvSpPr/>
              <p:nvPr/>
            </p:nvSpPr>
            <p:spPr>
              <a:xfrm>
                <a:off x="3555185" y="2473380"/>
                <a:ext cx="60483" cy="61912"/>
              </a:xfrm>
              <a:custGeom>
                <a:avLst/>
                <a:gdLst>
                  <a:gd name="connsiteX0" fmla="*/ 16669 w 60483"/>
                  <a:gd name="connsiteY0" fmla="*/ 61913 h 61912"/>
                  <a:gd name="connsiteX1" fmla="*/ 0 w 60483"/>
                  <a:gd name="connsiteY1" fmla="*/ 14288 h 61912"/>
                  <a:gd name="connsiteX2" fmla="*/ 46673 w 60483"/>
                  <a:gd name="connsiteY2" fmla="*/ 0 h 61912"/>
                  <a:gd name="connsiteX3" fmla="*/ 60484 w 60483"/>
                  <a:gd name="connsiteY3" fmla="*/ 47625 h 61912"/>
                  <a:gd name="connsiteX4" fmla="*/ 16669 w 60483"/>
                  <a:gd name="connsiteY4" fmla="*/ 61913 h 619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483" h="61912">
                    <a:moveTo>
                      <a:pt x="16669" y="61913"/>
                    </a:moveTo>
                    <a:cubicBezTo>
                      <a:pt x="10477" y="44291"/>
                      <a:pt x="5715" y="30480"/>
                      <a:pt x="0" y="14288"/>
                    </a:cubicBezTo>
                    <a:cubicBezTo>
                      <a:pt x="15716" y="9525"/>
                      <a:pt x="29527" y="5239"/>
                      <a:pt x="46673" y="0"/>
                    </a:cubicBezTo>
                    <a:cubicBezTo>
                      <a:pt x="50959" y="15716"/>
                      <a:pt x="55245" y="30480"/>
                      <a:pt x="60484" y="47625"/>
                    </a:cubicBezTo>
                    <a:cubicBezTo>
                      <a:pt x="45720" y="52388"/>
                      <a:pt x="32385" y="56674"/>
                      <a:pt x="16669" y="61913"/>
                    </a:cubicBezTo>
                    <a:close/>
                  </a:path>
                </a:pathLst>
              </a:custGeom>
              <a:solidFill>
                <a:schemeClr val="bg1">
                  <a:lumMod val="95000"/>
                </a:schemeClr>
              </a:solidFill>
              <a:ln w="2580" cap="flat">
                <a:noFill/>
                <a:prstDash val="solid"/>
                <a:miter/>
              </a:ln>
              <a:effectLst/>
            </p:spPr>
            <p:txBody>
              <a:bodyPr rtlCol="0" anchor="ctr"/>
              <a:lstStyle/>
              <a:p>
                <a:pPr defTabSz="1219170"/>
                <a:endParaRPr lang="en-US" sz="2400">
                  <a:solidFill>
                    <a:srgbClr val="102B62"/>
                  </a:solidFill>
                  <a:latin typeface="Arial"/>
                </a:endParaRPr>
              </a:p>
            </p:txBody>
          </p:sp>
        </p:grpSp>
      </p:grpSp>
      <p:grpSp>
        <p:nvGrpSpPr>
          <p:cNvPr id="42" name="Group 41">
            <a:extLst>
              <a:ext uri="{FF2B5EF4-FFF2-40B4-BE49-F238E27FC236}">
                <a16:creationId xmlns:a16="http://schemas.microsoft.com/office/drawing/2014/main" id="{462203D6-CF70-4AD5-8724-9D4611BDD3CB}"/>
              </a:ext>
            </a:extLst>
          </p:cNvPr>
          <p:cNvGrpSpPr/>
          <p:nvPr/>
        </p:nvGrpSpPr>
        <p:grpSpPr>
          <a:xfrm>
            <a:off x="526648" y="1462503"/>
            <a:ext cx="2617029" cy="991258"/>
            <a:chOff x="394986" y="655348"/>
            <a:chExt cx="1962772" cy="743443"/>
          </a:xfrm>
        </p:grpSpPr>
        <p:pic>
          <p:nvPicPr>
            <p:cNvPr id="41" name="Picture 40">
              <a:extLst>
                <a:ext uri="{FF2B5EF4-FFF2-40B4-BE49-F238E27FC236}">
                  <a16:creationId xmlns:a16="http://schemas.microsoft.com/office/drawing/2014/main" id="{66AE161B-BD02-4A92-8C01-8F528F050FB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4986" y="655348"/>
              <a:ext cx="1962772" cy="743443"/>
            </a:xfrm>
            <a:prstGeom prst="rect">
              <a:avLst/>
            </a:prstGeom>
          </p:spPr>
        </p:pic>
        <p:sp>
          <p:nvSpPr>
            <p:cNvPr id="29" name="Rectangle 28">
              <a:extLst>
                <a:ext uri="{FF2B5EF4-FFF2-40B4-BE49-F238E27FC236}">
                  <a16:creationId xmlns:a16="http://schemas.microsoft.com/office/drawing/2014/main" id="{E7A0A145-1F4B-408F-8DED-D7204E523CD9}"/>
                </a:ext>
              </a:extLst>
            </p:cNvPr>
            <p:cNvSpPr/>
            <p:nvPr/>
          </p:nvSpPr>
          <p:spPr>
            <a:xfrm>
              <a:off x="831426" y="769107"/>
              <a:ext cx="1066147" cy="376930"/>
            </a:xfrm>
            <a:prstGeom prst="rect">
              <a:avLst/>
            </a:prstGeom>
          </p:spPr>
          <p:txBody>
            <a:bodyPr wrap="square">
              <a:spAutoFit/>
            </a:bodyPr>
            <a:lstStyle/>
            <a:p>
              <a:pPr algn="ctr" defTabSz="1219170"/>
              <a:r>
                <a:rPr lang="en-US" sz="1333" b="1" dirty="0">
                  <a:solidFill>
                    <a:srgbClr val="102B62"/>
                  </a:solidFill>
                  <a:latin typeface="Arial"/>
                </a:rPr>
                <a:t>Accelerate Development</a:t>
              </a:r>
            </a:p>
          </p:txBody>
        </p:sp>
      </p:grpSp>
      <p:sp>
        <p:nvSpPr>
          <p:cNvPr id="90" name="TextBox 89">
            <a:extLst>
              <a:ext uri="{FF2B5EF4-FFF2-40B4-BE49-F238E27FC236}">
                <a16:creationId xmlns:a16="http://schemas.microsoft.com/office/drawing/2014/main" id="{8A6AEFA6-E6BB-40BD-B676-F5585D71290B}"/>
              </a:ext>
            </a:extLst>
          </p:cNvPr>
          <p:cNvSpPr txBox="1"/>
          <p:nvPr/>
        </p:nvSpPr>
        <p:spPr>
          <a:xfrm>
            <a:off x="1070793" y="2406421"/>
            <a:ext cx="2194196" cy="1169551"/>
          </a:xfrm>
          <a:prstGeom prst="rect">
            <a:avLst/>
          </a:prstGeom>
          <a:noFill/>
        </p:spPr>
        <p:txBody>
          <a:bodyPr wrap="square" rtlCol="0">
            <a:spAutoFit/>
          </a:bodyPr>
          <a:lstStyle/>
          <a:p>
            <a:pPr defTabSz="1219170">
              <a:defRPr/>
            </a:pPr>
            <a:r>
              <a:rPr lang="en-US" sz="1400" b="1" dirty="0">
                <a:solidFill>
                  <a:srgbClr val="102B62"/>
                </a:solidFill>
                <a:latin typeface="Arial"/>
              </a:rPr>
              <a:t>Rapid Vaccine Platform Approaches </a:t>
            </a:r>
          </a:p>
          <a:p>
            <a:pPr marL="152396" indent="-152396" defTabSz="1219170">
              <a:buFont typeface="Arial" panose="020B0604020202020204" pitchFamily="34" charset="0"/>
              <a:buChar char="•"/>
              <a:defRPr/>
            </a:pPr>
            <a:r>
              <a:rPr lang="en-US" sz="1400" dirty="0">
                <a:solidFill>
                  <a:srgbClr val="000000"/>
                </a:solidFill>
                <a:latin typeface="Arial"/>
              </a:rPr>
              <a:t>Nucleic Acid</a:t>
            </a:r>
          </a:p>
          <a:p>
            <a:pPr marL="152396" indent="-152396" defTabSz="1219170">
              <a:buFont typeface="Arial" panose="020B0604020202020204" pitchFamily="34" charset="0"/>
              <a:buChar char="•"/>
              <a:defRPr/>
            </a:pPr>
            <a:r>
              <a:rPr lang="en-US" sz="1400" dirty="0">
                <a:solidFill>
                  <a:srgbClr val="000000"/>
                </a:solidFill>
                <a:latin typeface="Arial"/>
              </a:rPr>
              <a:t>Vectors</a:t>
            </a:r>
          </a:p>
          <a:p>
            <a:pPr marL="152396" indent="-152396" defTabSz="1219170">
              <a:buFont typeface="Arial" panose="020B0604020202020204" pitchFamily="34" charset="0"/>
              <a:buChar char="•"/>
              <a:defRPr/>
            </a:pPr>
            <a:r>
              <a:rPr lang="en-US" sz="1400" dirty="0">
                <a:solidFill>
                  <a:srgbClr val="000000"/>
                </a:solidFill>
                <a:latin typeface="Arial"/>
              </a:rPr>
              <a:t>Recombinant protein</a:t>
            </a:r>
          </a:p>
        </p:txBody>
      </p:sp>
      <p:grpSp>
        <p:nvGrpSpPr>
          <p:cNvPr id="11" name="Group 10">
            <a:extLst>
              <a:ext uri="{FF2B5EF4-FFF2-40B4-BE49-F238E27FC236}">
                <a16:creationId xmlns:a16="http://schemas.microsoft.com/office/drawing/2014/main" id="{0FD243F0-7C89-4E83-80F2-DFEFF92A58FF}"/>
              </a:ext>
            </a:extLst>
          </p:cNvPr>
          <p:cNvGrpSpPr/>
          <p:nvPr/>
        </p:nvGrpSpPr>
        <p:grpSpPr>
          <a:xfrm>
            <a:off x="456099" y="2406422"/>
            <a:ext cx="613916" cy="613916"/>
            <a:chOff x="609600" y="1363287"/>
            <a:chExt cx="460437" cy="460437"/>
          </a:xfrm>
        </p:grpSpPr>
        <p:sp>
          <p:nvSpPr>
            <p:cNvPr id="100" name="Oval 99">
              <a:extLst>
                <a:ext uri="{FF2B5EF4-FFF2-40B4-BE49-F238E27FC236}">
                  <a16:creationId xmlns:a16="http://schemas.microsoft.com/office/drawing/2014/main" id="{1E8C8566-60D7-4E55-9E96-8F9F5D9EAE89}"/>
                </a:ext>
              </a:extLst>
            </p:cNvPr>
            <p:cNvSpPr/>
            <p:nvPr/>
          </p:nvSpPr>
          <p:spPr>
            <a:xfrm>
              <a:off x="609600" y="1363287"/>
              <a:ext cx="460437" cy="460437"/>
            </a:xfrm>
            <a:prstGeom prst="ellipse">
              <a:avLst/>
            </a:prstGeom>
            <a:ln>
              <a:noFill/>
            </a:ln>
            <a:effectLst/>
          </p:spPr>
          <p:style>
            <a:lnRef idx="1">
              <a:schemeClr val="dk1"/>
            </a:lnRef>
            <a:fillRef idx="3">
              <a:schemeClr val="dk1"/>
            </a:fillRef>
            <a:effectRef idx="2">
              <a:schemeClr val="dk1"/>
            </a:effectRef>
            <a:fontRef idx="minor">
              <a:schemeClr val="lt1"/>
            </a:fontRef>
          </p:style>
          <p:txBody>
            <a:bodyPr rtlCol="0" anchor="ctr"/>
            <a:lstStyle/>
            <a:p>
              <a:pPr algn="ctr" defTabSz="1219170"/>
              <a:endParaRPr lang="en-US" sz="1400" dirty="0">
                <a:solidFill>
                  <a:prstClr val="white"/>
                </a:solidFill>
                <a:latin typeface="Arial"/>
              </a:endParaRPr>
            </a:p>
          </p:txBody>
        </p:sp>
        <p:sp>
          <p:nvSpPr>
            <p:cNvPr id="334" name="Graphic 109" descr="Needle">
              <a:extLst>
                <a:ext uri="{FF2B5EF4-FFF2-40B4-BE49-F238E27FC236}">
                  <a16:creationId xmlns:a16="http://schemas.microsoft.com/office/drawing/2014/main" id="{0960F7FA-1B40-4759-8AC0-E1E31AFD872D}"/>
                </a:ext>
              </a:extLst>
            </p:cNvPr>
            <p:cNvSpPr/>
            <p:nvPr/>
          </p:nvSpPr>
          <p:spPr>
            <a:xfrm rot="11700000">
              <a:off x="696294" y="1452822"/>
              <a:ext cx="281364" cy="281364"/>
            </a:xfrm>
            <a:custGeom>
              <a:avLst/>
              <a:gdLst>
                <a:gd name="connsiteX0" fmla="*/ 534564 w 715135"/>
                <a:gd name="connsiteY0" fmla="*/ 241358 h 715135"/>
                <a:gd name="connsiteX1" fmla="*/ 504171 w 715135"/>
                <a:gd name="connsiteY1" fmla="*/ 210965 h 715135"/>
                <a:gd name="connsiteX2" fmla="*/ 479141 w 715135"/>
                <a:gd name="connsiteY2" fmla="*/ 235995 h 715135"/>
                <a:gd name="connsiteX3" fmla="*/ 509534 w 715135"/>
                <a:gd name="connsiteY3" fmla="*/ 266388 h 715135"/>
                <a:gd name="connsiteX4" fmla="*/ 480929 w 715135"/>
                <a:gd name="connsiteY4" fmla="*/ 294994 h 715135"/>
                <a:gd name="connsiteX5" fmla="*/ 450536 w 715135"/>
                <a:gd name="connsiteY5" fmla="*/ 264600 h 715135"/>
                <a:gd name="connsiteX6" fmla="*/ 425506 w 715135"/>
                <a:gd name="connsiteY6" fmla="*/ 289630 h 715135"/>
                <a:gd name="connsiteX7" fmla="*/ 455899 w 715135"/>
                <a:gd name="connsiteY7" fmla="*/ 320023 h 715135"/>
                <a:gd name="connsiteX8" fmla="*/ 427294 w 715135"/>
                <a:gd name="connsiteY8" fmla="*/ 348629 h 715135"/>
                <a:gd name="connsiteX9" fmla="*/ 396900 w 715135"/>
                <a:gd name="connsiteY9" fmla="*/ 318235 h 715135"/>
                <a:gd name="connsiteX10" fmla="*/ 371871 w 715135"/>
                <a:gd name="connsiteY10" fmla="*/ 343265 h 715135"/>
                <a:gd name="connsiteX11" fmla="*/ 402264 w 715135"/>
                <a:gd name="connsiteY11" fmla="*/ 373658 h 715135"/>
                <a:gd name="connsiteX12" fmla="*/ 374552 w 715135"/>
                <a:gd name="connsiteY12" fmla="*/ 401370 h 715135"/>
                <a:gd name="connsiteX13" fmla="*/ 313766 w 715135"/>
                <a:gd name="connsiteY13" fmla="*/ 340583 h 715135"/>
                <a:gd name="connsiteX14" fmla="*/ 500595 w 715135"/>
                <a:gd name="connsiteY14" fmla="*/ 153754 h 715135"/>
                <a:gd name="connsiteX15" fmla="*/ 561382 w 715135"/>
                <a:gd name="connsiteY15" fmla="*/ 214541 h 715135"/>
                <a:gd name="connsiteX16" fmla="*/ 534564 w 715135"/>
                <a:gd name="connsiteY16" fmla="*/ 241358 h 715135"/>
                <a:gd name="connsiteX17" fmla="*/ 707091 w 715135"/>
                <a:gd name="connsiteY17" fmla="*/ 115316 h 715135"/>
                <a:gd name="connsiteX18" fmla="*/ 599820 w 715135"/>
                <a:gd name="connsiteY18" fmla="*/ 8045 h 715135"/>
                <a:gd name="connsiteX19" fmla="*/ 562276 w 715135"/>
                <a:gd name="connsiteY19" fmla="*/ 8045 h 715135"/>
                <a:gd name="connsiteX20" fmla="*/ 562276 w 715135"/>
                <a:gd name="connsiteY20" fmla="*/ 45590 h 715135"/>
                <a:gd name="connsiteX21" fmla="*/ 584624 w 715135"/>
                <a:gd name="connsiteY21" fmla="*/ 67938 h 715135"/>
                <a:gd name="connsiteX22" fmla="*/ 537246 w 715135"/>
                <a:gd name="connsiteY22" fmla="*/ 115316 h 715135"/>
                <a:gd name="connsiteX23" fmla="*/ 500595 w 715135"/>
                <a:gd name="connsiteY23" fmla="*/ 78665 h 715135"/>
                <a:gd name="connsiteX24" fmla="*/ 483611 w 715135"/>
                <a:gd name="connsiteY24" fmla="*/ 61680 h 715135"/>
                <a:gd name="connsiteX25" fmla="*/ 446066 w 715135"/>
                <a:gd name="connsiteY25" fmla="*/ 61680 h 715135"/>
                <a:gd name="connsiteX26" fmla="*/ 446066 w 715135"/>
                <a:gd name="connsiteY26" fmla="*/ 99225 h 715135"/>
                <a:gd name="connsiteX27" fmla="*/ 463050 w 715135"/>
                <a:gd name="connsiteY27" fmla="*/ 116210 h 715135"/>
                <a:gd name="connsiteX28" fmla="*/ 227056 w 715135"/>
                <a:gd name="connsiteY28" fmla="*/ 352204 h 715135"/>
                <a:gd name="connsiteX29" fmla="*/ 198450 w 715135"/>
                <a:gd name="connsiteY29" fmla="*/ 420142 h 715135"/>
                <a:gd name="connsiteX30" fmla="*/ 202920 w 715135"/>
                <a:gd name="connsiteY30" fmla="*/ 449642 h 715135"/>
                <a:gd name="connsiteX31" fmla="*/ 156436 w 715135"/>
                <a:gd name="connsiteY31" fmla="*/ 496126 h 715135"/>
                <a:gd name="connsiteX32" fmla="*/ 146603 w 715135"/>
                <a:gd name="connsiteY32" fmla="*/ 543503 h 715135"/>
                <a:gd name="connsiteX33" fmla="*/ 5364 w 715135"/>
                <a:gd name="connsiteY33" fmla="*/ 684743 h 715135"/>
                <a:gd name="connsiteX34" fmla="*/ 5364 w 715135"/>
                <a:gd name="connsiteY34" fmla="*/ 709772 h 715135"/>
                <a:gd name="connsiteX35" fmla="*/ 17878 w 715135"/>
                <a:gd name="connsiteY35" fmla="*/ 715136 h 715135"/>
                <a:gd name="connsiteX36" fmla="*/ 30393 w 715135"/>
                <a:gd name="connsiteY36" fmla="*/ 709772 h 715135"/>
                <a:gd name="connsiteX37" fmla="*/ 171633 w 715135"/>
                <a:gd name="connsiteY37" fmla="*/ 568533 h 715135"/>
                <a:gd name="connsiteX38" fmla="*/ 219010 w 715135"/>
                <a:gd name="connsiteY38" fmla="*/ 558700 h 715135"/>
                <a:gd name="connsiteX39" fmla="*/ 265494 w 715135"/>
                <a:gd name="connsiteY39" fmla="*/ 512216 h 715135"/>
                <a:gd name="connsiteX40" fmla="*/ 294994 w 715135"/>
                <a:gd name="connsiteY40" fmla="*/ 516686 h 715135"/>
                <a:gd name="connsiteX41" fmla="*/ 362931 w 715135"/>
                <a:gd name="connsiteY41" fmla="*/ 488080 h 715135"/>
                <a:gd name="connsiteX42" fmla="*/ 598926 w 715135"/>
                <a:gd name="connsiteY42" fmla="*/ 252085 h 715135"/>
                <a:gd name="connsiteX43" fmla="*/ 615911 w 715135"/>
                <a:gd name="connsiteY43" fmla="*/ 269070 h 715135"/>
                <a:gd name="connsiteX44" fmla="*/ 634683 w 715135"/>
                <a:gd name="connsiteY44" fmla="*/ 277115 h 715135"/>
                <a:gd name="connsiteX45" fmla="*/ 653455 w 715135"/>
                <a:gd name="connsiteY45" fmla="*/ 269070 h 715135"/>
                <a:gd name="connsiteX46" fmla="*/ 653455 w 715135"/>
                <a:gd name="connsiteY46" fmla="*/ 231525 h 715135"/>
                <a:gd name="connsiteX47" fmla="*/ 636471 w 715135"/>
                <a:gd name="connsiteY47" fmla="*/ 214541 h 715135"/>
                <a:gd name="connsiteX48" fmla="*/ 599820 w 715135"/>
                <a:gd name="connsiteY48" fmla="*/ 177890 h 715135"/>
                <a:gd name="connsiteX49" fmla="*/ 647198 w 715135"/>
                <a:gd name="connsiteY49" fmla="*/ 130512 h 715135"/>
                <a:gd name="connsiteX50" fmla="*/ 669546 w 715135"/>
                <a:gd name="connsiteY50" fmla="*/ 152860 h 715135"/>
                <a:gd name="connsiteX51" fmla="*/ 688318 w 715135"/>
                <a:gd name="connsiteY51" fmla="*/ 160906 h 715135"/>
                <a:gd name="connsiteX52" fmla="*/ 707091 w 715135"/>
                <a:gd name="connsiteY52" fmla="*/ 152860 h 715135"/>
                <a:gd name="connsiteX53" fmla="*/ 707091 w 715135"/>
                <a:gd name="connsiteY53" fmla="*/ 115316 h 715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15135" h="715135">
                  <a:moveTo>
                    <a:pt x="534564" y="241358"/>
                  </a:moveTo>
                  <a:lnTo>
                    <a:pt x="504171" y="210965"/>
                  </a:lnTo>
                  <a:lnTo>
                    <a:pt x="479141" y="235995"/>
                  </a:lnTo>
                  <a:lnTo>
                    <a:pt x="509534" y="266388"/>
                  </a:lnTo>
                  <a:lnTo>
                    <a:pt x="480929" y="294994"/>
                  </a:lnTo>
                  <a:lnTo>
                    <a:pt x="450536" y="264600"/>
                  </a:lnTo>
                  <a:lnTo>
                    <a:pt x="425506" y="289630"/>
                  </a:lnTo>
                  <a:lnTo>
                    <a:pt x="455899" y="320023"/>
                  </a:lnTo>
                  <a:lnTo>
                    <a:pt x="427294" y="348629"/>
                  </a:lnTo>
                  <a:lnTo>
                    <a:pt x="396900" y="318235"/>
                  </a:lnTo>
                  <a:lnTo>
                    <a:pt x="371871" y="343265"/>
                  </a:lnTo>
                  <a:lnTo>
                    <a:pt x="402264" y="373658"/>
                  </a:lnTo>
                  <a:lnTo>
                    <a:pt x="374552" y="401370"/>
                  </a:lnTo>
                  <a:lnTo>
                    <a:pt x="313766" y="340583"/>
                  </a:lnTo>
                  <a:lnTo>
                    <a:pt x="500595" y="153754"/>
                  </a:lnTo>
                  <a:lnTo>
                    <a:pt x="561382" y="214541"/>
                  </a:lnTo>
                  <a:lnTo>
                    <a:pt x="534564" y="241358"/>
                  </a:lnTo>
                  <a:close/>
                  <a:moveTo>
                    <a:pt x="707091" y="115316"/>
                  </a:moveTo>
                  <a:lnTo>
                    <a:pt x="599820" y="8045"/>
                  </a:lnTo>
                  <a:cubicBezTo>
                    <a:pt x="589093" y="-2682"/>
                    <a:pt x="572109" y="-2682"/>
                    <a:pt x="562276" y="8045"/>
                  </a:cubicBezTo>
                  <a:cubicBezTo>
                    <a:pt x="551549" y="18772"/>
                    <a:pt x="551549" y="35757"/>
                    <a:pt x="562276" y="45590"/>
                  </a:cubicBezTo>
                  <a:lnTo>
                    <a:pt x="584624" y="67938"/>
                  </a:lnTo>
                  <a:lnTo>
                    <a:pt x="537246" y="115316"/>
                  </a:lnTo>
                  <a:lnTo>
                    <a:pt x="500595" y="78665"/>
                  </a:lnTo>
                  <a:lnTo>
                    <a:pt x="483611" y="61680"/>
                  </a:lnTo>
                  <a:cubicBezTo>
                    <a:pt x="472884" y="50953"/>
                    <a:pt x="455899" y="50953"/>
                    <a:pt x="446066" y="61680"/>
                  </a:cubicBezTo>
                  <a:cubicBezTo>
                    <a:pt x="435339" y="72408"/>
                    <a:pt x="435339" y="89392"/>
                    <a:pt x="446066" y="99225"/>
                  </a:cubicBezTo>
                  <a:lnTo>
                    <a:pt x="463050" y="116210"/>
                  </a:lnTo>
                  <a:lnTo>
                    <a:pt x="227056" y="352204"/>
                  </a:lnTo>
                  <a:cubicBezTo>
                    <a:pt x="209177" y="370083"/>
                    <a:pt x="198450" y="394219"/>
                    <a:pt x="198450" y="420142"/>
                  </a:cubicBezTo>
                  <a:cubicBezTo>
                    <a:pt x="198450" y="429975"/>
                    <a:pt x="200238" y="439809"/>
                    <a:pt x="202920" y="449642"/>
                  </a:cubicBezTo>
                  <a:lnTo>
                    <a:pt x="156436" y="496126"/>
                  </a:lnTo>
                  <a:cubicBezTo>
                    <a:pt x="143921" y="508640"/>
                    <a:pt x="140345" y="527413"/>
                    <a:pt x="146603" y="543503"/>
                  </a:cubicBezTo>
                  <a:lnTo>
                    <a:pt x="5364" y="684743"/>
                  </a:lnTo>
                  <a:cubicBezTo>
                    <a:pt x="-1788" y="691894"/>
                    <a:pt x="-1788" y="702621"/>
                    <a:pt x="5364" y="709772"/>
                  </a:cubicBezTo>
                  <a:cubicBezTo>
                    <a:pt x="8939" y="713348"/>
                    <a:pt x="13409" y="715136"/>
                    <a:pt x="17878" y="715136"/>
                  </a:cubicBezTo>
                  <a:cubicBezTo>
                    <a:pt x="22348" y="715136"/>
                    <a:pt x="26818" y="713348"/>
                    <a:pt x="30393" y="709772"/>
                  </a:cubicBezTo>
                  <a:lnTo>
                    <a:pt x="171633" y="568533"/>
                  </a:lnTo>
                  <a:cubicBezTo>
                    <a:pt x="187723" y="574790"/>
                    <a:pt x="206495" y="571215"/>
                    <a:pt x="219010" y="558700"/>
                  </a:cubicBezTo>
                  <a:lnTo>
                    <a:pt x="265494" y="512216"/>
                  </a:lnTo>
                  <a:cubicBezTo>
                    <a:pt x="275327" y="514898"/>
                    <a:pt x="285160" y="516686"/>
                    <a:pt x="294994" y="516686"/>
                  </a:cubicBezTo>
                  <a:cubicBezTo>
                    <a:pt x="320023" y="516686"/>
                    <a:pt x="344159" y="507746"/>
                    <a:pt x="362931" y="488080"/>
                  </a:cubicBezTo>
                  <a:lnTo>
                    <a:pt x="598926" y="252085"/>
                  </a:lnTo>
                  <a:lnTo>
                    <a:pt x="615911" y="269070"/>
                  </a:lnTo>
                  <a:cubicBezTo>
                    <a:pt x="621274" y="274433"/>
                    <a:pt x="628426" y="277115"/>
                    <a:pt x="634683" y="277115"/>
                  </a:cubicBezTo>
                  <a:cubicBezTo>
                    <a:pt x="640940" y="277115"/>
                    <a:pt x="648092" y="274433"/>
                    <a:pt x="653455" y="269070"/>
                  </a:cubicBezTo>
                  <a:cubicBezTo>
                    <a:pt x="664182" y="258343"/>
                    <a:pt x="664182" y="241358"/>
                    <a:pt x="653455" y="231525"/>
                  </a:cubicBezTo>
                  <a:lnTo>
                    <a:pt x="636471" y="214541"/>
                  </a:lnTo>
                  <a:lnTo>
                    <a:pt x="599820" y="177890"/>
                  </a:lnTo>
                  <a:lnTo>
                    <a:pt x="647198" y="130512"/>
                  </a:lnTo>
                  <a:lnTo>
                    <a:pt x="669546" y="152860"/>
                  </a:lnTo>
                  <a:cubicBezTo>
                    <a:pt x="674909" y="158224"/>
                    <a:pt x="682061" y="160906"/>
                    <a:pt x="688318" y="160906"/>
                  </a:cubicBezTo>
                  <a:cubicBezTo>
                    <a:pt x="694576" y="160906"/>
                    <a:pt x="701727" y="158224"/>
                    <a:pt x="707091" y="152860"/>
                  </a:cubicBezTo>
                  <a:cubicBezTo>
                    <a:pt x="717818" y="142133"/>
                    <a:pt x="717818" y="126043"/>
                    <a:pt x="707091" y="115316"/>
                  </a:cubicBezTo>
                  <a:close/>
                </a:path>
              </a:pathLst>
            </a:custGeom>
            <a:solidFill>
              <a:schemeClr val="bg1">
                <a:lumMod val="95000"/>
              </a:schemeClr>
            </a:solidFill>
            <a:ln w="8930" cap="flat">
              <a:noFill/>
              <a:prstDash val="solid"/>
              <a:miter/>
            </a:ln>
          </p:spPr>
          <p:txBody>
            <a:bodyPr rtlCol="0" anchor="ctr"/>
            <a:lstStyle/>
            <a:p>
              <a:pPr defTabSz="1219170"/>
              <a:endParaRPr lang="en-US" sz="1400">
                <a:solidFill>
                  <a:srgbClr val="102B62"/>
                </a:solidFill>
                <a:latin typeface="Arial"/>
              </a:endParaRPr>
            </a:p>
          </p:txBody>
        </p:sp>
      </p:grpSp>
      <p:sp>
        <p:nvSpPr>
          <p:cNvPr id="140" name="TextBox 139">
            <a:extLst>
              <a:ext uri="{FF2B5EF4-FFF2-40B4-BE49-F238E27FC236}">
                <a16:creationId xmlns:a16="http://schemas.microsoft.com/office/drawing/2014/main" id="{DD3B9EF4-A806-4433-8698-361633E075F8}"/>
              </a:ext>
            </a:extLst>
          </p:cNvPr>
          <p:cNvSpPr txBox="1"/>
          <p:nvPr/>
        </p:nvSpPr>
        <p:spPr>
          <a:xfrm>
            <a:off x="1070793" y="4011723"/>
            <a:ext cx="2201705" cy="954107"/>
          </a:xfrm>
          <a:prstGeom prst="rect">
            <a:avLst/>
          </a:prstGeom>
          <a:noFill/>
        </p:spPr>
        <p:txBody>
          <a:bodyPr wrap="square" rtlCol="0">
            <a:spAutoFit/>
          </a:bodyPr>
          <a:lstStyle/>
          <a:p>
            <a:pPr defTabSz="1219170">
              <a:defRPr/>
            </a:pPr>
            <a:r>
              <a:rPr lang="en-US" sz="1400" b="1" dirty="0">
                <a:solidFill>
                  <a:srgbClr val="102B62"/>
                </a:solidFill>
                <a:latin typeface="Arial"/>
              </a:rPr>
              <a:t>Repurpose Licensed Products</a:t>
            </a:r>
          </a:p>
          <a:p>
            <a:pPr marL="152396" indent="-152396" defTabSz="1219170">
              <a:buFont typeface="Arial" panose="020B0604020202020204" pitchFamily="34" charset="0"/>
              <a:buChar char="•"/>
              <a:defRPr/>
            </a:pPr>
            <a:r>
              <a:rPr lang="en-US" sz="1400" dirty="0">
                <a:solidFill>
                  <a:srgbClr val="000000"/>
                </a:solidFill>
                <a:latin typeface="Arial"/>
              </a:rPr>
              <a:t>Viral Vector</a:t>
            </a:r>
          </a:p>
          <a:p>
            <a:pPr marL="152396" indent="-152396" defTabSz="1219170">
              <a:buFont typeface="Arial" panose="020B0604020202020204" pitchFamily="34" charset="0"/>
              <a:buChar char="•"/>
              <a:defRPr/>
            </a:pPr>
            <a:r>
              <a:rPr lang="en-US" sz="1400" dirty="0">
                <a:solidFill>
                  <a:srgbClr val="000000"/>
                </a:solidFill>
                <a:latin typeface="Arial"/>
              </a:rPr>
              <a:t>Recombinant Protein</a:t>
            </a:r>
          </a:p>
        </p:txBody>
      </p:sp>
      <p:grpSp>
        <p:nvGrpSpPr>
          <p:cNvPr id="335" name="Group 334">
            <a:extLst>
              <a:ext uri="{FF2B5EF4-FFF2-40B4-BE49-F238E27FC236}">
                <a16:creationId xmlns:a16="http://schemas.microsoft.com/office/drawing/2014/main" id="{DB275021-E465-4A50-AB3A-0F2A9E949454}"/>
              </a:ext>
            </a:extLst>
          </p:cNvPr>
          <p:cNvGrpSpPr/>
          <p:nvPr/>
        </p:nvGrpSpPr>
        <p:grpSpPr>
          <a:xfrm>
            <a:off x="456099" y="4011723"/>
            <a:ext cx="613916" cy="613916"/>
            <a:chOff x="609600" y="1363287"/>
            <a:chExt cx="460437" cy="460437"/>
          </a:xfrm>
        </p:grpSpPr>
        <p:sp>
          <p:nvSpPr>
            <p:cNvPr id="336" name="Oval 335">
              <a:extLst>
                <a:ext uri="{FF2B5EF4-FFF2-40B4-BE49-F238E27FC236}">
                  <a16:creationId xmlns:a16="http://schemas.microsoft.com/office/drawing/2014/main" id="{FB6EC060-C0CC-4FA0-836C-5F2F6682710F}"/>
                </a:ext>
              </a:extLst>
            </p:cNvPr>
            <p:cNvSpPr/>
            <p:nvPr/>
          </p:nvSpPr>
          <p:spPr>
            <a:xfrm>
              <a:off x="609600" y="1363287"/>
              <a:ext cx="460437" cy="460437"/>
            </a:xfrm>
            <a:prstGeom prst="ellipse">
              <a:avLst/>
            </a:prstGeom>
            <a:ln>
              <a:noFill/>
            </a:ln>
            <a:effectLst/>
          </p:spPr>
          <p:style>
            <a:lnRef idx="1">
              <a:schemeClr val="dk1"/>
            </a:lnRef>
            <a:fillRef idx="3">
              <a:schemeClr val="dk1"/>
            </a:fillRef>
            <a:effectRef idx="2">
              <a:schemeClr val="dk1"/>
            </a:effectRef>
            <a:fontRef idx="minor">
              <a:schemeClr val="lt1"/>
            </a:fontRef>
          </p:style>
          <p:txBody>
            <a:bodyPr rtlCol="0" anchor="ctr"/>
            <a:lstStyle/>
            <a:p>
              <a:pPr algn="ctr" defTabSz="1219170"/>
              <a:endParaRPr lang="en-US" sz="1400" dirty="0">
                <a:solidFill>
                  <a:prstClr val="white"/>
                </a:solidFill>
                <a:latin typeface="Arial"/>
              </a:endParaRPr>
            </a:p>
          </p:txBody>
        </p:sp>
        <p:sp>
          <p:nvSpPr>
            <p:cNvPr id="337" name="Graphic 109" descr="Needle">
              <a:extLst>
                <a:ext uri="{FF2B5EF4-FFF2-40B4-BE49-F238E27FC236}">
                  <a16:creationId xmlns:a16="http://schemas.microsoft.com/office/drawing/2014/main" id="{F04AB4A4-3EF1-465B-B5A2-911DB84526F6}"/>
                </a:ext>
              </a:extLst>
            </p:cNvPr>
            <p:cNvSpPr/>
            <p:nvPr/>
          </p:nvSpPr>
          <p:spPr>
            <a:xfrm rot="11700000">
              <a:off x="696294" y="1452822"/>
              <a:ext cx="281364" cy="281364"/>
            </a:xfrm>
            <a:custGeom>
              <a:avLst/>
              <a:gdLst>
                <a:gd name="connsiteX0" fmla="*/ 534564 w 715135"/>
                <a:gd name="connsiteY0" fmla="*/ 241358 h 715135"/>
                <a:gd name="connsiteX1" fmla="*/ 504171 w 715135"/>
                <a:gd name="connsiteY1" fmla="*/ 210965 h 715135"/>
                <a:gd name="connsiteX2" fmla="*/ 479141 w 715135"/>
                <a:gd name="connsiteY2" fmla="*/ 235995 h 715135"/>
                <a:gd name="connsiteX3" fmla="*/ 509534 w 715135"/>
                <a:gd name="connsiteY3" fmla="*/ 266388 h 715135"/>
                <a:gd name="connsiteX4" fmla="*/ 480929 w 715135"/>
                <a:gd name="connsiteY4" fmla="*/ 294994 h 715135"/>
                <a:gd name="connsiteX5" fmla="*/ 450536 w 715135"/>
                <a:gd name="connsiteY5" fmla="*/ 264600 h 715135"/>
                <a:gd name="connsiteX6" fmla="*/ 425506 w 715135"/>
                <a:gd name="connsiteY6" fmla="*/ 289630 h 715135"/>
                <a:gd name="connsiteX7" fmla="*/ 455899 w 715135"/>
                <a:gd name="connsiteY7" fmla="*/ 320023 h 715135"/>
                <a:gd name="connsiteX8" fmla="*/ 427294 w 715135"/>
                <a:gd name="connsiteY8" fmla="*/ 348629 h 715135"/>
                <a:gd name="connsiteX9" fmla="*/ 396900 w 715135"/>
                <a:gd name="connsiteY9" fmla="*/ 318235 h 715135"/>
                <a:gd name="connsiteX10" fmla="*/ 371871 w 715135"/>
                <a:gd name="connsiteY10" fmla="*/ 343265 h 715135"/>
                <a:gd name="connsiteX11" fmla="*/ 402264 w 715135"/>
                <a:gd name="connsiteY11" fmla="*/ 373658 h 715135"/>
                <a:gd name="connsiteX12" fmla="*/ 374552 w 715135"/>
                <a:gd name="connsiteY12" fmla="*/ 401370 h 715135"/>
                <a:gd name="connsiteX13" fmla="*/ 313766 w 715135"/>
                <a:gd name="connsiteY13" fmla="*/ 340583 h 715135"/>
                <a:gd name="connsiteX14" fmla="*/ 500595 w 715135"/>
                <a:gd name="connsiteY14" fmla="*/ 153754 h 715135"/>
                <a:gd name="connsiteX15" fmla="*/ 561382 w 715135"/>
                <a:gd name="connsiteY15" fmla="*/ 214541 h 715135"/>
                <a:gd name="connsiteX16" fmla="*/ 534564 w 715135"/>
                <a:gd name="connsiteY16" fmla="*/ 241358 h 715135"/>
                <a:gd name="connsiteX17" fmla="*/ 707091 w 715135"/>
                <a:gd name="connsiteY17" fmla="*/ 115316 h 715135"/>
                <a:gd name="connsiteX18" fmla="*/ 599820 w 715135"/>
                <a:gd name="connsiteY18" fmla="*/ 8045 h 715135"/>
                <a:gd name="connsiteX19" fmla="*/ 562276 w 715135"/>
                <a:gd name="connsiteY19" fmla="*/ 8045 h 715135"/>
                <a:gd name="connsiteX20" fmla="*/ 562276 w 715135"/>
                <a:gd name="connsiteY20" fmla="*/ 45590 h 715135"/>
                <a:gd name="connsiteX21" fmla="*/ 584624 w 715135"/>
                <a:gd name="connsiteY21" fmla="*/ 67938 h 715135"/>
                <a:gd name="connsiteX22" fmla="*/ 537246 w 715135"/>
                <a:gd name="connsiteY22" fmla="*/ 115316 h 715135"/>
                <a:gd name="connsiteX23" fmla="*/ 500595 w 715135"/>
                <a:gd name="connsiteY23" fmla="*/ 78665 h 715135"/>
                <a:gd name="connsiteX24" fmla="*/ 483611 w 715135"/>
                <a:gd name="connsiteY24" fmla="*/ 61680 h 715135"/>
                <a:gd name="connsiteX25" fmla="*/ 446066 w 715135"/>
                <a:gd name="connsiteY25" fmla="*/ 61680 h 715135"/>
                <a:gd name="connsiteX26" fmla="*/ 446066 w 715135"/>
                <a:gd name="connsiteY26" fmla="*/ 99225 h 715135"/>
                <a:gd name="connsiteX27" fmla="*/ 463050 w 715135"/>
                <a:gd name="connsiteY27" fmla="*/ 116210 h 715135"/>
                <a:gd name="connsiteX28" fmla="*/ 227056 w 715135"/>
                <a:gd name="connsiteY28" fmla="*/ 352204 h 715135"/>
                <a:gd name="connsiteX29" fmla="*/ 198450 w 715135"/>
                <a:gd name="connsiteY29" fmla="*/ 420142 h 715135"/>
                <a:gd name="connsiteX30" fmla="*/ 202920 w 715135"/>
                <a:gd name="connsiteY30" fmla="*/ 449642 h 715135"/>
                <a:gd name="connsiteX31" fmla="*/ 156436 w 715135"/>
                <a:gd name="connsiteY31" fmla="*/ 496126 h 715135"/>
                <a:gd name="connsiteX32" fmla="*/ 146603 w 715135"/>
                <a:gd name="connsiteY32" fmla="*/ 543503 h 715135"/>
                <a:gd name="connsiteX33" fmla="*/ 5364 w 715135"/>
                <a:gd name="connsiteY33" fmla="*/ 684743 h 715135"/>
                <a:gd name="connsiteX34" fmla="*/ 5364 w 715135"/>
                <a:gd name="connsiteY34" fmla="*/ 709772 h 715135"/>
                <a:gd name="connsiteX35" fmla="*/ 17878 w 715135"/>
                <a:gd name="connsiteY35" fmla="*/ 715136 h 715135"/>
                <a:gd name="connsiteX36" fmla="*/ 30393 w 715135"/>
                <a:gd name="connsiteY36" fmla="*/ 709772 h 715135"/>
                <a:gd name="connsiteX37" fmla="*/ 171633 w 715135"/>
                <a:gd name="connsiteY37" fmla="*/ 568533 h 715135"/>
                <a:gd name="connsiteX38" fmla="*/ 219010 w 715135"/>
                <a:gd name="connsiteY38" fmla="*/ 558700 h 715135"/>
                <a:gd name="connsiteX39" fmla="*/ 265494 w 715135"/>
                <a:gd name="connsiteY39" fmla="*/ 512216 h 715135"/>
                <a:gd name="connsiteX40" fmla="*/ 294994 w 715135"/>
                <a:gd name="connsiteY40" fmla="*/ 516686 h 715135"/>
                <a:gd name="connsiteX41" fmla="*/ 362931 w 715135"/>
                <a:gd name="connsiteY41" fmla="*/ 488080 h 715135"/>
                <a:gd name="connsiteX42" fmla="*/ 598926 w 715135"/>
                <a:gd name="connsiteY42" fmla="*/ 252085 h 715135"/>
                <a:gd name="connsiteX43" fmla="*/ 615911 w 715135"/>
                <a:gd name="connsiteY43" fmla="*/ 269070 h 715135"/>
                <a:gd name="connsiteX44" fmla="*/ 634683 w 715135"/>
                <a:gd name="connsiteY44" fmla="*/ 277115 h 715135"/>
                <a:gd name="connsiteX45" fmla="*/ 653455 w 715135"/>
                <a:gd name="connsiteY45" fmla="*/ 269070 h 715135"/>
                <a:gd name="connsiteX46" fmla="*/ 653455 w 715135"/>
                <a:gd name="connsiteY46" fmla="*/ 231525 h 715135"/>
                <a:gd name="connsiteX47" fmla="*/ 636471 w 715135"/>
                <a:gd name="connsiteY47" fmla="*/ 214541 h 715135"/>
                <a:gd name="connsiteX48" fmla="*/ 599820 w 715135"/>
                <a:gd name="connsiteY48" fmla="*/ 177890 h 715135"/>
                <a:gd name="connsiteX49" fmla="*/ 647198 w 715135"/>
                <a:gd name="connsiteY49" fmla="*/ 130512 h 715135"/>
                <a:gd name="connsiteX50" fmla="*/ 669546 w 715135"/>
                <a:gd name="connsiteY50" fmla="*/ 152860 h 715135"/>
                <a:gd name="connsiteX51" fmla="*/ 688318 w 715135"/>
                <a:gd name="connsiteY51" fmla="*/ 160906 h 715135"/>
                <a:gd name="connsiteX52" fmla="*/ 707091 w 715135"/>
                <a:gd name="connsiteY52" fmla="*/ 152860 h 715135"/>
                <a:gd name="connsiteX53" fmla="*/ 707091 w 715135"/>
                <a:gd name="connsiteY53" fmla="*/ 115316 h 715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15135" h="715135">
                  <a:moveTo>
                    <a:pt x="534564" y="241358"/>
                  </a:moveTo>
                  <a:lnTo>
                    <a:pt x="504171" y="210965"/>
                  </a:lnTo>
                  <a:lnTo>
                    <a:pt x="479141" y="235995"/>
                  </a:lnTo>
                  <a:lnTo>
                    <a:pt x="509534" y="266388"/>
                  </a:lnTo>
                  <a:lnTo>
                    <a:pt x="480929" y="294994"/>
                  </a:lnTo>
                  <a:lnTo>
                    <a:pt x="450536" y="264600"/>
                  </a:lnTo>
                  <a:lnTo>
                    <a:pt x="425506" y="289630"/>
                  </a:lnTo>
                  <a:lnTo>
                    <a:pt x="455899" y="320023"/>
                  </a:lnTo>
                  <a:lnTo>
                    <a:pt x="427294" y="348629"/>
                  </a:lnTo>
                  <a:lnTo>
                    <a:pt x="396900" y="318235"/>
                  </a:lnTo>
                  <a:lnTo>
                    <a:pt x="371871" y="343265"/>
                  </a:lnTo>
                  <a:lnTo>
                    <a:pt x="402264" y="373658"/>
                  </a:lnTo>
                  <a:lnTo>
                    <a:pt x="374552" y="401370"/>
                  </a:lnTo>
                  <a:lnTo>
                    <a:pt x="313766" y="340583"/>
                  </a:lnTo>
                  <a:lnTo>
                    <a:pt x="500595" y="153754"/>
                  </a:lnTo>
                  <a:lnTo>
                    <a:pt x="561382" y="214541"/>
                  </a:lnTo>
                  <a:lnTo>
                    <a:pt x="534564" y="241358"/>
                  </a:lnTo>
                  <a:close/>
                  <a:moveTo>
                    <a:pt x="707091" y="115316"/>
                  </a:moveTo>
                  <a:lnTo>
                    <a:pt x="599820" y="8045"/>
                  </a:lnTo>
                  <a:cubicBezTo>
                    <a:pt x="589093" y="-2682"/>
                    <a:pt x="572109" y="-2682"/>
                    <a:pt x="562276" y="8045"/>
                  </a:cubicBezTo>
                  <a:cubicBezTo>
                    <a:pt x="551549" y="18772"/>
                    <a:pt x="551549" y="35757"/>
                    <a:pt x="562276" y="45590"/>
                  </a:cubicBezTo>
                  <a:lnTo>
                    <a:pt x="584624" y="67938"/>
                  </a:lnTo>
                  <a:lnTo>
                    <a:pt x="537246" y="115316"/>
                  </a:lnTo>
                  <a:lnTo>
                    <a:pt x="500595" y="78665"/>
                  </a:lnTo>
                  <a:lnTo>
                    <a:pt x="483611" y="61680"/>
                  </a:lnTo>
                  <a:cubicBezTo>
                    <a:pt x="472884" y="50953"/>
                    <a:pt x="455899" y="50953"/>
                    <a:pt x="446066" y="61680"/>
                  </a:cubicBezTo>
                  <a:cubicBezTo>
                    <a:pt x="435339" y="72408"/>
                    <a:pt x="435339" y="89392"/>
                    <a:pt x="446066" y="99225"/>
                  </a:cubicBezTo>
                  <a:lnTo>
                    <a:pt x="463050" y="116210"/>
                  </a:lnTo>
                  <a:lnTo>
                    <a:pt x="227056" y="352204"/>
                  </a:lnTo>
                  <a:cubicBezTo>
                    <a:pt x="209177" y="370083"/>
                    <a:pt x="198450" y="394219"/>
                    <a:pt x="198450" y="420142"/>
                  </a:cubicBezTo>
                  <a:cubicBezTo>
                    <a:pt x="198450" y="429975"/>
                    <a:pt x="200238" y="439809"/>
                    <a:pt x="202920" y="449642"/>
                  </a:cubicBezTo>
                  <a:lnTo>
                    <a:pt x="156436" y="496126"/>
                  </a:lnTo>
                  <a:cubicBezTo>
                    <a:pt x="143921" y="508640"/>
                    <a:pt x="140345" y="527413"/>
                    <a:pt x="146603" y="543503"/>
                  </a:cubicBezTo>
                  <a:lnTo>
                    <a:pt x="5364" y="684743"/>
                  </a:lnTo>
                  <a:cubicBezTo>
                    <a:pt x="-1788" y="691894"/>
                    <a:pt x="-1788" y="702621"/>
                    <a:pt x="5364" y="709772"/>
                  </a:cubicBezTo>
                  <a:cubicBezTo>
                    <a:pt x="8939" y="713348"/>
                    <a:pt x="13409" y="715136"/>
                    <a:pt x="17878" y="715136"/>
                  </a:cubicBezTo>
                  <a:cubicBezTo>
                    <a:pt x="22348" y="715136"/>
                    <a:pt x="26818" y="713348"/>
                    <a:pt x="30393" y="709772"/>
                  </a:cubicBezTo>
                  <a:lnTo>
                    <a:pt x="171633" y="568533"/>
                  </a:lnTo>
                  <a:cubicBezTo>
                    <a:pt x="187723" y="574790"/>
                    <a:pt x="206495" y="571215"/>
                    <a:pt x="219010" y="558700"/>
                  </a:cubicBezTo>
                  <a:lnTo>
                    <a:pt x="265494" y="512216"/>
                  </a:lnTo>
                  <a:cubicBezTo>
                    <a:pt x="275327" y="514898"/>
                    <a:pt x="285160" y="516686"/>
                    <a:pt x="294994" y="516686"/>
                  </a:cubicBezTo>
                  <a:cubicBezTo>
                    <a:pt x="320023" y="516686"/>
                    <a:pt x="344159" y="507746"/>
                    <a:pt x="362931" y="488080"/>
                  </a:cubicBezTo>
                  <a:lnTo>
                    <a:pt x="598926" y="252085"/>
                  </a:lnTo>
                  <a:lnTo>
                    <a:pt x="615911" y="269070"/>
                  </a:lnTo>
                  <a:cubicBezTo>
                    <a:pt x="621274" y="274433"/>
                    <a:pt x="628426" y="277115"/>
                    <a:pt x="634683" y="277115"/>
                  </a:cubicBezTo>
                  <a:cubicBezTo>
                    <a:pt x="640940" y="277115"/>
                    <a:pt x="648092" y="274433"/>
                    <a:pt x="653455" y="269070"/>
                  </a:cubicBezTo>
                  <a:cubicBezTo>
                    <a:pt x="664182" y="258343"/>
                    <a:pt x="664182" y="241358"/>
                    <a:pt x="653455" y="231525"/>
                  </a:cubicBezTo>
                  <a:lnTo>
                    <a:pt x="636471" y="214541"/>
                  </a:lnTo>
                  <a:lnTo>
                    <a:pt x="599820" y="177890"/>
                  </a:lnTo>
                  <a:lnTo>
                    <a:pt x="647198" y="130512"/>
                  </a:lnTo>
                  <a:lnTo>
                    <a:pt x="669546" y="152860"/>
                  </a:lnTo>
                  <a:cubicBezTo>
                    <a:pt x="674909" y="158224"/>
                    <a:pt x="682061" y="160906"/>
                    <a:pt x="688318" y="160906"/>
                  </a:cubicBezTo>
                  <a:cubicBezTo>
                    <a:pt x="694576" y="160906"/>
                    <a:pt x="701727" y="158224"/>
                    <a:pt x="707091" y="152860"/>
                  </a:cubicBezTo>
                  <a:cubicBezTo>
                    <a:pt x="717818" y="142133"/>
                    <a:pt x="717818" y="126043"/>
                    <a:pt x="707091" y="115316"/>
                  </a:cubicBezTo>
                  <a:close/>
                </a:path>
              </a:pathLst>
            </a:custGeom>
            <a:solidFill>
              <a:schemeClr val="bg1">
                <a:lumMod val="95000"/>
              </a:schemeClr>
            </a:solidFill>
            <a:ln w="8930" cap="flat">
              <a:noFill/>
              <a:prstDash val="solid"/>
              <a:miter/>
            </a:ln>
          </p:spPr>
          <p:txBody>
            <a:bodyPr rtlCol="0" anchor="ctr"/>
            <a:lstStyle/>
            <a:p>
              <a:pPr defTabSz="1219170"/>
              <a:endParaRPr lang="en-US" sz="1400">
                <a:solidFill>
                  <a:srgbClr val="102B62"/>
                </a:solidFill>
                <a:latin typeface="Arial"/>
              </a:endParaRPr>
            </a:p>
          </p:txBody>
        </p:sp>
      </p:grpSp>
      <p:sp>
        <p:nvSpPr>
          <p:cNvPr id="148" name="TextBox 147">
            <a:extLst>
              <a:ext uri="{FF2B5EF4-FFF2-40B4-BE49-F238E27FC236}">
                <a16:creationId xmlns:a16="http://schemas.microsoft.com/office/drawing/2014/main" id="{26A34B8B-2FF4-4891-8B4A-66DECD3526DA}"/>
              </a:ext>
            </a:extLst>
          </p:cNvPr>
          <p:cNvSpPr txBox="1"/>
          <p:nvPr/>
        </p:nvSpPr>
        <p:spPr>
          <a:xfrm>
            <a:off x="1070793" y="5386239"/>
            <a:ext cx="2528348" cy="954107"/>
          </a:xfrm>
          <a:prstGeom prst="rect">
            <a:avLst/>
          </a:prstGeom>
          <a:noFill/>
        </p:spPr>
        <p:txBody>
          <a:bodyPr wrap="square" rtlCol="0">
            <a:spAutoFit/>
          </a:bodyPr>
          <a:lstStyle/>
          <a:p>
            <a:pPr defTabSz="1219170">
              <a:defRPr/>
            </a:pPr>
            <a:r>
              <a:rPr lang="en-US" sz="1400" b="1" dirty="0">
                <a:solidFill>
                  <a:srgbClr val="102B62"/>
                </a:solidFill>
                <a:latin typeface="Arial"/>
              </a:rPr>
              <a:t>Parallel Activities</a:t>
            </a:r>
          </a:p>
          <a:p>
            <a:pPr marL="152396" indent="-152396" defTabSz="1219170">
              <a:buFont typeface="Arial" panose="020B0604020202020204" pitchFamily="34" charset="0"/>
              <a:buChar char="•"/>
              <a:defRPr/>
            </a:pPr>
            <a:r>
              <a:rPr lang="en-US" sz="1400" dirty="0">
                <a:solidFill>
                  <a:srgbClr val="000000"/>
                </a:solidFill>
                <a:latin typeface="Arial"/>
              </a:rPr>
              <a:t>Overlapping clinical trials</a:t>
            </a:r>
          </a:p>
          <a:p>
            <a:pPr marL="152396" indent="-152396" defTabSz="1219170">
              <a:buFont typeface="Arial" panose="020B0604020202020204" pitchFamily="34" charset="0"/>
              <a:buChar char="•"/>
              <a:defRPr/>
            </a:pPr>
            <a:r>
              <a:rPr lang="en-US" sz="1400" dirty="0">
                <a:solidFill>
                  <a:srgbClr val="000000"/>
                </a:solidFill>
                <a:latin typeface="Arial"/>
              </a:rPr>
              <a:t>Scale up in parallel with clinical development</a:t>
            </a:r>
          </a:p>
        </p:txBody>
      </p:sp>
      <p:grpSp>
        <p:nvGrpSpPr>
          <p:cNvPr id="338" name="Group 337">
            <a:extLst>
              <a:ext uri="{FF2B5EF4-FFF2-40B4-BE49-F238E27FC236}">
                <a16:creationId xmlns:a16="http://schemas.microsoft.com/office/drawing/2014/main" id="{4BE75A73-9B11-432C-B8C8-78297BBE1228}"/>
              </a:ext>
            </a:extLst>
          </p:cNvPr>
          <p:cNvGrpSpPr/>
          <p:nvPr/>
        </p:nvGrpSpPr>
        <p:grpSpPr>
          <a:xfrm>
            <a:off x="456099" y="5386239"/>
            <a:ext cx="613916" cy="613916"/>
            <a:chOff x="609600" y="1363287"/>
            <a:chExt cx="460437" cy="460437"/>
          </a:xfrm>
        </p:grpSpPr>
        <p:sp>
          <p:nvSpPr>
            <p:cNvPr id="339" name="Oval 338">
              <a:extLst>
                <a:ext uri="{FF2B5EF4-FFF2-40B4-BE49-F238E27FC236}">
                  <a16:creationId xmlns:a16="http://schemas.microsoft.com/office/drawing/2014/main" id="{8CF7C709-30F9-4D75-B7C8-1C1CBB16C2D8}"/>
                </a:ext>
              </a:extLst>
            </p:cNvPr>
            <p:cNvSpPr/>
            <p:nvPr/>
          </p:nvSpPr>
          <p:spPr>
            <a:xfrm>
              <a:off x="609600" y="1363287"/>
              <a:ext cx="460437" cy="460437"/>
            </a:xfrm>
            <a:prstGeom prst="ellipse">
              <a:avLst/>
            </a:prstGeom>
            <a:ln>
              <a:noFill/>
            </a:ln>
            <a:effectLst/>
          </p:spPr>
          <p:style>
            <a:lnRef idx="1">
              <a:schemeClr val="dk1"/>
            </a:lnRef>
            <a:fillRef idx="3">
              <a:schemeClr val="dk1"/>
            </a:fillRef>
            <a:effectRef idx="2">
              <a:schemeClr val="dk1"/>
            </a:effectRef>
            <a:fontRef idx="minor">
              <a:schemeClr val="lt1"/>
            </a:fontRef>
          </p:style>
          <p:txBody>
            <a:bodyPr rtlCol="0" anchor="ctr"/>
            <a:lstStyle/>
            <a:p>
              <a:pPr algn="ctr" defTabSz="1219170"/>
              <a:endParaRPr lang="en-US" sz="1400" dirty="0">
                <a:solidFill>
                  <a:prstClr val="white"/>
                </a:solidFill>
                <a:latin typeface="Arial"/>
              </a:endParaRPr>
            </a:p>
          </p:txBody>
        </p:sp>
        <p:sp>
          <p:nvSpPr>
            <p:cNvPr id="340" name="Graphic 109" descr="Needle">
              <a:extLst>
                <a:ext uri="{FF2B5EF4-FFF2-40B4-BE49-F238E27FC236}">
                  <a16:creationId xmlns:a16="http://schemas.microsoft.com/office/drawing/2014/main" id="{5805888A-14F4-43B5-822F-E2CACD16F81A}"/>
                </a:ext>
              </a:extLst>
            </p:cNvPr>
            <p:cNvSpPr/>
            <p:nvPr/>
          </p:nvSpPr>
          <p:spPr>
            <a:xfrm rot="11700000">
              <a:off x="696294" y="1452822"/>
              <a:ext cx="281364" cy="281364"/>
            </a:xfrm>
            <a:custGeom>
              <a:avLst/>
              <a:gdLst>
                <a:gd name="connsiteX0" fmla="*/ 534564 w 715135"/>
                <a:gd name="connsiteY0" fmla="*/ 241358 h 715135"/>
                <a:gd name="connsiteX1" fmla="*/ 504171 w 715135"/>
                <a:gd name="connsiteY1" fmla="*/ 210965 h 715135"/>
                <a:gd name="connsiteX2" fmla="*/ 479141 w 715135"/>
                <a:gd name="connsiteY2" fmla="*/ 235995 h 715135"/>
                <a:gd name="connsiteX3" fmla="*/ 509534 w 715135"/>
                <a:gd name="connsiteY3" fmla="*/ 266388 h 715135"/>
                <a:gd name="connsiteX4" fmla="*/ 480929 w 715135"/>
                <a:gd name="connsiteY4" fmla="*/ 294994 h 715135"/>
                <a:gd name="connsiteX5" fmla="*/ 450536 w 715135"/>
                <a:gd name="connsiteY5" fmla="*/ 264600 h 715135"/>
                <a:gd name="connsiteX6" fmla="*/ 425506 w 715135"/>
                <a:gd name="connsiteY6" fmla="*/ 289630 h 715135"/>
                <a:gd name="connsiteX7" fmla="*/ 455899 w 715135"/>
                <a:gd name="connsiteY7" fmla="*/ 320023 h 715135"/>
                <a:gd name="connsiteX8" fmla="*/ 427294 w 715135"/>
                <a:gd name="connsiteY8" fmla="*/ 348629 h 715135"/>
                <a:gd name="connsiteX9" fmla="*/ 396900 w 715135"/>
                <a:gd name="connsiteY9" fmla="*/ 318235 h 715135"/>
                <a:gd name="connsiteX10" fmla="*/ 371871 w 715135"/>
                <a:gd name="connsiteY10" fmla="*/ 343265 h 715135"/>
                <a:gd name="connsiteX11" fmla="*/ 402264 w 715135"/>
                <a:gd name="connsiteY11" fmla="*/ 373658 h 715135"/>
                <a:gd name="connsiteX12" fmla="*/ 374552 w 715135"/>
                <a:gd name="connsiteY12" fmla="*/ 401370 h 715135"/>
                <a:gd name="connsiteX13" fmla="*/ 313766 w 715135"/>
                <a:gd name="connsiteY13" fmla="*/ 340583 h 715135"/>
                <a:gd name="connsiteX14" fmla="*/ 500595 w 715135"/>
                <a:gd name="connsiteY14" fmla="*/ 153754 h 715135"/>
                <a:gd name="connsiteX15" fmla="*/ 561382 w 715135"/>
                <a:gd name="connsiteY15" fmla="*/ 214541 h 715135"/>
                <a:gd name="connsiteX16" fmla="*/ 534564 w 715135"/>
                <a:gd name="connsiteY16" fmla="*/ 241358 h 715135"/>
                <a:gd name="connsiteX17" fmla="*/ 707091 w 715135"/>
                <a:gd name="connsiteY17" fmla="*/ 115316 h 715135"/>
                <a:gd name="connsiteX18" fmla="*/ 599820 w 715135"/>
                <a:gd name="connsiteY18" fmla="*/ 8045 h 715135"/>
                <a:gd name="connsiteX19" fmla="*/ 562276 w 715135"/>
                <a:gd name="connsiteY19" fmla="*/ 8045 h 715135"/>
                <a:gd name="connsiteX20" fmla="*/ 562276 w 715135"/>
                <a:gd name="connsiteY20" fmla="*/ 45590 h 715135"/>
                <a:gd name="connsiteX21" fmla="*/ 584624 w 715135"/>
                <a:gd name="connsiteY21" fmla="*/ 67938 h 715135"/>
                <a:gd name="connsiteX22" fmla="*/ 537246 w 715135"/>
                <a:gd name="connsiteY22" fmla="*/ 115316 h 715135"/>
                <a:gd name="connsiteX23" fmla="*/ 500595 w 715135"/>
                <a:gd name="connsiteY23" fmla="*/ 78665 h 715135"/>
                <a:gd name="connsiteX24" fmla="*/ 483611 w 715135"/>
                <a:gd name="connsiteY24" fmla="*/ 61680 h 715135"/>
                <a:gd name="connsiteX25" fmla="*/ 446066 w 715135"/>
                <a:gd name="connsiteY25" fmla="*/ 61680 h 715135"/>
                <a:gd name="connsiteX26" fmla="*/ 446066 w 715135"/>
                <a:gd name="connsiteY26" fmla="*/ 99225 h 715135"/>
                <a:gd name="connsiteX27" fmla="*/ 463050 w 715135"/>
                <a:gd name="connsiteY27" fmla="*/ 116210 h 715135"/>
                <a:gd name="connsiteX28" fmla="*/ 227056 w 715135"/>
                <a:gd name="connsiteY28" fmla="*/ 352204 h 715135"/>
                <a:gd name="connsiteX29" fmla="*/ 198450 w 715135"/>
                <a:gd name="connsiteY29" fmla="*/ 420142 h 715135"/>
                <a:gd name="connsiteX30" fmla="*/ 202920 w 715135"/>
                <a:gd name="connsiteY30" fmla="*/ 449642 h 715135"/>
                <a:gd name="connsiteX31" fmla="*/ 156436 w 715135"/>
                <a:gd name="connsiteY31" fmla="*/ 496126 h 715135"/>
                <a:gd name="connsiteX32" fmla="*/ 146603 w 715135"/>
                <a:gd name="connsiteY32" fmla="*/ 543503 h 715135"/>
                <a:gd name="connsiteX33" fmla="*/ 5364 w 715135"/>
                <a:gd name="connsiteY33" fmla="*/ 684743 h 715135"/>
                <a:gd name="connsiteX34" fmla="*/ 5364 w 715135"/>
                <a:gd name="connsiteY34" fmla="*/ 709772 h 715135"/>
                <a:gd name="connsiteX35" fmla="*/ 17878 w 715135"/>
                <a:gd name="connsiteY35" fmla="*/ 715136 h 715135"/>
                <a:gd name="connsiteX36" fmla="*/ 30393 w 715135"/>
                <a:gd name="connsiteY36" fmla="*/ 709772 h 715135"/>
                <a:gd name="connsiteX37" fmla="*/ 171633 w 715135"/>
                <a:gd name="connsiteY37" fmla="*/ 568533 h 715135"/>
                <a:gd name="connsiteX38" fmla="*/ 219010 w 715135"/>
                <a:gd name="connsiteY38" fmla="*/ 558700 h 715135"/>
                <a:gd name="connsiteX39" fmla="*/ 265494 w 715135"/>
                <a:gd name="connsiteY39" fmla="*/ 512216 h 715135"/>
                <a:gd name="connsiteX40" fmla="*/ 294994 w 715135"/>
                <a:gd name="connsiteY40" fmla="*/ 516686 h 715135"/>
                <a:gd name="connsiteX41" fmla="*/ 362931 w 715135"/>
                <a:gd name="connsiteY41" fmla="*/ 488080 h 715135"/>
                <a:gd name="connsiteX42" fmla="*/ 598926 w 715135"/>
                <a:gd name="connsiteY42" fmla="*/ 252085 h 715135"/>
                <a:gd name="connsiteX43" fmla="*/ 615911 w 715135"/>
                <a:gd name="connsiteY43" fmla="*/ 269070 h 715135"/>
                <a:gd name="connsiteX44" fmla="*/ 634683 w 715135"/>
                <a:gd name="connsiteY44" fmla="*/ 277115 h 715135"/>
                <a:gd name="connsiteX45" fmla="*/ 653455 w 715135"/>
                <a:gd name="connsiteY45" fmla="*/ 269070 h 715135"/>
                <a:gd name="connsiteX46" fmla="*/ 653455 w 715135"/>
                <a:gd name="connsiteY46" fmla="*/ 231525 h 715135"/>
                <a:gd name="connsiteX47" fmla="*/ 636471 w 715135"/>
                <a:gd name="connsiteY47" fmla="*/ 214541 h 715135"/>
                <a:gd name="connsiteX48" fmla="*/ 599820 w 715135"/>
                <a:gd name="connsiteY48" fmla="*/ 177890 h 715135"/>
                <a:gd name="connsiteX49" fmla="*/ 647198 w 715135"/>
                <a:gd name="connsiteY49" fmla="*/ 130512 h 715135"/>
                <a:gd name="connsiteX50" fmla="*/ 669546 w 715135"/>
                <a:gd name="connsiteY50" fmla="*/ 152860 h 715135"/>
                <a:gd name="connsiteX51" fmla="*/ 688318 w 715135"/>
                <a:gd name="connsiteY51" fmla="*/ 160906 h 715135"/>
                <a:gd name="connsiteX52" fmla="*/ 707091 w 715135"/>
                <a:gd name="connsiteY52" fmla="*/ 152860 h 715135"/>
                <a:gd name="connsiteX53" fmla="*/ 707091 w 715135"/>
                <a:gd name="connsiteY53" fmla="*/ 115316 h 715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715135" h="715135">
                  <a:moveTo>
                    <a:pt x="534564" y="241358"/>
                  </a:moveTo>
                  <a:lnTo>
                    <a:pt x="504171" y="210965"/>
                  </a:lnTo>
                  <a:lnTo>
                    <a:pt x="479141" y="235995"/>
                  </a:lnTo>
                  <a:lnTo>
                    <a:pt x="509534" y="266388"/>
                  </a:lnTo>
                  <a:lnTo>
                    <a:pt x="480929" y="294994"/>
                  </a:lnTo>
                  <a:lnTo>
                    <a:pt x="450536" y="264600"/>
                  </a:lnTo>
                  <a:lnTo>
                    <a:pt x="425506" y="289630"/>
                  </a:lnTo>
                  <a:lnTo>
                    <a:pt x="455899" y="320023"/>
                  </a:lnTo>
                  <a:lnTo>
                    <a:pt x="427294" y="348629"/>
                  </a:lnTo>
                  <a:lnTo>
                    <a:pt x="396900" y="318235"/>
                  </a:lnTo>
                  <a:lnTo>
                    <a:pt x="371871" y="343265"/>
                  </a:lnTo>
                  <a:lnTo>
                    <a:pt x="402264" y="373658"/>
                  </a:lnTo>
                  <a:lnTo>
                    <a:pt x="374552" y="401370"/>
                  </a:lnTo>
                  <a:lnTo>
                    <a:pt x="313766" y="340583"/>
                  </a:lnTo>
                  <a:lnTo>
                    <a:pt x="500595" y="153754"/>
                  </a:lnTo>
                  <a:lnTo>
                    <a:pt x="561382" y="214541"/>
                  </a:lnTo>
                  <a:lnTo>
                    <a:pt x="534564" y="241358"/>
                  </a:lnTo>
                  <a:close/>
                  <a:moveTo>
                    <a:pt x="707091" y="115316"/>
                  </a:moveTo>
                  <a:lnTo>
                    <a:pt x="599820" y="8045"/>
                  </a:lnTo>
                  <a:cubicBezTo>
                    <a:pt x="589093" y="-2682"/>
                    <a:pt x="572109" y="-2682"/>
                    <a:pt x="562276" y="8045"/>
                  </a:cubicBezTo>
                  <a:cubicBezTo>
                    <a:pt x="551549" y="18772"/>
                    <a:pt x="551549" y="35757"/>
                    <a:pt x="562276" y="45590"/>
                  </a:cubicBezTo>
                  <a:lnTo>
                    <a:pt x="584624" y="67938"/>
                  </a:lnTo>
                  <a:lnTo>
                    <a:pt x="537246" y="115316"/>
                  </a:lnTo>
                  <a:lnTo>
                    <a:pt x="500595" y="78665"/>
                  </a:lnTo>
                  <a:lnTo>
                    <a:pt x="483611" y="61680"/>
                  </a:lnTo>
                  <a:cubicBezTo>
                    <a:pt x="472884" y="50953"/>
                    <a:pt x="455899" y="50953"/>
                    <a:pt x="446066" y="61680"/>
                  </a:cubicBezTo>
                  <a:cubicBezTo>
                    <a:pt x="435339" y="72408"/>
                    <a:pt x="435339" y="89392"/>
                    <a:pt x="446066" y="99225"/>
                  </a:cubicBezTo>
                  <a:lnTo>
                    <a:pt x="463050" y="116210"/>
                  </a:lnTo>
                  <a:lnTo>
                    <a:pt x="227056" y="352204"/>
                  </a:lnTo>
                  <a:cubicBezTo>
                    <a:pt x="209177" y="370083"/>
                    <a:pt x="198450" y="394219"/>
                    <a:pt x="198450" y="420142"/>
                  </a:cubicBezTo>
                  <a:cubicBezTo>
                    <a:pt x="198450" y="429975"/>
                    <a:pt x="200238" y="439809"/>
                    <a:pt x="202920" y="449642"/>
                  </a:cubicBezTo>
                  <a:lnTo>
                    <a:pt x="156436" y="496126"/>
                  </a:lnTo>
                  <a:cubicBezTo>
                    <a:pt x="143921" y="508640"/>
                    <a:pt x="140345" y="527413"/>
                    <a:pt x="146603" y="543503"/>
                  </a:cubicBezTo>
                  <a:lnTo>
                    <a:pt x="5364" y="684743"/>
                  </a:lnTo>
                  <a:cubicBezTo>
                    <a:pt x="-1788" y="691894"/>
                    <a:pt x="-1788" y="702621"/>
                    <a:pt x="5364" y="709772"/>
                  </a:cubicBezTo>
                  <a:cubicBezTo>
                    <a:pt x="8939" y="713348"/>
                    <a:pt x="13409" y="715136"/>
                    <a:pt x="17878" y="715136"/>
                  </a:cubicBezTo>
                  <a:cubicBezTo>
                    <a:pt x="22348" y="715136"/>
                    <a:pt x="26818" y="713348"/>
                    <a:pt x="30393" y="709772"/>
                  </a:cubicBezTo>
                  <a:lnTo>
                    <a:pt x="171633" y="568533"/>
                  </a:lnTo>
                  <a:cubicBezTo>
                    <a:pt x="187723" y="574790"/>
                    <a:pt x="206495" y="571215"/>
                    <a:pt x="219010" y="558700"/>
                  </a:cubicBezTo>
                  <a:lnTo>
                    <a:pt x="265494" y="512216"/>
                  </a:lnTo>
                  <a:cubicBezTo>
                    <a:pt x="275327" y="514898"/>
                    <a:pt x="285160" y="516686"/>
                    <a:pt x="294994" y="516686"/>
                  </a:cubicBezTo>
                  <a:cubicBezTo>
                    <a:pt x="320023" y="516686"/>
                    <a:pt x="344159" y="507746"/>
                    <a:pt x="362931" y="488080"/>
                  </a:cubicBezTo>
                  <a:lnTo>
                    <a:pt x="598926" y="252085"/>
                  </a:lnTo>
                  <a:lnTo>
                    <a:pt x="615911" y="269070"/>
                  </a:lnTo>
                  <a:cubicBezTo>
                    <a:pt x="621274" y="274433"/>
                    <a:pt x="628426" y="277115"/>
                    <a:pt x="634683" y="277115"/>
                  </a:cubicBezTo>
                  <a:cubicBezTo>
                    <a:pt x="640940" y="277115"/>
                    <a:pt x="648092" y="274433"/>
                    <a:pt x="653455" y="269070"/>
                  </a:cubicBezTo>
                  <a:cubicBezTo>
                    <a:pt x="664182" y="258343"/>
                    <a:pt x="664182" y="241358"/>
                    <a:pt x="653455" y="231525"/>
                  </a:cubicBezTo>
                  <a:lnTo>
                    <a:pt x="636471" y="214541"/>
                  </a:lnTo>
                  <a:lnTo>
                    <a:pt x="599820" y="177890"/>
                  </a:lnTo>
                  <a:lnTo>
                    <a:pt x="647198" y="130512"/>
                  </a:lnTo>
                  <a:lnTo>
                    <a:pt x="669546" y="152860"/>
                  </a:lnTo>
                  <a:cubicBezTo>
                    <a:pt x="674909" y="158224"/>
                    <a:pt x="682061" y="160906"/>
                    <a:pt x="688318" y="160906"/>
                  </a:cubicBezTo>
                  <a:cubicBezTo>
                    <a:pt x="694576" y="160906"/>
                    <a:pt x="701727" y="158224"/>
                    <a:pt x="707091" y="152860"/>
                  </a:cubicBezTo>
                  <a:cubicBezTo>
                    <a:pt x="717818" y="142133"/>
                    <a:pt x="717818" y="126043"/>
                    <a:pt x="707091" y="115316"/>
                  </a:cubicBezTo>
                  <a:close/>
                </a:path>
              </a:pathLst>
            </a:custGeom>
            <a:solidFill>
              <a:schemeClr val="bg1">
                <a:lumMod val="95000"/>
              </a:schemeClr>
            </a:solidFill>
            <a:ln w="8930" cap="flat">
              <a:noFill/>
              <a:prstDash val="solid"/>
              <a:miter/>
            </a:ln>
          </p:spPr>
          <p:txBody>
            <a:bodyPr rtlCol="0" anchor="ctr"/>
            <a:lstStyle/>
            <a:p>
              <a:pPr defTabSz="1219170"/>
              <a:endParaRPr lang="en-US" sz="1400">
                <a:solidFill>
                  <a:srgbClr val="102B62"/>
                </a:solidFill>
                <a:latin typeface="Arial"/>
              </a:endParaRPr>
            </a:p>
          </p:txBody>
        </p:sp>
      </p:grpSp>
      <p:grpSp>
        <p:nvGrpSpPr>
          <p:cNvPr id="40" name="Group 39">
            <a:extLst>
              <a:ext uri="{FF2B5EF4-FFF2-40B4-BE49-F238E27FC236}">
                <a16:creationId xmlns:a16="http://schemas.microsoft.com/office/drawing/2014/main" id="{6099C680-497E-494F-9ECA-A6B01649B7AF}"/>
              </a:ext>
            </a:extLst>
          </p:cNvPr>
          <p:cNvGrpSpPr/>
          <p:nvPr/>
        </p:nvGrpSpPr>
        <p:grpSpPr>
          <a:xfrm>
            <a:off x="4537338" y="1462503"/>
            <a:ext cx="2617029" cy="991257"/>
            <a:chOff x="3308027" y="655348"/>
            <a:chExt cx="1962772" cy="743443"/>
          </a:xfrm>
        </p:grpSpPr>
        <p:pic>
          <p:nvPicPr>
            <p:cNvPr id="162" name="Picture 161">
              <a:extLst>
                <a:ext uri="{FF2B5EF4-FFF2-40B4-BE49-F238E27FC236}">
                  <a16:creationId xmlns:a16="http://schemas.microsoft.com/office/drawing/2014/main" id="{FF907679-DEDF-447D-B734-AC90AFB63A4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08027" y="655348"/>
              <a:ext cx="1962772" cy="743443"/>
            </a:xfrm>
            <a:prstGeom prst="rect">
              <a:avLst/>
            </a:prstGeom>
          </p:spPr>
        </p:pic>
        <p:sp>
          <p:nvSpPr>
            <p:cNvPr id="163" name="Rectangle 162">
              <a:extLst>
                <a:ext uri="{FF2B5EF4-FFF2-40B4-BE49-F238E27FC236}">
                  <a16:creationId xmlns:a16="http://schemas.microsoft.com/office/drawing/2014/main" id="{B53DF6DB-E740-4275-BCC6-5200B8B44F30}"/>
                </a:ext>
              </a:extLst>
            </p:cNvPr>
            <p:cNvSpPr/>
            <p:nvPr/>
          </p:nvSpPr>
          <p:spPr>
            <a:xfrm>
              <a:off x="3836846" y="769107"/>
              <a:ext cx="903409" cy="376930"/>
            </a:xfrm>
            <a:prstGeom prst="rect">
              <a:avLst/>
            </a:prstGeom>
          </p:spPr>
          <p:txBody>
            <a:bodyPr wrap="square">
              <a:spAutoFit/>
            </a:bodyPr>
            <a:lstStyle/>
            <a:p>
              <a:pPr algn="ctr" defTabSz="1219170"/>
              <a:r>
                <a:rPr lang="en-US" sz="1333" b="1" dirty="0">
                  <a:solidFill>
                    <a:srgbClr val="680000"/>
                  </a:solidFill>
                  <a:latin typeface="Arial"/>
                </a:rPr>
                <a:t>Mitigate Risk</a:t>
              </a:r>
            </a:p>
          </p:txBody>
        </p:sp>
      </p:grpSp>
      <p:sp>
        <p:nvSpPr>
          <p:cNvPr id="164" name="TextBox 163">
            <a:extLst>
              <a:ext uri="{FF2B5EF4-FFF2-40B4-BE49-F238E27FC236}">
                <a16:creationId xmlns:a16="http://schemas.microsoft.com/office/drawing/2014/main" id="{8983F11F-2E41-4B01-B8C3-DED3EC6DA854}"/>
              </a:ext>
            </a:extLst>
          </p:cNvPr>
          <p:cNvSpPr txBox="1"/>
          <p:nvPr/>
        </p:nvSpPr>
        <p:spPr>
          <a:xfrm>
            <a:off x="4841485" y="2406422"/>
            <a:ext cx="2876908" cy="738664"/>
          </a:xfrm>
          <a:prstGeom prst="rect">
            <a:avLst/>
          </a:prstGeom>
          <a:noFill/>
        </p:spPr>
        <p:txBody>
          <a:bodyPr wrap="square" rtlCol="0">
            <a:spAutoFit/>
          </a:bodyPr>
          <a:lstStyle/>
          <a:p>
            <a:pPr defTabSz="1219170">
              <a:defRPr/>
            </a:pPr>
            <a:r>
              <a:rPr lang="en-US" sz="1400" b="1" dirty="0">
                <a:solidFill>
                  <a:srgbClr val="680000"/>
                </a:solidFill>
                <a:latin typeface="Arial"/>
              </a:rPr>
              <a:t>Multiple Platforms</a:t>
            </a:r>
          </a:p>
          <a:p>
            <a:pPr marL="152396" indent="-152396" defTabSz="1219170">
              <a:buFont typeface="Arial" panose="020B0604020202020204" pitchFamily="34" charset="0"/>
              <a:buChar char="•"/>
              <a:defRPr/>
            </a:pPr>
            <a:r>
              <a:rPr lang="en-US" sz="1400" dirty="0">
                <a:solidFill>
                  <a:srgbClr val="000000"/>
                </a:solidFill>
                <a:latin typeface="Arial"/>
              </a:rPr>
              <a:t>Address potential yield risks</a:t>
            </a:r>
          </a:p>
          <a:p>
            <a:pPr marL="152396" indent="-152396" defTabSz="1219170">
              <a:buFont typeface="Arial" panose="020B0604020202020204" pitchFamily="34" charset="0"/>
              <a:buChar char="•"/>
              <a:defRPr/>
            </a:pPr>
            <a:r>
              <a:rPr lang="en-US" sz="1400" dirty="0">
                <a:solidFill>
                  <a:srgbClr val="000000"/>
                </a:solidFill>
                <a:latin typeface="Arial"/>
              </a:rPr>
              <a:t>Address potential dose risk</a:t>
            </a:r>
          </a:p>
        </p:txBody>
      </p:sp>
      <p:grpSp>
        <p:nvGrpSpPr>
          <p:cNvPr id="18" name="Group 17">
            <a:extLst>
              <a:ext uri="{FF2B5EF4-FFF2-40B4-BE49-F238E27FC236}">
                <a16:creationId xmlns:a16="http://schemas.microsoft.com/office/drawing/2014/main" id="{B2E4A107-5E5B-4D1C-A448-59B3747B7D7A}"/>
              </a:ext>
            </a:extLst>
          </p:cNvPr>
          <p:cNvGrpSpPr/>
          <p:nvPr/>
        </p:nvGrpSpPr>
        <p:grpSpPr>
          <a:xfrm>
            <a:off x="4219618" y="2406422"/>
            <a:ext cx="613916" cy="613916"/>
            <a:chOff x="3460069" y="1363287"/>
            <a:chExt cx="460437" cy="460437"/>
          </a:xfrm>
        </p:grpSpPr>
        <p:sp>
          <p:nvSpPr>
            <p:cNvPr id="166" name="Oval 165">
              <a:extLst>
                <a:ext uri="{FF2B5EF4-FFF2-40B4-BE49-F238E27FC236}">
                  <a16:creationId xmlns:a16="http://schemas.microsoft.com/office/drawing/2014/main" id="{B1939778-9242-4B96-B58F-FA317B6F2EFB}"/>
                </a:ext>
              </a:extLst>
            </p:cNvPr>
            <p:cNvSpPr/>
            <p:nvPr/>
          </p:nvSpPr>
          <p:spPr>
            <a:xfrm>
              <a:off x="3460069" y="1363287"/>
              <a:ext cx="460437" cy="460437"/>
            </a:xfrm>
            <a:prstGeom prst="ellipse">
              <a:avLst/>
            </a:prstGeom>
            <a:gradFill>
              <a:gsLst>
                <a:gs pos="0">
                  <a:srgbClr val="680000"/>
                </a:gs>
                <a:gs pos="100000">
                  <a:schemeClr val="accent4">
                    <a:lumMod val="50000"/>
                  </a:schemeClr>
                </a:gs>
              </a:gsLst>
            </a:gradFill>
            <a:ln>
              <a:noFill/>
            </a:ln>
            <a:effectLst/>
          </p:spPr>
          <p:style>
            <a:lnRef idx="1">
              <a:schemeClr val="dk1"/>
            </a:lnRef>
            <a:fillRef idx="3">
              <a:schemeClr val="dk1"/>
            </a:fillRef>
            <a:effectRef idx="2">
              <a:schemeClr val="dk1"/>
            </a:effectRef>
            <a:fontRef idx="minor">
              <a:schemeClr val="lt1"/>
            </a:fontRef>
          </p:style>
          <p:txBody>
            <a:bodyPr rtlCol="0" anchor="ctr"/>
            <a:lstStyle/>
            <a:p>
              <a:pPr algn="ctr" defTabSz="1219170"/>
              <a:endParaRPr lang="en-US" sz="1400" dirty="0">
                <a:solidFill>
                  <a:prstClr val="white"/>
                </a:solidFill>
                <a:latin typeface="Arial"/>
              </a:endParaRPr>
            </a:p>
          </p:txBody>
        </p:sp>
        <p:grpSp>
          <p:nvGrpSpPr>
            <p:cNvPr id="341" name="Graphic 46">
              <a:extLst>
                <a:ext uri="{FF2B5EF4-FFF2-40B4-BE49-F238E27FC236}">
                  <a16:creationId xmlns:a16="http://schemas.microsoft.com/office/drawing/2014/main" id="{6773246C-BE78-469E-AB6F-6AD3F0C3CD7D}"/>
                </a:ext>
              </a:extLst>
            </p:cNvPr>
            <p:cNvGrpSpPr>
              <a:grpSpLocks noChangeAspect="1"/>
            </p:cNvGrpSpPr>
            <p:nvPr/>
          </p:nvGrpSpPr>
          <p:grpSpPr>
            <a:xfrm>
              <a:off x="3557751" y="1468226"/>
              <a:ext cx="264795" cy="245193"/>
              <a:chOff x="3742861" y="1805208"/>
              <a:chExt cx="1659715" cy="1536841"/>
            </a:xfrm>
            <a:solidFill>
              <a:srgbClr val="FFFFFF"/>
            </a:solidFill>
          </p:grpSpPr>
          <p:sp>
            <p:nvSpPr>
              <p:cNvPr id="342" name="Freeform: Shape 341">
                <a:extLst>
                  <a:ext uri="{FF2B5EF4-FFF2-40B4-BE49-F238E27FC236}">
                    <a16:creationId xmlns:a16="http://schemas.microsoft.com/office/drawing/2014/main" id="{C8CEBECB-3511-4183-A475-82A0948B6B6D}"/>
                  </a:ext>
                </a:extLst>
              </p:cNvPr>
              <p:cNvSpPr/>
              <p:nvPr/>
            </p:nvSpPr>
            <p:spPr>
              <a:xfrm>
                <a:off x="3851822" y="2344718"/>
                <a:ext cx="1440357" cy="773142"/>
              </a:xfrm>
              <a:custGeom>
                <a:avLst/>
                <a:gdLst>
                  <a:gd name="connsiteX0" fmla="*/ 55333 w 1440357"/>
                  <a:gd name="connsiteY0" fmla="*/ 665181 h 773142"/>
                  <a:gd name="connsiteX1" fmla="*/ 88 w 1440357"/>
                  <a:gd name="connsiteY1" fmla="*/ 732808 h 773142"/>
                  <a:gd name="connsiteX2" fmla="*/ 56285 w 1440357"/>
                  <a:gd name="connsiteY2" fmla="*/ 772813 h 773142"/>
                  <a:gd name="connsiteX3" fmla="*/ 719225 w 1440357"/>
                  <a:gd name="connsiteY3" fmla="*/ 772813 h 773142"/>
                  <a:gd name="connsiteX4" fmla="*/ 1386928 w 1440357"/>
                  <a:gd name="connsiteY4" fmla="*/ 772813 h 773142"/>
                  <a:gd name="connsiteX5" fmla="*/ 1440268 w 1440357"/>
                  <a:gd name="connsiteY5" fmla="*/ 734713 h 773142"/>
                  <a:gd name="connsiteX6" fmla="*/ 1386928 w 1440357"/>
                  <a:gd name="connsiteY6" fmla="*/ 665181 h 773142"/>
                  <a:gd name="connsiteX7" fmla="*/ 1325968 w 1440357"/>
                  <a:gd name="connsiteY7" fmla="*/ 598506 h 773142"/>
                  <a:gd name="connsiteX8" fmla="*/ 1327873 w 1440357"/>
                  <a:gd name="connsiteY8" fmla="*/ 49866 h 773142"/>
                  <a:gd name="connsiteX9" fmla="*/ 1279295 w 1440357"/>
                  <a:gd name="connsiteY9" fmla="*/ 1288 h 773142"/>
                  <a:gd name="connsiteX10" fmla="*/ 1170710 w 1440357"/>
                  <a:gd name="connsiteY10" fmla="*/ 1288 h 773142"/>
                  <a:gd name="connsiteX11" fmla="*/ 1108798 w 1440357"/>
                  <a:gd name="connsiteY11" fmla="*/ 64153 h 773142"/>
                  <a:gd name="connsiteX12" fmla="*/ 1107845 w 1440357"/>
                  <a:gd name="connsiteY12" fmla="*/ 612793 h 773142"/>
                  <a:gd name="connsiteX13" fmla="*/ 1090700 w 1440357"/>
                  <a:gd name="connsiteY13" fmla="*/ 659466 h 773142"/>
                  <a:gd name="connsiteX14" fmla="*/ 996403 w 1440357"/>
                  <a:gd name="connsiteY14" fmla="*/ 600411 h 773142"/>
                  <a:gd name="connsiteX15" fmla="*/ 997355 w 1440357"/>
                  <a:gd name="connsiteY15" fmla="*/ 47008 h 773142"/>
                  <a:gd name="connsiteX16" fmla="*/ 951635 w 1440357"/>
                  <a:gd name="connsiteY16" fmla="*/ 336 h 773142"/>
                  <a:gd name="connsiteX17" fmla="*/ 828763 w 1440357"/>
                  <a:gd name="connsiteY17" fmla="*/ 336 h 773142"/>
                  <a:gd name="connsiteX18" fmla="*/ 778280 w 1440357"/>
                  <a:gd name="connsiteY18" fmla="*/ 51771 h 773142"/>
                  <a:gd name="connsiteX19" fmla="*/ 780185 w 1440357"/>
                  <a:gd name="connsiteY19" fmla="*/ 609936 h 773142"/>
                  <a:gd name="connsiteX20" fmla="*/ 726845 w 1440357"/>
                  <a:gd name="connsiteY20" fmla="*/ 664228 h 773142"/>
                  <a:gd name="connsiteX21" fmla="*/ 666838 w 1440357"/>
                  <a:gd name="connsiteY21" fmla="*/ 603268 h 773142"/>
                  <a:gd name="connsiteX22" fmla="*/ 667790 w 1440357"/>
                  <a:gd name="connsiteY22" fmla="*/ 49866 h 773142"/>
                  <a:gd name="connsiteX23" fmla="*/ 619213 w 1440357"/>
                  <a:gd name="connsiteY23" fmla="*/ 1288 h 773142"/>
                  <a:gd name="connsiteX24" fmla="*/ 510628 w 1440357"/>
                  <a:gd name="connsiteY24" fmla="*/ 2241 h 773142"/>
                  <a:gd name="connsiteX25" fmla="*/ 448715 w 1440357"/>
                  <a:gd name="connsiteY25" fmla="*/ 65106 h 773142"/>
                  <a:gd name="connsiteX26" fmla="*/ 447763 w 1440357"/>
                  <a:gd name="connsiteY26" fmla="*/ 613746 h 773142"/>
                  <a:gd name="connsiteX27" fmla="*/ 430618 w 1440357"/>
                  <a:gd name="connsiteY27" fmla="*/ 660418 h 773142"/>
                  <a:gd name="connsiteX28" fmla="*/ 336320 w 1440357"/>
                  <a:gd name="connsiteY28" fmla="*/ 601363 h 773142"/>
                  <a:gd name="connsiteX29" fmla="*/ 337273 w 1440357"/>
                  <a:gd name="connsiteY29" fmla="*/ 47961 h 773142"/>
                  <a:gd name="connsiteX30" fmla="*/ 290600 w 1440357"/>
                  <a:gd name="connsiteY30" fmla="*/ 1288 h 773142"/>
                  <a:gd name="connsiteX31" fmla="*/ 167728 w 1440357"/>
                  <a:gd name="connsiteY31" fmla="*/ 1288 h 773142"/>
                  <a:gd name="connsiteX32" fmla="*/ 117245 w 1440357"/>
                  <a:gd name="connsiteY32" fmla="*/ 52723 h 773142"/>
                  <a:gd name="connsiteX33" fmla="*/ 119150 w 1440357"/>
                  <a:gd name="connsiteY33" fmla="*/ 601363 h 773142"/>
                  <a:gd name="connsiteX34" fmla="*/ 55333 w 1440357"/>
                  <a:gd name="connsiteY34" fmla="*/ 665181 h 773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440357" h="773142">
                    <a:moveTo>
                      <a:pt x="55333" y="665181"/>
                    </a:moveTo>
                    <a:cubicBezTo>
                      <a:pt x="6755" y="660418"/>
                      <a:pt x="1040" y="693756"/>
                      <a:pt x="88" y="732808"/>
                    </a:cubicBezTo>
                    <a:cubicBezTo>
                      <a:pt x="-1817" y="779481"/>
                      <a:pt x="27710" y="772813"/>
                      <a:pt x="56285" y="772813"/>
                    </a:cubicBezTo>
                    <a:cubicBezTo>
                      <a:pt x="277265" y="772813"/>
                      <a:pt x="498245" y="772813"/>
                      <a:pt x="719225" y="772813"/>
                    </a:cubicBezTo>
                    <a:cubicBezTo>
                      <a:pt x="942110" y="772813"/>
                      <a:pt x="1164043" y="772813"/>
                      <a:pt x="1386928" y="772813"/>
                    </a:cubicBezTo>
                    <a:cubicBezTo>
                      <a:pt x="1413598" y="772813"/>
                      <a:pt x="1442173" y="778528"/>
                      <a:pt x="1440268" y="734713"/>
                    </a:cubicBezTo>
                    <a:cubicBezTo>
                      <a:pt x="1438363" y="696613"/>
                      <a:pt x="1436458" y="660418"/>
                      <a:pt x="1386928" y="665181"/>
                    </a:cubicBezTo>
                    <a:cubicBezTo>
                      <a:pt x="1332635" y="669943"/>
                      <a:pt x="1325968" y="644226"/>
                      <a:pt x="1325968" y="598506"/>
                    </a:cubicBezTo>
                    <a:cubicBezTo>
                      <a:pt x="1327873" y="415626"/>
                      <a:pt x="1325968" y="232746"/>
                      <a:pt x="1327873" y="49866"/>
                    </a:cubicBezTo>
                    <a:cubicBezTo>
                      <a:pt x="1327873" y="12718"/>
                      <a:pt x="1316443" y="-1569"/>
                      <a:pt x="1279295" y="1288"/>
                    </a:cubicBezTo>
                    <a:cubicBezTo>
                      <a:pt x="1243100" y="3193"/>
                      <a:pt x="1206905" y="1288"/>
                      <a:pt x="1170710" y="1288"/>
                    </a:cubicBezTo>
                    <a:cubicBezTo>
                      <a:pt x="1108798" y="1288"/>
                      <a:pt x="1108798" y="1288"/>
                      <a:pt x="1108798" y="64153"/>
                    </a:cubicBezTo>
                    <a:cubicBezTo>
                      <a:pt x="1108798" y="247033"/>
                      <a:pt x="1108798" y="429913"/>
                      <a:pt x="1107845" y="612793"/>
                    </a:cubicBezTo>
                    <a:cubicBezTo>
                      <a:pt x="1107845" y="628986"/>
                      <a:pt x="1101178" y="654703"/>
                      <a:pt x="1090700" y="659466"/>
                    </a:cubicBezTo>
                    <a:cubicBezTo>
                      <a:pt x="1036408" y="685183"/>
                      <a:pt x="996403" y="658513"/>
                      <a:pt x="996403" y="600411"/>
                    </a:cubicBezTo>
                    <a:cubicBezTo>
                      <a:pt x="996403" y="415626"/>
                      <a:pt x="995450" y="230841"/>
                      <a:pt x="997355" y="47008"/>
                    </a:cubicBezTo>
                    <a:cubicBezTo>
                      <a:pt x="997355" y="11766"/>
                      <a:pt x="986878" y="-1569"/>
                      <a:pt x="951635" y="336"/>
                    </a:cubicBezTo>
                    <a:cubicBezTo>
                      <a:pt x="910678" y="2241"/>
                      <a:pt x="869720" y="3193"/>
                      <a:pt x="828763" y="336"/>
                    </a:cubicBezTo>
                    <a:cubicBezTo>
                      <a:pt x="788758" y="-2522"/>
                      <a:pt x="777328" y="12718"/>
                      <a:pt x="778280" y="51771"/>
                    </a:cubicBezTo>
                    <a:cubicBezTo>
                      <a:pt x="780185" y="237508"/>
                      <a:pt x="778280" y="424198"/>
                      <a:pt x="780185" y="609936"/>
                    </a:cubicBezTo>
                    <a:cubicBezTo>
                      <a:pt x="780185" y="651846"/>
                      <a:pt x="767803" y="666133"/>
                      <a:pt x="726845" y="664228"/>
                    </a:cubicBezTo>
                    <a:cubicBezTo>
                      <a:pt x="667790" y="661371"/>
                      <a:pt x="666838" y="663276"/>
                      <a:pt x="666838" y="603268"/>
                    </a:cubicBezTo>
                    <a:cubicBezTo>
                      <a:pt x="666838" y="418483"/>
                      <a:pt x="665885" y="233698"/>
                      <a:pt x="667790" y="49866"/>
                    </a:cubicBezTo>
                    <a:cubicBezTo>
                      <a:pt x="667790" y="12718"/>
                      <a:pt x="656360" y="-1569"/>
                      <a:pt x="619213" y="1288"/>
                    </a:cubicBezTo>
                    <a:cubicBezTo>
                      <a:pt x="583018" y="3193"/>
                      <a:pt x="546823" y="1288"/>
                      <a:pt x="510628" y="2241"/>
                    </a:cubicBezTo>
                    <a:cubicBezTo>
                      <a:pt x="448715" y="2241"/>
                      <a:pt x="448715" y="2241"/>
                      <a:pt x="448715" y="65106"/>
                    </a:cubicBezTo>
                    <a:cubicBezTo>
                      <a:pt x="448715" y="247986"/>
                      <a:pt x="448715" y="430866"/>
                      <a:pt x="447763" y="613746"/>
                    </a:cubicBezTo>
                    <a:cubicBezTo>
                      <a:pt x="447763" y="629938"/>
                      <a:pt x="441095" y="655656"/>
                      <a:pt x="430618" y="660418"/>
                    </a:cubicBezTo>
                    <a:cubicBezTo>
                      <a:pt x="376325" y="686136"/>
                      <a:pt x="336320" y="659466"/>
                      <a:pt x="336320" y="601363"/>
                    </a:cubicBezTo>
                    <a:cubicBezTo>
                      <a:pt x="336320" y="416578"/>
                      <a:pt x="335368" y="231793"/>
                      <a:pt x="337273" y="47961"/>
                    </a:cubicBezTo>
                    <a:cubicBezTo>
                      <a:pt x="337273" y="12718"/>
                      <a:pt x="325843" y="-617"/>
                      <a:pt x="290600" y="1288"/>
                    </a:cubicBezTo>
                    <a:cubicBezTo>
                      <a:pt x="249643" y="3193"/>
                      <a:pt x="208685" y="4146"/>
                      <a:pt x="167728" y="1288"/>
                    </a:cubicBezTo>
                    <a:cubicBezTo>
                      <a:pt x="127723" y="-1569"/>
                      <a:pt x="116293" y="13671"/>
                      <a:pt x="117245" y="52723"/>
                    </a:cubicBezTo>
                    <a:cubicBezTo>
                      <a:pt x="119150" y="235603"/>
                      <a:pt x="116293" y="418483"/>
                      <a:pt x="119150" y="601363"/>
                    </a:cubicBezTo>
                    <a:cubicBezTo>
                      <a:pt x="114388" y="646131"/>
                      <a:pt x="106768" y="670896"/>
                      <a:pt x="55333" y="665181"/>
                    </a:cubicBezTo>
                    <a:close/>
                  </a:path>
                </a:pathLst>
              </a:custGeom>
              <a:solidFill>
                <a:srgbClr val="FFFFFF"/>
              </a:solidFill>
              <a:ln w="9525" cap="flat">
                <a:noFill/>
                <a:prstDash val="solid"/>
                <a:miter/>
              </a:ln>
            </p:spPr>
            <p:txBody>
              <a:bodyPr rtlCol="0" anchor="ctr"/>
              <a:lstStyle/>
              <a:p>
                <a:pPr defTabSz="1219170"/>
                <a:endParaRPr lang="en-US" sz="1400">
                  <a:solidFill>
                    <a:srgbClr val="102B62"/>
                  </a:solidFill>
                  <a:latin typeface="Arial"/>
                </a:endParaRPr>
              </a:p>
            </p:txBody>
          </p:sp>
          <p:sp>
            <p:nvSpPr>
              <p:cNvPr id="343" name="Freeform: Shape 342">
                <a:extLst>
                  <a:ext uri="{FF2B5EF4-FFF2-40B4-BE49-F238E27FC236}">
                    <a16:creationId xmlns:a16="http://schemas.microsoft.com/office/drawing/2014/main" id="{5787CE66-4C0B-4CEC-BADB-4F5116D8F0AF}"/>
                  </a:ext>
                </a:extLst>
              </p:cNvPr>
              <p:cNvSpPr/>
              <p:nvPr/>
            </p:nvSpPr>
            <p:spPr>
              <a:xfrm>
                <a:off x="4586287" y="2084069"/>
                <a:ext cx="30479" cy="60007"/>
              </a:xfrm>
              <a:custGeom>
                <a:avLst/>
                <a:gdLst>
                  <a:gd name="connsiteX0" fmla="*/ 30480 w 30479"/>
                  <a:gd name="connsiteY0" fmla="*/ 27623 h 60007"/>
                  <a:gd name="connsiteX1" fmla="*/ 23813 w 30479"/>
                  <a:gd name="connsiteY1" fmla="*/ 10478 h 60007"/>
                  <a:gd name="connsiteX2" fmla="*/ 5715 w 30479"/>
                  <a:gd name="connsiteY2" fmla="*/ 0 h 60007"/>
                  <a:gd name="connsiteX3" fmla="*/ 0 w 30479"/>
                  <a:gd name="connsiteY3" fmla="*/ 60007 h 60007"/>
                  <a:gd name="connsiteX4" fmla="*/ 30480 w 30479"/>
                  <a:gd name="connsiteY4" fmla="*/ 27623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60007">
                    <a:moveTo>
                      <a:pt x="30480" y="27623"/>
                    </a:moveTo>
                    <a:cubicBezTo>
                      <a:pt x="30480" y="20955"/>
                      <a:pt x="28575" y="15240"/>
                      <a:pt x="23813" y="10478"/>
                    </a:cubicBezTo>
                    <a:cubicBezTo>
                      <a:pt x="19050" y="6668"/>
                      <a:pt x="13335" y="2858"/>
                      <a:pt x="5715" y="0"/>
                    </a:cubicBezTo>
                    <a:lnTo>
                      <a:pt x="0" y="60007"/>
                    </a:lnTo>
                    <a:cubicBezTo>
                      <a:pt x="20002" y="57150"/>
                      <a:pt x="30480" y="45720"/>
                      <a:pt x="30480" y="27623"/>
                    </a:cubicBezTo>
                    <a:close/>
                  </a:path>
                </a:pathLst>
              </a:custGeom>
              <a:solidFill>
                <a:srgbClr val="FFFFFF"/>
              </a:solidFill>
              <a:ln w="9525" cap="flat">
                <a:noFill/>
                <a:prstDash val="solid"/>
                <a:miter/>
              </a:ln>
            </p:spPr>
            <p:txBody>
              <a:bodyPr rtlCol="0" anchor="ctr"/>
              <a:lstStyle/>
              <a:p>
                <a:pPr defTabSz="1219170"/>
                <a:endParaRPr lang="en-US" sz="1400">
                  <a:solidFill>
                    <a:srgbClr val="102B62"/>
                  </a:solidFill>
                  <a:latin typeface="Arial"/>
                </a:endParaRPr>
              </a:p>
            </p:txBody>
          </p:sp>
          <p:sp>
            <p:nvSpPr>
              <p:cNvPr id="344" name="Freeform: Shape 343">
                <a:extLst>
                  <a:ext uri="{FF2B5EF4-FFF2-40B4-BE49-F238E27FC236}">
                    <a16:creationId xmlns:a16="http://schemas.microsoft.com/office/drawing/2014/main" id="{0FBB5AFA-5C97-4EAA-B001-A1021AD85AC2}"/>
                  </a:ext>
                </a:extLst>
              </p:cNvPr>
              <p:cNvSpPr/>
              <p:nvPr/>
            </p:nvSpPr>
            <p:spPr>
              <a:xfrm>
                <a:off x="4538662" y="1966912"/>
                <a:ext cx="30479" cy="54292"/>
              </a:xfrm>
              <a:custGeom>
                <a:avLst/>
                <a:gdLst>
                  <a:gd name="connsiteX0" fmla="*/ 30480 w 30479"/>
                  <a:gd name="connsiteY0" fmla="*/ 0 h 54292"/>
                  <a:gd name="connsiteX1" fmla="*/ 16192 w 30479"/>
                  <a:gd name="connsiteY1" fmla="*/ 3810 h 54292"/>
                  <a:gd name="connsiteX2" fmla="*/ 6667 w 30479"/>
                  <a:gd name="connsiteY2" fmla="*/ 9525 h 54292"/>
                  <a:gd name="connsiteX3" fmla="*/ 1905 w 30479"/>
                  <a:gd name="connsiteY3" fmla="*/ 17145 h 54292"/>
                  <a:gd name="connsiteX4" fmla="*/ 0 w 30479"/>
                  <a:gd name="connsiteY4" fmla="*/ 25718 h 54292"/>
                  <a:gd name="connsiteX5" fmla="*/ 6667 w 30479"/>
                  <a:gd name="connsiteY5" fmla="*/ 42863 h 54292"/>
                  <a:gd name="connsiteX6" fmla="*/ 24765 w 30479"/>
                  <a:gd name="connsiteY6" fmla="*/ 54293 h 54292"/>
                  <a:gd name="connsiteX7" fmla="*/ 30480 w 30479"/>
                  <a:gd name="connsiteY7" fmla="*/ 0 h 54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79" h="54292">
                    <a:moveTo>
                      <a:pt x="30480" y="0"/>
                    </a:moveTo>
                    <a:cubicBezTo>
                      <a:pt x="24765" y="953"/>
                      <a:pt x="20002" y="1905"/>
                      <a:pt x="16192" y="3810"/>
                    </a:cubicBezTo>
                    <a:cubicBezTo>
                      <a:pt x="12383" y="5715"/>
                      <a:pt x="9525" y="7620"/>
                      <a:pt x="6667" y="9525"/>
                    </a:cubicBezTo>
                    <a:cubicBezTo>
                      <a:pt x="3810" y="11430"/>
                      <a:pt x="2858" y="14288"/>
                      <a:pt x="1905" y="17145"/>
                    </a:cubicBezTo>
                    <a:cubicBezTo>
                      <a:pt x="952" y="20003"/>
                      <a:pt x="0" y="22860"/>
                      <a:pt x="0" y="25718"/>
                    </a:cubicBezTo>
                    <a:cubicBezTo>
                      <a:pt x="0" y="33338"/>
                      <a:pt x="1905" y="39053"/>
                      <a:pt x="6667" y="42863"/>
                    </a:cubicBezTo>
                    <a:cubicBezTo>
                      <a:pt x="11430" y="47625"/>
                      <a:pt x="17145" y="51435"/>
                      <a:pt x="24765" y="54293"/>
                    </a:cubicBezTo>
                    <a:lnTo>
                      <a:pt x="30480" y="0"/>
                    </a:lnTo>
                    <a:close/>
                  </a:path>
                </a:pathLst>
              </a:custGeom>
              <a:solidFill>
                <a:srgbClr val="FFFFFF"/>
              </a:solidFill>
              <a:ln w="9525" cap="flat">
                <a:noFill/>
                <a:prstDash val="solid"/>
                <a:miter/>
              </a:ln>
            </p:spPr>
            <p:txBody>
              <a:bodyPr rtlCol="0" anchor="ctr"/>
              <a:lstStyle/>
              <a:p>
                <a:pPr defTabSz="1219170"/>
                <a:endParaRPr lang="en-US" sz="1400">
                  <a:solidFill>
                    <a:srgbClr val="102B62"/>
                  </a:solidFill>
                  <a:latin typeface="Arial"/>
                </a:endParaRPr>
              </a:p>
            </p:txBody>
          </p:sp>
          <p:sp>
            <p:nvSpPr>
              <p:cNvPr id="345" name="Freeform: Shape 344">
                <a:extLst>
                  <a:ext uri="{FF2B5EF4-FFF2-40B4-BE49-F238E27FC236}">
                    <a16:creationId xmlns:a16="http://schemas.microsoft.com/office/drawing/2014/main" id="{768E0E7D-A887-4963-9C39-693CD7C9B566}"/>
                  </a:ext>
                </a:extLst>
              </p:cNvPr>
              <p:cNvSpPr/>
              <p:nvPr/>
            </p:nvSpPr>
            <p:spPr>
              <a:xfrm>
                <a:off x="3744085" y="1805208"/>
                <a:ext cx="1658491" cy="486505"/>
              </a:xfrm>
              <a:custGeom>
                <a:avLst/>
                <a:gdLst>
                  <a:gd name="connsiteX0" fmla="*/ 55437 w 1658491"/>
                  <a:gd name="connsiteY0" fmla="*/ 402686 h 486505"/>
                  <a:gd name="connsiteX1" fmla="*/ 104015 w 1658491"/>
                  <a:gd name="connsiteY1" fmla="*/ 405543 h 486505"/>
                  <a:gd name="connsiteX2" fmla="*/ 195455 w 1658491"/>
                  <a:gd name="connsiteY2" fmla="*/ 486506 h 486505"/>
                  <a:gd name="connsiteX3" fmla="*/ 1453707 w 1658491"/>
                  <a:gd name="connsiteY3" fmla="*/ 486506 h 486505"/>
                  <a:gd name="connsiteX4" fmla="*/ 1553720 w 1658491"/>
                  <a:gd name="connsiteY4" fmla="*/ 404591 h 486505"/>
                  <a:gd name="connsiteX5" fmla="*/ 1603250 w 1658491"/>
                  <a:gd name="connsiteY5" fmla="*/ 401733 h 486505"/>
                  <a:gd name="connsiteX6" fmla="*/ 1649922 w 1658491"/>
                  <a:gd name="connsiteY6" fmla="*/ 380778 h 486505"/>
                  <a:gd name="connsiteX7" fmla="*/ 1609917 w 1658491"/>
                  <a:gd name="connsiteY7" fmla="*/ 283623 h 486505"/>
                  <a:gd name="connsiteX8" fmla="*/ 875540 w 1658491"/>
                  <a:gd name="connsiteY8" fmla="*/ 7398 h 486505"/>
                  <a:gd name="connsiteX9" fmla="*/ 776480 w 1658491"/>
                  <a:gd name="connsiteY9" fmla="*/ 8351 h 486505"/>
                  <a:gd name="connsiteX10" fmla="*/ 413577 w 1658491"/>
                  <a:gd name="connsiteY10" fmla="*/ 144558 h 486505"/>
                  <a:gd name="connsiteX11" fmla="*/ 37340 w 1658491"/>
                  <a:gd name="connsiteY11" fmla="*/ 285528 h 486505"/>
                  <a:gd name="connsiteX12" fmla="*/ 2097 w 1658491"/>
                  <a:gd name="connsiteY12" fmla="*/ 370301 h 486505"/>
                  <a:gd name="connsiteX13" fmla="*/ 55437 w 1658491"/>
                  <a:gd name="connsiteY13" fmla="*/ 402686 h 486505"/>
                  <a:gd name="connsiteX14" fmla="*/ 788862 w 1658491"/>
                  <a:gd name="connsiteY14" fmla="*/ 260763 h 486505"/>
                  <a:gd name="connsiteX15" fmla="*/ 765050 w 1658491"/>
                  <a:gd name="connsiteY15" fmla="*/ 247428 h 486505"/>
                  <a:gd name="connsiteX16" fmla="*/ 747905 w 1658491"/>
                  <a:gd name="connsiteY16" fmla="*/ 226473 h 486505"/>
                  <a:gd name="connsiteX17" fmla="*/ 741237 w 1658491"/>
                  <a:gd name="connsiteY17" fmla="*/ 194088 h 486505"/>
                  <a:gd name="connsiteX18" fmla="*/ 746952 w 1658491"/>
                  <a:gd name="connsiteY18" fmla="*/ 165513 h 486505"/>
                  <a:gd name="connsiteX19" fmla="*/ 764097 w 1658491"/>
                  <a:gd name="connsiteY19" fmla="*/ 140748 h 486505"/>
                  <a:gd name="connsiteX20" fmla="*/ 791720 w 1658491"/>
                  <a:gd name="connsiteY20" fmla="*/ 122651 h 486505"/>
                  <a:gd name="connsiteX21" fmla="*/ 829820 w 1658491"/>
                  <a:gd name="connsiteY21" fmla="*/ 114078 h 486505"/>
                  <a:gd name="connsiteX22" fmla="*/ 831725 w 1658491"/>
                  <a:gd name="connsiteY22" fmla="*/ 94076 h 486505"/>
                  <a:gd name="connsiteX23" fmla="*/ 836487 w 1658491"/>
                  <a:gd name="connsiteY23" fmla="*/ 84551 h 486505"/>
                  <a:gd name="connsiteX24" fmla="*/ 846965 w 1658491"/>
                  <a:gd name="connsiteY24" fmla="*/ 80741 h 486505"/>
                  <a:gd name="connsiteX25" fmla="*/ 867920 w 1658491"/>
                  <a:gd name="connsiteY25" fmla="*/ 80741 h 486505"/>
                  <a:gd name="connsiteX26" fmla="*/ 864110 w 1658491"/>
                  <a:gd name="connsiteY26" fmla="*/ 116936 h 486505"/>
                  <a:gd name="connsiteX27" fmla="*/ 898400 w 1658491"/>
                  <a:gd name="connsiteY27" fmla="*/ 128366 h 486505"/>
                  <a:gd name="connsiteX28" fmla="*/ 922212 w 1658491"/>
                  <a:gd name="connsiteY28" fmla="*/ 145511 h 486505"/>
                  <a:gd name="connsiteX29" fmla="*/ 907925 w 1658491"/>
                  <a:gd name="connsiteY29" fmla="*/ 165513 h 486505"/>
                  <a:gd name="connsiteX30" fmla="*/ 901257 w 1658491"/>
                  <a:gd name="connsiteY30" fmla="*/ 172181 h 486505"/>
                  <a:gd name="connsiteX31" fmla="*/ 893637 w 1658491"/>
                  <a:gd name="connsiteY31" fmla="*/ 174086 h 486505"/>
                  <a:gd name="connsiteX32" fmla="*/ 886970 w 1658491"/>
                  <a:gd name="connsiteY32" fmla="*/ 173133 h 486505"/>
                  <a:gd name="connsiteX33" fmla="*/ 878397 w 1658491"/>
                  <a:gd name="connsiteY33" fmla="*/ 170276 h 486505"/>
                  <a:gd name="connsiteX34" fmla="*/ 868872 w 1658491"/>
                  <a:gd name="connsiteY34" fmla="*/ 166466 h 486505"/>
                  <a:gd name="connsiteX35" fmla="*/ 858395 w 1658491"/>
                  <a:gd name="connsiteY35" fmla="*/ 162656 h 486505"/>
                  <a:gd name="connsiteX36" fmla="*/ 851727 w 1658491"/>
                  <a:gd name="connsiteY36" fmla="*/ 227426 h 486505"/>
                  <a:gd name="connsiteX37" fmla="*/ 868872 w 1658491"/>
                  <a:gd name="connsiteY37" fmla="*/ 233141 h 486505"/>
                  <a:gd name="connsiteX38" fmla="*/ 886017 w 1658491"/>
                  <a:gd name="connsiteY38" fmla="*/ 239808 h 486505"/>
                  <a:gd name="connsiteX39" fmla="*/ 901257 w 1658491"/>
                  <a:gd name="connsiteY39" fmla="*/ 248381 h 486505"/>
                  <a:gd name="connsiteX40" fmla="*/ 913640 w 1658491"/>
                  <a:gd name="connsiteY40" fmla="*/ 260763 h 486505"/>
                  <a:gd name="connsiteX41" fmla="*/ 922212 w 1658491"/>
                  <a:gd name="connsiteY41" fmla="*/ 276956 h 486505"/>
                  <a:gd name="connsiteX42" fmla="*/ 925070 w 1658491"/>
                  <a:gd name="connsiteY42" fmla="*/ 297911 h 486505"/>
                  <a:gd name="connsiteX43" fmla="*/ 919355 w 1658491"/>
                  <a:gd name="connsiteY43" fmla="*/ 330296 h 486505"/>
                  <a:gd name="connsiteX44" fmla="*/ 902210 w 1658491"/>
                  <a:gd name="connsiteY44" fmla="*/ 356966 h 486505"/>
                  <a:gd name="connsiteX45" fmla="*/ 874587 w 1658491"/>
                  <a:gd name="connsiteY45" fmla="*/ 376016 h 486505"/>
                  <a:gd name="connsiteX46" fmla="*/ 836487 w 1658491"/>
                  <a:gd name="connsiteY46" fmla="*/ 384588 h 486505"/>
                  <a:gd name="connsiteX47" fmla="*/ 834582 w 1658491"/>
                  <a:gd name="connsiteY47" fmla="*/ 407448 h 486505"/>
                  <a:gd name="connsiteX48" fmla="*/ 829820 w 1658491"/>
                  <a:gd name="connsiteY48" fmla="*/ 416973 h 486505"/>
                  <a:gd name="connsiteX49" fmla="*/ 819342 w 1658491"/>
                  <a:gd name="connsiteY49" fmla="*/ 420783 h 486505"/>
                  <a:gd name="connsiteX50" fmla="*/ 799340 w 1658491"/>
                  <a:gd name="connsiteY50" fmla="*/ 420783 h 486505"/>
                  <a:gd name="connsiteX51" fmla="*/ 803150 w 1658491"/>
                  <a:gd name="connsiteY51" fmla="*/ 382683 h 486505"/>
                  <a:gd name="connsiteX52" fmla="*/ 763145 w 1658491"/>
                  <a:gd name="connsiteY52" fmla="*/ 370301 h 486505"/>
                  <a:gd name="connsiteX53" fmla="*/ 730760 w 1658491"/>
                  <a:gd name="connsiteY53" fmla="*/ 349346 h 486505"/>
                  <a:gd name="connsiteX54" fmla="*/ 747905 w 1658491"/>
                  <a:gd name="connsiteY54" fmla="*/ 323628 h 486505"/>
                  <a:gd name="connsiteX55" fmla="*/ 753620 w 1658491"/>
                  <a:gd name="connsiteY55" fmla="*/ 318866 h 486505"/>
                  <a:gd name="connsiteX56" fmla="*/ 761240 w 1658491"/>
                  <a:gd name="connsiteY56" fmla="*/ 316961 h 486505"/>
                  <a:gd name="connsiteX57" fmla="*/ 769812 w 1658491"/>
                  <a:gd name="connsiteY57" fmla="*/ 318866 h 486505"/>
                  <a:gd name="connsiteX58" fmla="*/ 779337 w 1658491"/>
                  <a:gd name="connsiteY58" fmla="*/ 324581 h 486505"/>
                  <a:gd name="connsiteX59" fmla="*/ 790767 w 1658491"/>
                  <a:gd name="connsiteY59" fmla="*/ 331248 h 486505"/>
                  <a:gd name="connsiteX60" fmla="*/ 805055 w 1658491"/>
                  <a:gd name="connsiteY60" fmla="*/ 336963 h 486505"/>
                  <a:gd name="connsiteX61" fmla="*/ 811722 w 1658491"/>
                  <a:gd name="connsiteY61" fmla="*/ 268383 h 486505"/>
                  <a:gd name="connsiteX62" fmla="*/ 788862 w 1658491"/>
                  <a:gd name="connsiteY62" fmla="*/ 260763 h 486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658491" h="486505">
                    <a:moveTo>
                      <a:pt x="55437" y="402686"/>
                    </a:moveTo>
                    <a:cubicBezTo>
                      <a:pt x="71630" y="403638"/>
                      <a:pt x="88775" y="404591"/>
                      <a:pt x="104015" y="405543"/>
                    </a:cubicBezTo>
                    <a:cubicBezTo>
                      <a:pt x="115445" y="483648"/>
                      <a:pt x="118302" y="486506"/>
                      <a:pt x="195455" y="486506"/>
                    </a:cubicBezTo>
                    <a:cubicBezTo>
                      <a:pt x="614555" y="486506"/>
                      <a:pt x="1034607" y="486506"/>
                      <a:pt x="1453707" y="486506"/>
                    </a:cubicBezTo>
                    <a:cubicBezTo>
                      <a:pt x="1536575" y="486506"/>
                      <a:pt x="1536575" y="486506"/>
                      <a:pt x="1553720" y="404591"/>
                    </a:cubicBezTo>
                    <a:cubicBezTo>
                      <a:pt x="1569912" y="403638"/>
                      <a:pt x="1587057" y="405543"/>
                      <a:pt x="1603250" y="401733"/>
                    </a:cubicBezTo>
                    <a:cubicBezTo>
                      <a:pt x="1619442" y="397923"/>
                      <a:pt x="1643255" y="393161"/>
                      <a:pt x="1649922" y="380778"/>
                    </a:cubicBezTo>
                    <a:cubicBezTo>
                      <a:pt x="1670877" y="341726"/>
                      <a:pt x="1651827" y="299816"/>
                      <a:pt x="1609917" y="283623"/>
                    </a:cubicBezTo>
                    <a:cubicBezTo>
                      <a:pt x="1365125" y="191231"/>
                      <a:pt x="1121285" y="96933"/>
                      <a:pt x="875540" y="7398"/>
                    </a:cubicBezTo>
                    <a:cubicBezTo>
                      <a:pt x="846012" y="-3079"/>
                      <a:pt x="806960" y="-2127"/>
                      <a:pt x="776480" y="8351"/>
                    </a:cubicBezTo>
                    <a:cubicBezTo>
                      <a:pt x="654560" y="50261"/>
                      <a:pt x="534545" y="98838"/>
                      <a:pt x="413577" y="144558"/>
                    </a:cubicBezTo>
                    <a:cubicBezTo>
                      <a:pt x="288800" y="192183"/>
                      <a:pt x="164022" y="241713"/>
                      <a:pt x="37340" y="285528"/>
                    </a:cubicBezTo>
                    <a:cubicBezTo>
                      <a:pt x="-11238" y="302673"/>
                      <a:pt x="1145" y="337916"/>
                      <a:pt x="2097" y="370301"/>
                    </a:cubicBezTo>
                    <a:cubicBezTo>
                      <a:pt x="4002" y="405543"/>
                      <a:pt x="31625" y="401733"/>
                      <a:pt x="55437" y="402686"/>
                    </a:cubicBezTo>
                    <a:close/>
                    <a:moveTo>
                      <a:pt x="788862" y="260763"/>
                    </a:moveTo>
                    <a:cubicBezTo>
                      <a:pt x="780290" y="257906"/>
                      <a:pt x="772670" y="253143"/>
                      <a:pt x="765050" y="247428"/>
                    </a:cubicBezTo>
                    <a:cubicBezTo>
                      <a:pt x="758382" y="241713"/>
                      <a:pt x="752667" y="235046"/>
                      <a:pt x="747905" y="226473"/>
                    </a:cubicBezTo>
                    <a:cubicBezTo>
                      <a:pt x="743142" y="217901"/>
                      <a:pt x="741237" y="207423"/>
                      <a:pt x="741237" y="194088"/>
                    </a:cubicBezTo>
                    <a:cubicBezTo>
                      <a:pt x="741237" y="184563"/>
                      <a:pt x="743142" y="175038"/>
                      <a:pt x="746952" y="165513"/>
                    </a:cubicBezTo>
                    <a:cubicBezTo>
                      <a:pt x="750762" y="155988"/>
                      <a:pt x="756477" y="148368"/>
                      <a:pt x="764097" y="140748"/>
                    </a:cubicBezTo>
                    <a:cubicBezTo>
                      <a:pt x="771717" y="133128"/>
                      <a:pt x="781242" y="127413"/>
                      <a:pt x="791720" y="122651"/>
                    </a:cubicBezTo>
                    <a:cubicBezTo>
                      <a:pt x="803150" y="117888"/>
                      <a:pt x="815532" y="115031"/>
                      <a:pt x="829820" y="114078"/>
                    </a:cubicBezTo>
                    <a:lnTo>
                      <a:pt x="831725" y="94076"/>
                    </a:lnTo>
                    <a:cubicBezTo>
                      <a:pt x="831725" y="90266"/>
                      <a:pt x="833630" y="87408"/>
                      <a:pt x="836487" y="84551"/>
                    </a:cubicBezTo>
                    <a:cubicBezTo>
                      <a:pt x="839345" y="81693"/>
                      <a:pt x="843155" y="80741"/>
                      <a:pt x="846965" y="80741"/>
                    </a:cubicBezTo>
                    <a:lnTo>
                      <a:pt x="867920" y="80741"/>
                    </a:lnTo>
                    <a:lnTo>
                      <a:pt x="864110" y="116936"/>
                    </a:lnTo>
                    <a:cubicBezTo>
                      <a:pt x="877445" y="119793"/>
                      <a:pt x="888875" y="123603"/>
                      <a:pt x="898400" y="128366"/>
                    </a:cubicBezTo>
                    <a:cubicBezTo>
                      <a:pt x="907925" y="134081"/>
                      <a:pt x="915545" y="139796"/>
                      <a:pt x="922212" y="145511"/>
                    </a:cubicBezTo>
                    <a:lnTo>
                      <a:pt x="907925" y="165513"/>
                    </a:lnTo>
                    <a:cubicBezTo>
                      <a:pt x="906020" y="168371"/>
                      <a:pt x="904115" y="171228"/>
                      <a:pt x="901257" y="172181"/>
                    </a:cubicBezTo>
                    <a:cubicBezTo>
                      <a:pt x="899352" y="173133"/>
                      <a:pt x="896495" y="174086"/>
                      <a:pt x="893637" y="174086"/>
                    </a:cubicBezTo>
                    <a:cubicBezTo>
                      <a:pt x="891732" y="174086"/>
                      <a:pt x="889827" y="174086"/>
                      <a:pt x="886970" y="173133"/>
                    </a:cubicBezTo>
                    <a:cubicBezTo>
                      <a:pt x="884112" y="172181"/>
                      <a:pt x="882207" y="171228"/>
                      <a:pt x="878397" y="170276"/>
                    </a:cubicBezTo>
                    <a:cubicBezTo>
                      <a:pt x="875540" y="169323"/>
                      <a:pt x="872682" y="167418"/>
                      <a:pt x="868872" y="166466"/>
                    </a:cubicBezTo>
                    <a:cubicBezTo>
                      <a:pt x="865062" y="165513"/>
                      <a:pt x="862205" y="163608"/>
                      <a:pt x="858395" y="162656"/>
                    </a:cubicBezTo>
                    <a:lnTo>
                      <a:pt x="851727" y="227426"/>
                    </a:lnTo>
                    <a:cubicBezTo>
                      <a:pt x="857442" y="229331"/>
                      <a:pt x="863157" y="231236"/>
                      <a:pt x="868872" y="233141"/>
                    </a:cubicBezTo>
                    <a:cubicBezTo>
                      <a:pt x="874587" y="235046"/>
                      <a:pt x="880302" y="237903"/>
                      <a:pt x="886017" y="239808"/>
                    </a:cubicBezTo>
                    <a:cubicBezTo>
                      <a:pt x="891732" y="242666"/>
                      <a:pt x="896495" y="245523"/>
                      <a:pt x="901257" y="248381"/>
                    </a:cubicBezTo>
                    <a:cubicBezTo>
                      <a:pt x="906020" y="252191"/>
                      <a:pt x="909830" y="256001"/>
                      <a:pt x="913640" y="260763"/>
                    </a:cubicBezTo>
                    <a:cubicBezTo>
                      <a:pt x="917450" y="265526"/>
                      <a:pt x="919355" y="270288"/>
                      <a:pt x="922212" y="276956"/>
                    </a:cubicBezTo>
                    <a:cubicBezTo>
                      <a:pt x="924117" y="282671"/>
                      <a:pt x="925070" y="289338"/>
                      <a:pt x="925070" y="297911"/>
                    </a:cubicBezTo>
                    <a:cubicBezTo>
                      <a:pt x="925070" y="309341"/>
                      <a:pt x="923165" y="320771"/>
                      <a:pt x="919355" y="330296"/>
                    </a:cubicBezTo>
                    <a:cubicBezTo>
                      <a:pt x="915545" y="340773"/>
                      <a:pt x="909830" y="349346"/>
                      <a:pt x="902210" y="356966"/>
                    </a:cubicBezTo>
                    <a:cubicBezTo>
                      <a:pt x="894590" y="364586"/>
                      <a:pt x="885065" y="371253"/>
                      <a:pt x="874587" y="376016"/>
                    </a:cubicBezTo>
                    <a:cubicBezTo>
                      <a:pt x="863157" y="380778"/>
                      <a:pt x="850775" y="383636"/>
                      <a:pt x="836487" y="384588"/>
                    </a:cubicBezTo>
                    <a:lnTo>
                      <a:pt x="834582" y="407448"/>
                    </a:lnTo>
                    <a:cubicBezTo>
                      <a:pt x="834582" y="411258"/>
                      <a:pt x="832677" y="414116"/>
                      <a:pt x="829820" y="416973"/>
                    </a:cubicBezTo>
                    <a:cubicBezTo>
                      <a:pt x="826962" y="419831"/>
                      <a:pt x="823152" y="420783"/>
                      <a:pt x="819342" y="420783"/>
                    </a:cubicBezTo>
                    <a:lnTo>
                      <a:pt x="799340" y="420783"/>
                    </a:lnTo>
                    <a:lnTo>
                      <a:pt x="803150" y="382683"/>
                    </a:lnTo>
                    <a:cubicBezTo>
                      <a:pt x="788862" y="380778"/>
                      <a:pt x="775527" y="376016"/>
                      <a:pt x="763145" y="370301"/>
                    </a:cubicBezTo>
                    <a:cubicBezTo>
                      <a:pt x="750762" y="364586"/>
                      <a:pt x="739332" y="357918"/>
                      <a:pt x="730760" y="349346"/>
                    </a:cubicBezTo>
                    <a:lnTo>
                      <a:pt x="747905" y="323628"/>
                    </a:lnTo>
                    <a:cubicBezTo>
                      <a:pt x="749810" y="321723"/>
                      <a:pt x="751715" y="319818"/>
                      <a:pt x="753620" y="318866"/>
                    </a:cubicBezTo>
                    <a:cubicBezTo>
                      <a:pt x="756477" y="317913"/>
                      <a:pt x="758382" y="316961"/>
                      <a:pt x="761240" y="316961"/>
                    </a:cubicBezTo>
                    <a:cubicBezTo>
                      <a:pt x="764097" y="316961"/>
                      <a:pt x="766955" y="317913"/>
                      <a:pt x="769812" y="318866"/>
                    </a:cubicBezTo>
                    <a:cubicBezTo>
                      <a:pt x="772670" y="320771"/>
                      <a:pt x="776480" y="322676"/>
                      <a:pt x="779337" y="324581"/>
                    </a:cubicBezTo>
                    <a:cubicBezTo>
                      <a:pt x="783147" y="326486"/>
                      <a:pt x="786957" y="329343"/>
                      <a:pt x="790767" y="331248"/>
                    </a:cubicBezTo>
                    <a:cubicBezTo>
                      <a:pt x="795530" y="333153"/>
                      <a:pt x="800292" y="335058"/>
                      <a:pt x="805055" y="336963"/>
                    </a:cubicBezTo>
                    <a:lnTo>
                      <a:pt x="811722" y="268383"/>
                    </a:lnTo>
                    <a:cubicBezTo>
                      <a:pt x="806007" y="266478"/>
                      <a:pt x="797435" y="263621"/>
                      <a:pt x="788862" y="260763"/>
                    </a:cubicBezTo>
                    <a:close/>
                  </a:path>
                </a:pathLst>
              </a:custGeom>
              <a:solidFill>
                <a:srgbClr val="FFFFFF"/>
              </a:solidFill>
              <a:ln w="9525" cap="flat">
                <a:noFill/>
                <a:prstDash val="solid"/>
                <a:miter/>
              </a:ln>
            </p:spPr>
            <p:txBody>
              <a:bodyPr rtlCol="0" anchor="ctr"/>
              <a:lstStyle/>
              <a:p>
                <a:pPr defTabSz="1219170"/>
                <a:endParaRPr lang="en-US" sz="1400">
                  <a:solidFill>
                    <a:srgbClr val="102B62"/>
                  </a:solidFill>
                  <a:latin typeface="Arial"/>
                </a:endParaRPr>
              </a:p>
            </p:txBody>
          </p:sp>
          <p:sp>
            <p:nvSpPr>
              <p:cNvPr id="346" name="Freeform: Shape 345">
                <a:extLst>
                  <a:ext uri="{FF2B5EF4-FFF2-40B4-BE49-F238E27FC236}">
                    <a16:creationId xmlns:a16="http://schemas.microsoft.com/office/drawing/2014/main" id="{91182D97-5DDE-47E3-9E7A-021C835657D0}"/>
                  </a:ext>
                </a:extLst>
              </p:cNvPr>
              <p:cNvSpPr/>
              <p:nvPr/>
            </p:nvSpPr>
            <p:spPr>
              <a:xfrm>
                <a:off x="3742861" y="3173729"/>
                <a:ext cx="1656008" cy="168321"/>
              </a:xfrm>
              <a:custGeom>
                <a:avLst/>
                <a:gdLst>
                  <a:gd name="connsiteX0" fmla="*/ 1543513 w 1656008"/>
                  <a:gd name="connsiteY0" fmla="*/ 0 h 168321"/>
                  <a:gd name="connsiteX1" fmla="*/ 113811 w 1656008"/>
                  <a:gd name="connsiteY1" fmla="*/ 0 h 168321"/>
                  <a:gd name="connsiteX2" fmla="*/ 62376 w 1656008"/>
                  <a:gd name="connsiteY2" fmla="*/ 3810 h 168321"/>
                  <a:gd name="connsiteX3" fmla="*/ 2368 w 1656008"/>
                  <a:gd name="connsiteY3" fmla="*/ 130492 h 168321"/>
                  <a:gd name="connsiteX4" fmla="*/ 75711 w 1656008"/>
                  <a:gd name="connsiteY4" fmla="*/ 166688 h 168321"/>
                  <a:gd name="connsiteX5" fmla="*/ 823423 w 1656008"/>
                  <a:gd name="connsiteY5" fmla="*/ 167640 h 168321"/>
                  <a:gd name="connsiteX6" fmla="*/ 1386351 w 1656008"/>
                  <a:gd name="connsiteY6" fmla="*/ 167640 h 168321"/>
                  <a:gd name="connsiteX7" fmla="*/ 1604473 w 1656008"/>
                  <a:gd name="connsiteY7" fmla="*/ 167640 h 168321"/>
                  <a:gd name="connsiteX8" fmla="*/ 1655908 w 1656008"/>
                  <a:gd name="connsiteY8" fmla="*/ 117158 h 168321"/>
                  <a:gd name="connsiteX9" fmla="*/ 1543513 w 1656008"/>
                  <a:gd name="connsiteY9" fmla="*/ 0 h 168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56008" h="168321">
                    <a:moveTo>
                      <a:pt x="1543513" y="0"/>
                    </a:moveTo>
                    <a:cubicBezTo>
                      <a:pt x="1067263" y="0"/>
                      <a:pt x="591013" y="0"/>
                      <a:pt x="113811" y="0"/>
                    </a:cubicBezTo>
                    <a:cubicBezTo>
                      <a:pt x="96666" y="0"/>
                      <a:pt x="78568" y="0"/>
                      <a:pt x="62376" y="3810"/>
                    </a:cubicBezTo>
                    <a:cubicBezTo>
                      <a:pt x="11893" y="16192"/>
                      <a:pt x="-7157" y="59055"/>
                      <a:pt x="2368" y="130492"/>
                    </a:cubicBezTo>
                    <a:cubicBezTo>
                      <a:pt x="9036" y="180023"/>
                      <a:pt x="47136" y="166688"/>
                      <a:pt x="75711" y="166688"/>
                    </a:cubicBezTo>
                    <a:cubicBezTo>
                      <a:pt x="325266" y="167640"/>
                      <a:pt x="573868" y="167640"/>
                      <a:pt x="823423" y="167640"/>
                    </a:cubicBezTo>
                    <a:cubicBezTo>
                      <a:pt x="1011066" y="167640"/>
                      <a:pt x="1198708" y="167640"/>
                      <a:pt x="1386351" y="167640"/>
                    </a:cubicBezTo>
                    <a:cubicBezTo>
                      <a:pt x="1458741" y="167640"/>
                      <a:pt x="1531131" y="166688"/>
                      <a:pt x="1604473" y="167640"/>
                    </a:cubicBezTo>
                    <a:cubicBezTo>
                      <a:pt x="1639716" y="167640"/>
                      <a:pt x="1654956" y="154305"/>
                      <a:pt x="1655908" y="117158"/>
                    </a:cubicBezTo>
                    <a:cubicBezTo>
                      <a:pt x="1657813" y="26670"/>
                      <a:pt x="1633048" y="0"/>
                      <a:pt x="1543513" y="0"/>
                    </a:cubicBezTo>
                    <a:close/>
                  </a:path>
                </a:pathLst>
              </a:custGeom>
              <a:solidFill>
                <a:srgbClr val="FFFFFF"/>
              </a:solidFill>
              <a:ln w="9525" cap="flat">
                <a:noFill/>
                <a:prstDash val="solid"/>
                <a:miter/>
              </a:ln>
            </p:spPr>
            <p:txBody>
              <a:bodyPr rtlCol="0" anchor="ctr"/>
              <a:lstStyle/>
              <a:p>
                <a:pPr defTabSz="1219170"/>
                <a:endParaRPr lang="en-US" sz="1400">
                  <a:solidFill>
                    <a:srgbClr val="102B62"/>
                  </a:solidFill>
                  <a:latin typeface="Arial"/>
                </a:endParaRPr>
              </a:p>
            </p:txBody>
          </p:sp>
        </p:grpSp>
      </p:grpSp>
      <p:sp>
        <p:nvSpPr>
          <p:cNvPr id="168" name="TextBox 167">
            <a:extLst>
              <a:ext uri="{FF2B5EF4-FFF2-40B4-BE49-F238E27FC236}">
                <a16:creationId xmlns:a16="http://schemas.microsoft.com/office/drawing/2014/main" id="{E06287E1-42CF-4755-A33A-BF861FBDC474}"/>
              </a:ext>
            </a:extLst>
          </p:cNvPr>
          <p:cNvSpPr txBox="1"/>
          <p:nvPr/>
        </p:nvSpPr>
        <p:spPr>
          <a:xfrm>
            <a:off x="4841486" y="3744020"/>
            <a:ext cx="2842708" cy="1169551"/>
          </a:xfrm>
          <a:prstGeom prst="rect">
            <a:avLst/>
          </a:prstGeom>
          <a:noFill/>
        </p:spPr>
        <p:txBody>
          <a:bodyPr wrap="square" rtlCol="0">
            <a:spAutoFit/>
          </a:bodyPr>
          <a:lstStyle/>
          <a:p>
            <a:pPr defTabSz="1219170">
              <a:defRPr/>
            </a:pPr>
            <a:r>
              <a:rPr lang="en-US" sz="1400" b="1" dirty="0">
                <a:solidFill>
                  <a:srgbClr val="680000"/>
                </a:solidFill>
                <a:latin typeface="Arial"/>
              </a:rPr>
              <a:t>Multiple Presentations (recombinant, vector, etc.)</a:t>
            </a:r>
          </a:p>
          <a:p>
            <a:pPr marL="152396" indent="-152396" defTabSz="1219170">
              <a:buFont typeface="Arial" panose="020B0604020202020204" pitchFamily="34" charset="0"/>
              <a:buChar char="•"/>
              <a:defRPr/>
            </a:pPr>
            <a:r>
              <a:rPr lang="en-US" sz="1400" dirty="0">
                <a:solidFill>
                  <a:srgbClr val="000000"/>
                </a:solidFill>
                <a:latin typeface="Arial"/>
              </a:rPr>
              <a:t>Disease enhancement mitigation</a:t>
            </a:r>
          </a:p>
          <a:p>
            <a:pPr marL="152396" indent="-152396" defTabSz="1219170">
              <a:buFont typeface="Arial" panose="020B0604020202020204" pitchFamily="34" charset="0"/>
              <a:buChar char="•"/>
              <a:defRPr/>
            </a:pPr>
            <a:r>
              <a:rPr lang="en-US" sz="1400" dirty="0">
                <a:solidFill>
                  <a:srgbClr val="000000"/>
                </a:solidFill>
                <a:latin typeface="Arial"/>
              </a:rPr>
              <a:t>Alternative routes of delivery</a:t>
            </a:r>
          </a:p>
        </p:txBody>
      </p:sp>
      <p:grpSp>
        <p:nvGrpSpPr>
          <p:cNvPr id="17" name="Group 16">
            <a:extLst>
              <a:ext uri="{FF2B5EF4-FFF2-40B4-BE49-F238E27FC236}">
                <a16:creationId xmlns:a16="http://schemas.microsoft.com/office/drawing/2014/main" id="{2A45210D-E5D6-4EBA-B808-8D6B6CF8ABD6}"/>
              </a:ext>
            </a:extLst>
          </p:cNvPr>
          <p:cNvGrpSpPr/>
          <p:nvPr/>
        </p:nvGrpSpPr>
        <p:grpSpPr>
          <a:xfrm>
            <a:off x="4219619" y="3744020"/>
            <a:ext cx="613916" cy="613916"/>
            <a:chOff x="3460070" y="2567263"/>
            <a:chExt cx="460437" cy="460437"/>
          </a:xfrm>
        </p:grpSpPr>
        <p:sp>
          <p:nvSpPr>
            <p:cNvPr id="172" name="Oval 171">
              <a:extLst>
                <a:ext uri="{FF2B5EF4-FFF2-40B4-BE49-F238E27FC236}">
                  <a16:creationId xmlns:a16="http://schemas.microsoft.com/office/drawing/2014/main" id="{D1D12B46-BE42-4403-A89A-2EF4A226B8FE}"/>
                </a:ext>
              </a:extLst>
            </p:cNvPr>
            <p:cNvSpPr/>
            <p:nvPr/>
          </p:nvSpPr>
          <p:spPr>
            <a:xfrm>
              <a:off x="3460070" y="2567263"/>
              <a:ext cx="460437" cy="460437"/>
            </a:xfrm>
            <a:prstGeom prst="ellipse">
              <a:avLst/>
            </a:prstGeom>
            <a:gradFill>
              <a:gsLst>
                <a:gs pos="0">
                  <a:srgbClr val="680000"/>
                </a:gs>
                <a:gs pos="100000">
                  <a:schemeClr val="accent4">
                    <a:lumMod val="50000"/>
                  </a:schemeClr>
                </a:gs>
              </a:gsLst>
            </a:gradFill>
            <a:ln>
              <a:noFill/>
            </a:ln>
            <a:effectLst/>
          </p:spPr>
          <p:style>
            <a:lnRef idx="1">
              <a:schemeClr val="dk1"/>
            </a:lnRef>
            <a:fillRef idx="3">
              <a:schemeClr val="dk1"/>
            </a:fillRef>
            <a:effectRef idx="2">
              <a:schemeClr val="dk1"/>
            </a:effectRef>
            <a:fontRef idx="minor">
              <a:schemeClr val="lt1"/>
            </a:fontRef>
          </p:style>
          <p:txBody>
            <a:bodyPr rtlCol="0" anchor="ctr"/>
            <a:lstStyle/>
            <a:p>
              <a:pPr algn="ctr" defTabSz="1219170"/>
              <a:endParaRPr lang="en-US" sz="1400" dirty="0">
                <a:solidFill>
                  <a:prstClr val="white"/>
                </a:solidFill>
                <a:latin typeface="Arial"/>
              </a:endParaRPr>
            </a:p>
          </p:txBody>
        </p:sp>
        <p:grpSp>
          <p:nvGrpSpPr>
            <p:cNvPr id="347" name="Graphic 46">
              <a:extLst>
                <a:ext uri="{FF2B5EF4-FFF2-40B4-BE49-F238E27FC236}">
                  <a16:creationId xmlns:a16="http://schemas.microsoft.com/office/drawing/2014/main" id="{FEDA212E-0527-4750-8E52-91037985661B}"/>
                </a:ext>
              </a:extLst>
            </p:cNvPr>
            <p:cNvGrpSpPr>
              <a:grpSpLocks noChangeAspect="1"/>
            </p:cNvGrpSpPr>
            <p:nvPr/>
          </p:nvGrpSpPr>
          <p:grpSpPr>
            <a:xfrm>
              <a:off x="3557751" y="2675891"/>
              <a:ext cx="264795" cy="245193"/>
              <a:chOff x="3742861" y="1805208"/>
              <a:chExt cx="1659715" cy="1536841"/>
            </a:xfrm>
            <a:solidFill>
              <a:srgbClr val="FFFFFF"/>
            </a:solidFill>
          </p:grpSpPr>
          <p:sp>
            <p:nvSpPr>
              <p:cNvPr id="348" name="Freeform: Shape 347">
                <a:extLst>
                  <a:ext uri="{FF2B5EF4-FFF2-40B4-BE49-F238E27FC236}">
                    <a16:creationId xmlns:a16="http://schemas.microsoft.com/office/drawing/2014/main" id="{C91A9311-2EAF-4541-8B22-AF63EE9A0D46}"/>
                  </a:ext>
                </a:extLst>
              </p:cNvPr>
              <p:cNvSpPr/>
              <p:nvPr/>
            </p:nvSpPr>
            <p:spPr>
              <a:xfrm>
                <a:off x="3851822" y="2344718"/>
                <a:ext cx="1440357" cy="773142"/>
              </a:xfrm>
              <a:custGeom>
                <a:avLst/>
                <a:gdLst>
                  <a:gd name="connsiteX0" fmla="*/ 55333 w 1440357"/>
                  <a:gd name="connsiteY0" fmla="*/ 665181 h 773142"/>
                  <a:gd name="connsiteX1" fmla="*/ 88 w 1440357"/>
                  <a:gd name="connsiteY1" fmla="*/ 732808 h 773142"/>
                  <a:gd name="connsiteX2" fmla="*/ 56285 w 1440357"/>
                  <a:gd name="connsiteY2" fmla="*/ 772813 h 773142"/>
                  <a:gd name="connsiteX3" fmla="*/ 719225 w 1440357"/>
                  <a:gd name="connsiteY3" fmla="*/ 772813 h 773142"/>
                  <a:gd name="connsiteX4" fmla="*/ 1386928 w 1440357"/>
                  <a:gd name="connsiteY4" fmla="*/ 772813 h 773142"/>
                  <a:gd name="connsiteX5" fmla="*/ 1440268 w 1440357"/>
                  <a:gd name="connsiteY5" fmla="*/ 734713 h 773142"/>
                  <a:gd name="connsiteX6" fmla="*/ 1386928 w 1440357"/>
                  <a:gd name="connsiteY6" fmla="*/ 665181 h 773142"/>
                  <a:gd name="connsiteX7" fmla="*/ 1325968 w 1440357"/>
                  <a:gd name="connsiteY7" fmla="*/ 598506 h 773142"/>
                  <a:gd name="connsiteX8" fmla="*/ 1327873 w 1440357"/>
                  <a:gd name="connsiteY8" fmla="*/ 49866 h 773142"/>
                  <a:gd name="connsiteX9" fmla="*/ 1279295 w 1440357"/>
                  <a:gd name="connsiteY9" fmla="*/ 1288 h 773142"/>
                  <a:gd name="connsiteX10" fmla="*/ 1170710 w 1440357"/>
                  <a:gd name="connsiteY10" fmla="*/ 1288 h 773142"/>
                  <a:gd name="connsiteX11" fmla="*/ 1108798 w 1440357"/>
                  <a:gd name="connsiteY11" fmla="*/ 64153 h 773142"/>
                  <a:gd name="connsiteX12" fmla="*/ 1107845 w 1440357"/>
                  <a:gd name="connsiteY12" fmla="*/ 612793 h 773142"/>
                  <a:gd name="connsiteX13" fmla="*/ 1090700 w 1440357"/>
                  <a:gd name="connsiteY13" fmla="*/ 659466 h 773142"/>
                  <a:gd name="connsiteX14" fmla="*/ 996403 w 1440357"/>
                  <a:gd name="connsiteY14" fmla="*/ 600411 h 773142"/>
                  <a:gd name="connsiteX15" fmla="*/ 997355 w 1440357"/>
                  <a:gd name="connsiteY15" fmla="*/ 47008 h 773142"/>
                  <a:gd name="connsiteX16" fmla="*/ 951635 w 1440357"/>
                  <a:gd name="connsiteY16" fmla="*/ 336 h 773142"/>
                  <a:gd name="connsiteX17" fmla="*/ 828763 w 1440357"/>
                  <a:gd name="connsiteY17" fmla="*/ 336 h 773142"/>
                  <a:gd name="connsiteX18" fmla="*/ 778280 w 1440357"/>
                  <a:gd name="connsiteY18" fmla="*/ 51771 h 773142"/>
                  <a:gd name="connsiteX19" fmla="*/ 780185 w 1440357"/>
                  <a:gd name="connsiteY19" fmla="*/ 609936 h 773142"/>
                  <a:gd name="connsiteX20" fmla="*/ 726845 w 1440357"/>
                  <a:gd name="connsiteY20" fmla="*/ 664228 h 773142"/>
                  <a:gd name="connsiteX21" fmla="*/ 666838 w 1440357"/>
                  <a:gd name="connsiteY21" fmla="*/ 603268 h 773142"/>
                  <a:gd name="connsiteX22" fmla="*/ 667790 w 1440357"/>
                  <a:gd name="connsiteY22" fmla="*/ 49866 h 773142"/>
                  <a:gd name="connsiteX23" fmla="*/ 619213 w 1440357"/>
                  <a:gd name="connsiteY23" fmla="*/ 1288 h 773142"/>
                  <a:gd name="connsiteX24" fmla="*/ 510628 w 1440357"/>
                  <a:gd name="connsiteY24" fmla="*/ 2241 h 773142"/>
                  <a:gd name="connsiteX25" fmla="*/ 448715 w 1440357"/>
                  <a:gd name="connsiteY25" fmla="*/ 65106 h 773142"/>
                  <a:gd name="connsiteX26" fmla="*/ 447763 w 1440357"/>
                  <a:gd name="connsiteY26" fmla="*/ 613746 h 773142"/>
                  <a:gd name="connsiteX27" fmla="*/ 430618 w 1440357"/>
                  <a:gd name="connsiteY27" fmla="*/ 660418 h 773142"/>
                  <a:gd name="connsiteX28" fmla="*/ 336320 w 1440357"/>
                  <a:gd name="connsiteY28" fmla="*/ 601363 h 773142"/>
                  <a:gd name="connsiteX29" fmla="*/ 337273 w 1440357"/>
                  <a:gd name="connsiteY29" fmla="*/ 47961 h 773142"/>
                  <a:gd name="connsiteX30" fmla="*/ 290600 w 1440357"/>
                  <a:gd name="connsiteY30" fmla="*/ 1288 h 773142"/>
                  <a:gd name="connsiteX31" fmla="*/ 167728 w 1440357"/>
                  <a:gd name="connsiteY31" fmla="*/ 1288 h 773142"/>
                  <a:gd name="connsiteX32" fmla="*/ 117245 w 1440357"/>
                  <a:gd name="connsiteY32" fmla="*/ 52723 h 773142"/>
                  <a:gd name="connsiteX33" fmla="*/ 119150 w 1440357"/>
                  <a:gd name="connsiteY33" fmla="*/ 601363 h 773142"/>
                  <a:gd name="connsiteX34" fmla="*/ 55333 w 1440357"/>
                  <a:gd name="connsiteY34" fmla="*/ 665181 h 773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440357" h="773142">
                    <a:moveTo>
                      <a:pt x="55333" y="665181"/>
                    </a:moveTo>
                    <a:cubicBezTo>
                      <a:pt x="6755" y="660418"/>
                      <a:pt x="1040" y="693756"/>
                      <a:pt x="88" y="732808"/>
                    </a:cubicBezTo>
                    <a:cubicBezTo>
                      <a:pt x="-1817" y="779481"/>
                      <a:pt x="27710" y="772813"/>
                      <a:pt x="56285" y="772813"/>
                    </a:cubicBezTo>
                    <a:cubicBezTo>
                      <a:pt x="277265" y="772813"/>
                      <a:pt x="498245" y="772813"/>
                      <a:pt x="719225" y="772813"/>
                    </a:cubicBezTo>
                    <a:cubicBezTo>
                      <a:pt x="942110" y="772813"/>
                      <a:pt x="1164043" y="772813"/>
                      <a:pt x="1386928" y="772813"/>
                    </a:cubicBezTo>
                    <a:cubicBezTo>
                      <a:pt x="1413598" y="772813"/>
                      <a:pt x="1442173" y="778528"/>
                      <a:pt x="1440268" y="734713"/>
                    </a:cubicBezTo>
                    <a:cubicBezTo>
                      <a:pt x="1438363" y="696613"/>
                      <a:pt x="1436458" y="660418"/>
                      <a:pt x="1386928" y="665181"/>
                    </a:cubicBezTo>
                    <a:cubicBezTo>
                      <a:pt x="1332635" y="669943"/>
                      <a:pt x="1325968" y="644226"/>
                      <a:pt x="1325968" y="598506"/>
                    </a:cubicBezTo>
                    <a:cubicBezTo>
                      <a:pt x="1327873" y="415626"/>
                      <a:pt x="1325968" y="232746"/>
                      <a:pt x="1327873" y="49866"/>
                    </a:cubicBezTo>
                    <a:cubicBezTo>
                      <a:pt x="1327873" y="12718"/>
                      <a:pt x="1316443" y="-1569"/>
                      <a:pt x="1279295" y="1288"/>
                    </a:cubicBezTo>
                    <a:cubicBezTo>
                      <a:pt x="1243100" y="3193"/>
                      <a:pt x="1206905" y="1288"/>
                      <a:pt x="1170710" y="1288"/>
                    </a:cubicBezTo>
                    <a:cubicBezTo>
                      <a:pt x="1108798" y="1288"/>
                      <a:pt x="1108798" y="1288"/>
                      <a:pt x="1108798" y="64153"/>
                    </a:cubicBezTo>
                    <a:cubicBezTo>
                      <a:pt x="1108798" y="247033"/>
                      <a:pt x="1108798" y="429913"/>
                      <a:pt x="1107845" y="612793"/>
                    </a:cubicBezTo>
                    <a:cubicBezTo>
                      <a:pt x="1107845" y="628986"/>
                      <a:pt x="1101178" y="654703"/>
                      <a:pt x="1090700" y="659466"/>
                    </a:cubicBezTo>
                    <a:cubicBezTo>
                      <a:pt x="1036408" y="685183"/>
                      <a:pt x="996403" y="658513"/>
                      <a:pt x="996403" y="600411"/>
                    </a:cubicBezTo>
                    <a:cubicBezTo>
                      <a:pt x="996403" y="415626"/>
                      <a:pt x="995450" y="230841"/>
                      <a:pt x="997355" y="47008"/>
                    </a:cubicBezTo>
                    <a:cubicBezTo>
                      <a:pt x="997355" y="11766"/>
                      <a:pt x="986878" y="-1569"/>
                      <a:pt x="951635" y="336"/>
                    </a:cubicBezTo>
                    <a:cubicBezTo>
                      <a:pt x="910678" y="2241"/>
                      <a:pt x="869720" y="3193"/>
                      <a:pt x="828763" y="336"/>
                    </a:cubicBezTo>
                    <a:cubicBezTo>
                      <a:pt x="788758" y="-2522"/>
                      <a:pt x="777328" y="12718"/>
                      <a:pt x="778280" y="51771"/>
                    </a:cubicBezTo>
                    <a:cubicBezTo>
                      <a:pt x="780185" y="237508"/>
                      <a:pt x="778280" y="424198"/>
                      <a:pt x="780185" y="609936"/>
                    </a:cubicBezTo>
                    <a:cubicBezTo>
                      <a:pt x="780185" y="651846"/>
                      <a:pt x="767803" y="666133"/>
                      <a:pt x="726845" y="664228"/>
                    </a:cubicBezTo>
                    <a:cubicBezTo>
                      <a:pt x="667790" y="661371"/>
                      <a:pt x="666838" y="663276"/>
                      <a:pt x="666838" y="603268"/>
                    </a:cubicBezTo>
                    <a:cubicBezTo>
                      <a:pt x="666838" y="418483"/>
                      <a:pt x="665885" y="233698"/>
                      <a:pt x="667790" y="49866"/>
                    </a:cubicBezTo>
                    <a:cubicBezTo>
                      <a:pt x="667790" y="12718"/>
                      <a:pt x="656360" y="-1569"/>
                      <a:pt x="619213" y="1288"/>
                    </a:cubicBezTo>
                    <a:cubicBezTo>
                      <a:pt x="583018" y="3193"/>
                      <a:pt x="546823" y="1288"/>
                      <a:pt x="510628" y="2241"/>
                    </a:cubicBezTo>
                    <a:cubicBezTo>
                      <a:pt x="448715" y="2241"/>
                      <a:pt x="448715" y="2241"/>
                      <a:pt x="448715" y="65106"/>
                    </a:cubicBezTo>
                    <a:cubicBezTo>
                      <a:pt x="448715" y="247986"/>
                      <a:pt x="448715" y="430866"/>
                      <a:pt x="447763" y="613746"/>
                    </a:cubicBezTo>
                    <a:cubicBezTo>
                      <a:pt x="447763" y="629938"/>
                      <a:pt x="441095" y="655656"/>
                      <a:pt x="430618" y="660418"/>
                    </a:cubicBezTo>
                    <a:cubicBezTo>
                      <a:pt x="376325" y="686136"/>
                      <a:pt x="336320" y="659466"/>
                      <a:pt x="336320" y="601363"/>
                    </a:cubicBezTo>
                    <a:cubicBezTo>
                      <a:pt x="336320" y="416578"/>
                      <a:pt x="335368" y="231793"/>
                      <a:pt x="337273" y="47961"/>
                    </a:cubicBezTo>
                    <a:cubicBezTo>
                      <a:pt x="337273" y="12718"/>
                      <a:pt x="325843" y="-617"/>
                      <a:pt x="290600" y="1288"/>
                    </a:cubicBezTo>
                    <a:cubicBezTo>
                      <a:pt x="249643" y="3193"/>
                      <a:pt x="208685" y="4146"/>
                      <a:pt x="167728" y="1288"/>
                    </a:cubicBezTo>
                    <a:cubicBezTo>
                      <a:pt x="127723" y="-1569"/>
                      <a:pt x="116293" y="13671"/>
                      <a:pt x="117245" y="52723"/>
                    </a:cubicBezTo>
                    <a:cubicBezTo>
                      <a:pt x="119150" y="235603"/>
                      <a:pt x="116293" y="418483"/>
                      <a:pt x="119150" y="601363"/>
                    </a:cubicBezTo>
                    <a:cubicBezTo>
                      <a:pt x="114388" y="646131"/>
                      <a:pt x="106768" y="670896"/>
                      <a:pt x="55333" y="665181"/>
                    </a:cubicBezTo>
                    <a:close/>
                  </a:path>
                </a:pathLst>
              </a:custGeom>
              <a:solidFill>
                <a:srgbClr val="FFFFFF"/>
              </a:solidFill>
              <a:ln w="9525" cap="flat">
                <a:noFill/>
                <a:prstDash val="solid"/>
                <a:miter/>
              </a:ln>
            </p:spPr>
            <p:txBody>
              <a:bodyPr rtlCol="0" anchor="ctr"/>
              <a:lstStyle/>
              <a:p>
                <a:pPr defTabSz="1219170"/>
                <a:endParaRPr lang="en-US" sz="1400">
                  <a:solidFill>
                    <a:srgbClr val="102B62"/>
                  </a:solidFill>
                  <a:latin typeface="Arial"/>
                </a:endParaRPr>
              </a:p>
            </p:txBody>
          </p:sp>
          <p:sp>
            <p:nvSpPr>
              <p:cNvPr id="349" name="Freeform: Shape 348">
                <a:extLst>
                  <a:ext uri="{FF2B5EF4-FFF2-40B4-BE49-F238E27FC236}">
                    <a16:creationId xmlns:a16="http://schemas.microsoft.com/office/drawing/2014/main" id="{C53B9AFE-F93E-449B-9CA0-6D7180B79638}"/>
                  </a:ext>
                </a:extLst>
              </p:cNvPr>
              <p:cNvSpPr/>
              <p:nvPr/>
            </p:nvSpPr>
            <p:spPr>
              <a:xfrm>
                <a:off x="4586287" y="2084069"/>
                <a:ext cx="30479" cy="60007"/>
              </a:xfrm>
              <a:custGeom>
                <a:avLst/>
                <a:gdLst>
                  <a:gd name="connsiteX0" fmla="*/ 30480 w 30479"/>
                  <a:gd name="connsiteY0" fmla="*/ 27623 h 60007"/>
                  <a:gd name="connsiteX1" fmla="*/ 23813 w 30479"/>
                  <a:gd name="connsiteY1" fmla="*/ 10478 h 60007"/>
                  <a:gd name="connsiteX2" fmla="*/ 5715 w 30479"/>
                  <a:gd name="connsiteY2" fmla="*/ 0 h 60007"/>
                  <a:gd name="connsiteX3" fmla="*/ 0 w 30479"/>
                  <a:gd name="connsiteY3" fmla="*/ 60007 h 60007"/>
                  <a:gd name="connsiteX4" fmla="*/ 30480 w 30479"/>
                  <a:gd name="connsiteY4" fmla="*/ 27623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60007">
                    <a:moveTo>
                      <a:pt x="30480" y="27623"/>
                    </a:moveTo>
                    <a:cubicBezTo>
                      <a:pt x="30480" y="20955"/>
                      <a:pt x="28575" y="15240"/>
                      <a:pt x="23813" y="10478"/>
                    </a:cubicBezTo>
                    <a:cubicBezTo>
                      <a:pt x="19050" y="6668"/>
                      <a:pt x="13335" y="2858"/>
                      <a:pt x="5715" y="0"/>
                    </a:cubicBezTo>
                    <a:lnTo>
                      <a:pt x="0" y="60007"/>
                    </a:lnTo>
                    <a:cubicBezTo>
                      <a:pt x="20002" y="57150"/>
                      <a:pt x="30480" y="45720"/>
                      <a:pt x="30480" y="27623"/>
                    </a:cubicBezTo>
                    <a:close/>
                  </a:path>
                </a:pathLst>
              </a:custGeom>
              <a:solidFill>
                <a:srgbClr val="FFFFFF"/>
              </a:solidFill>
              <a:ln w="9525" cap="flat">
                <a:noFill/>
                <a:prstDash val="solid"/>
                <a:miter/>
              </a:ln>
            </p:spPr>
            <p:txBody>
              <a:bodyPr rtlCol="0" anchor="ctr"/>
              <a:lstStyle/>
              <a:p>
                <a:pPr defTabSz="1219170"/>
                <a:endParaRPr lang="en-US" sz="1400">
                  <a:solidFill>
                    <a:srgbClr val="102B62"/>
                  </a:solidFill>
                  <a:latin typeface="Arial"/>
                </a:endParaRPr>
              </a:p>
            </p:txBody>
          </p:sp>
          <p:sp>
            <p:nvSpPr>
              <p:cNvPr id="350" name="Freeform: Shape 349">
                <a:extLst>
                  <a:ext uri="{FF2B5EF4-FFF2-40B4-BE49-F238E27FC236}">
                    <a16:creationId xmlns:a16="http://schemas.microsoft.com/office/drawing/2014/main" id="{FFBD5C88-AAD6-4DFA-A3E9-65F3DC5F4081}"/>
                  </a:ext>
                </a:extLst>
              </p:cNvPr>
              <p:cNvSpPr/>
              <p:nvPr/>
            </p:nvSpPr>
            <p:spPr>
              <a:xfrm>
                <a:off x="4538662" y="1966912"/>
                <a:ext cx="30479" cy="54292"/>
              </a:xfrm>
              <a:custGeom>
                <a:avLst/>
                <a:gdLst>
                  <a:gd name="connsiteX0" fmla="*/ 30480 w 30479"/>
                  <a:gd name="connsiteY0" fmla="*/ 0 h 54292"/>
                  <a:gd name="connsiteX1" fmla="*/ 16192 w 30479"/>
                  <a:gd name="connsiteY1" fmla="*/ 3810 h 54292"/>
                  <a:gd name="connsiteX2" fmla="*/ 6667 w 30479"/>
                  <a:gd name="connsiteY2" fmla="*/ 9525 h 54292"/>
                  <a:gd name="connsiteX3" fmla="*/ 1905 w 30479"/>
                  <a:gd name="connsiteY3" fmla="*/ 17145 h 54292"/>
                  <a:gd name="connsiteX4" fmla="*/ 0 w 30479"/>
                  <a:gd name="connsiteY4" fmla="*/ 25718 h 54292"/>
                  <a:gd name="connsiteX5" fmla="*/ 6667 w 30479"/>
                  <a:gd name="connsiteY5" fmla="*/ 42863 h 54292"/>
                  <a:gd name="connsiteX6" fmla="*/ 24765 w 30479"/>
                  <a:gd name="connsiteY6" fmla="*/ 54293 h 54292"/>
                  <a:gd name="connsiteX7" fmla="*/ 30480 w 30479"/>
                  <a:gd name="connsiteY7" fmla="*/ 0 h 54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79" h="54292">
                    <a:moveTo>
                      <a:pt x="30480" y="0"/>
                    </a:moveTo>
                    <a:cubicBezTo>
                      <a:pt x="24765" y="953"/>
                      <a:pt x="20002" y="1905"/>
                      <a:pt x="16192" y="3810"/>
                    </a:cubicBezTo>
                    <a:cubicBezTo>
                      <a:pt x="12383" y="5715"/>
                      <a:pt x="9525" y="7620"/>
                      <a:pt x="6667" y="9525"/>
                    </a:cubicBezTo>
                    <a:cubicBezTo>
                      <a:pt x="3810" y="11430"/>
                      <a:pt x="2858" y="14288"/>
                      <a:pt x="1905" y="17145"/>
                    </a:cubicBezTo>
                    <a:cubicBezTo>
                      <a:pt x="952" y="20003"/>
                      <a:pt x="0" y="22860"/>
                      <a:pt x="0" y="25718"/>
                    </a:cubicBezTo>
                    <a:cubicBezTo>
                      <a:pt x="0" y="33338"/>
                      <a:pt x="1905" y="39053"/>
                      <a:pt x="6667" y="42863"/>
                    </a:cubicBezTo>
                    <a:cubicBezTo>
                      <a:pt x="11430" y="47625"/>
                      <a:pt x="17145" y="51435"/>
                      <a:pt x="24765" y="54293"/>
                    </a:cubicBezTo>
                    <a:lnTo>
                      <a:pt x="30480" y="0"/>
                    </a:lnTo>
                    <a:close/>
                  </a:path>
                </a:pathLst>
              </a:custGeom>
              <a:solidFill>
                <a:srgbClr val="FFFFFF"/>
              </a:solidFill>
              <a:ln w="9525" cap="flat">
                <a:noFill/>
                <a:prstDash val="solid"/>
                <a:miter/>
              </a:ln>
            </p:spPr>
            <p:txBody>
              <a:bodyPr rtlCol="0" anchor="ctr"/>
              <a:lstStyle/>
              <a:p>
                <a:pPr defTabSz="1219170"/>
                <a:endParaRPr lang="en-US" sz="1400">
                  <a:solidFill>
                    <a:srgbClr val="102B62"/>
                  </a:solidFill>
                  <a:latin typeface="Arial"/>
                </a:endParaRPr>
              </a:p>
            </p:txBody>
          </p:sp>
          <p:sp>
            <p:nvSpPr>
              <p:cNvPr id="351" name="Freeform: Shape 350">
                <a:extLst>
                  <a:ext uri="{FF2B5EF4-FFF2-40B4-BE49-F238E27FC236}">
                    <a16:creationId xmlns:a16="http://schemas.microsoft.com/office/drawing/2014/main" id="{0E6F45D6-B392-457E-A626-A2A35EE9426D}"/>
                  </a:ext>
                </a:extLst>
              </p:cNvPr>
              <p:cNvSpPr/>
              <p:nvPr/>
            </p:nvSpPr>
            <p:spPr>
              <a:xfrm>
                <a:off x="3744085" y="1805208"/>
                <a:ext cx="1658491" cy="486505"/>
              </a:xfrm>
              <a:custGeom>
                <a:avLst/>
                <a:gdLst>
                  <a:gd name="connsiteX0" fmla="*/ 55437 w 1658491"/>
                  <a:gd name="connsiteY0" fmla="*/ 402686 h 486505"/>
                  <a:gd name="connsiteX1" fmla="*/ 104015 w 1658491"/>
                  <a:gd name="connsiteY1" fmla="*/ 405543 h 486505"/>
                  <a:gd name="connsiteX2" fmla="*/ 195455 w 1658491"/>
                  <a:gd name="connsiteY2" fmla="*/ 486506 h 486505"/>
                  <a:gd name="connsiteX3" fmla="*/ 1453707 w 1658491"/>
                  <a:gd name="connsiteY3" fmla="*/ 486506 h 486505"/>
                  <a:gd name="connsiteX4" fmla="*/ 1553720 w 1658491"/>
                  <a:gd name="connsiteY4" fmla="*/ 404591 h 486505"/>
                  <a:gd name="connsiteX5" fmla="*/ 1603250 w 1658491"/>
                  <a:gd name="connsiteY5" fmla="*/ 401733 h 486505"/>
                  <a:gd name="connsiteX6" fmla="*/ 1649922 w 1658491"/>
                  <a:gd name="connsiteY6" fmla="*/ 380778 h 486505"/>
                  <a:gd name="connsiteX7" fmla="*/ 1609917 w 1658491"/>
                  <a:gd name="connsiteY7" fmla="*/ 283623 h 486505"/>
                  <a:gd name="connsiteX8" fmla="*/ 875540 w 1658491"/>
                  <a:gd name="connsiteY8" fmla="*/ 7398 h 486505"/>
                  <a:gd name="connsiteX9" fmla="*/ 776480 w 1658491"/>
                  <a:gd name="connsiteY9" fmla="*/ 8351 h 486505"/>
                  <a:gd name="connsiteX10" fmla="*/ 413577 w 1658491"/>
                  <a:gd name="connsiteY10" fmla="*/ 144558 h 486505"/>
                  <a:gd name="connsiteX11" fmla="*/ 37340 w 1658491"/>
                  <a:gd name="connsiteY11" fmla="*/ 285528 h 486505"/>
                  <a:gd name="connsiteX12" fmla="*/ 2097 w 1658491"/>
                  <a:gd name="connsiteY12" fmla="*/ 370301 h 486505"/>
                  <a:gd name="connsiteX13" fmla="*/ 55437 w 1658491"/>
                  <a:gd name="connsiteY13" fmla="*/ 402686 h 486505"/>
                  <a:gd name="connsiteX14" fmla="*/ 788862 w 1658491"/>
                  <a:gd name="connsiteY14" fmla="*/ 260763 h 486505"/>
                  <a:gd name="connsiteX15" fmla="*/ 765050 w 1658491"/>
                  <a:gd name="connsiteY15" fmla="*/ 247428 h 486505"/>
                  <a:gd name="connsiteX16" fmla="*/ 747905 w 1658491"/>
                  <a:gd name="connsiteY16" fmla="*/ 226473 h 486505"/>
                  <a:gd name="connsiteX17" fmla="*/ 741237 w 1658491"/>
                  <a:gd name="connsiteY17" fmla="*/ 194088 h 486505"/>
                  <a:gd name="connsiteX18" fmla="*/ 746952 w 1658491"/>
                  <a:gd name="connsiteY18" fmla="*/ 165513 h 486505"/>
                  <a:gd name="connsiteX19" fmla="*/ 764097 w 1658491"/>
                  <a:gd name="connsiteY19" fmla="*/ 140748 h 486505"/>
                  <a:gd name="connsiteX20" fmla="*/ 791720 w 1658491"/>
                  <a:gd name="connsiteY20" fmla="*/ 122651 h 486505"/>
                  <a:gd name="connsiteX21" fmla="*/ 829820 w 1658491"/>
                  <a:gd name="connsiteY21" fmla="*/ 114078 h 486505"/>
                  <a:gd name="connsiteX22" fmla="*/ 831725 w 1658491"/>
                  <a:gd name="connsiteY22" fmla="*/ 94076 h 486505"/>
                  <a:gd name="connsiteX23" fmla="*/ 836487 w 1658491"/>
                  <a:gd name="connsiteY23" fmla="*/ 84551 h 486505"/>
                  <a:gd name="connsiteX24" fmla="*/ 846965 w 1658491"/>
                  <a:gd name="connsiteY24" fmla="*/ 80741 h 486505"/>
                  <a:gd name="connsiteX25" fmla="*/ 867920 w 1658491"/>
                  <a:gd name="connsiteY25" fmla="*/ 80741 h 486505"/>
                  <a:gd name="connsiteX26" fmla="*/ 864110 w 1658491"/>
                  <a:gd name="connsiteY26" fmla="*/ 116936 h 486505"/>
                  <a:gd name="connsiteX27" fmla="*/ 898400 w 1658491"/>
                  <a:gd name="connsiteY27" fmla="*/ 128366 h 486505"/>
                  <a:gd name="connsiteX28" fmla="*/ 922212 w 1658491"/>
                  <a:gd name="connsiteY28" fmla="*/ 145511 h 486505"/>
                  <a:gd name="connsiteX29" fmla="*/ 907925 w 1658491"/>
                  <a:gd name="connsiteY29" fmla="*/ 165513 h 486505"/>
                  <a:gd name="connsiteX30" fmla="*/ 901257 w 1658491"/>
                  <a:gd name="connsiteY30" fmla="*/ 172181 h 486505"/>
                  <a:gd name="connsiteX31" fmla="*/ 893637 w 1658491"/>
                  <a:gd name="connsiteY31" fmla="*/ 174086 h 486505"/>
                  <a:gd name="connsiteX32" fmla="*/ 886970 w 1658491"/>
                  <a:gd name="connsiteY32" fmla="*/ 173133 h 486505"/>
                  <a:gd name="connsiteX33" fmla="*/ 878397 w 1658491"/>
                  <a:gd name="connsiteY33" fmla="*/ 170276 h 486505"/>
                  <a:gd name="connsiteX34" fmla="*/ 868872 w 1658491"/>
                  <a:gd name="connsiteY34" fmla="*/ 166466 h 486505"/>
                  <a:gd name="connsiteX35" fmla="*/ 858395 w 1658491"/>
                  <a:gd name="connsiteY35" fmla="*/ 162656 h 486505"/>
                  <a:gd name="connsiteX36" fmla="*/ 851727 w 1658491"/>
                  <a:gd name="connsiteY36" fmla="*/ 227426 h 486505"/>
                  <a:gd name="connsiteX37" fmla="*/ 868872 w 1658491"/>
                  <a:gd name="connsiteY37" fmla="*/ 233141 h 486505"/>
                  <a:gd name="connsiteX38" fmla="*/ 886017 w 1658491"/>
                  <a:gd name="connsiteY38" fmla="*/ 239808 h 486505"/>
                  <a:gd name="connsiteX39" fmla="*/ 901257 w 1658491"/>
                  <a:gd name="connsiteY39" fmla="*/ 248381 h 486505"/>
                  <a:gd name="connsiteX40" fmla="*/ 913640 w 1658491"/>
                  <a:gd name="connsiteY40" fmla="*/ 260763 h 486505"/>
                  <a:gd name="connsiteX41" fmla="*/ 922212 w 1658491"/>
                  <a:gd name="connsiteY41" fmla="*/ 276956 h 486505"/>
                  <a:gd name="connsiteX42" fmla="*/ 925070 w 1658491"/>
                  <a:gd name="connsiteY42" fmla="*/ 297911 h 486505"/>
                  <a:gd name="connsiteX43" fmla="*/ 919355 w 1658491"/>
                  <a:gd name="connsiteY43" fmla="*/ 330296 h 486505"/>
                  <a:gd name="connsiteX44" fmla="*/ 902210 w 1658491"/>
                  <a:gd name="connsiteY44" fmla="*/ 356966 h 486505"/>
                  <a:gd name="connsiteX45" fmla="*/ 874587 w 1658491"/>
                  <a:gd name="connsiteY45" fmla="*/ 376016 h 486505"/>
                  <a:gd name="connsiteX46" fmla="*/ 836487 w 1658491"/>
                  <a:gd name="connsiteY46" fmla="*/ 384588 h 486505"/>
                  <a:gd name="connsiteX47" fmla="*/ 834582 w 1658491"/>
                  <a:gd name="connsiteY47" fmla="*/ 407448 h 486505"/>
                  <a:gd name="connsiteX48" fmla="*/ 829820 w 1658491"/>
                  <a:gd name="connsiteY48" fmla="*/ 416973 h 486505"/>
                  <a:gd name="connsiteX49" fmla="*/ 819342 w 1658491"/>
                  <a:gd name="connsiteY49" fmla="*/ 420783 h 486505"/>
                  <a:gd name="connsiteX50" fmla="*/ 799340 w 1658491"/>
                  <a:gd name="connsiteY50" fmla="*/ 420783 h 486505"/>
                  <a:gd name="connsiteX51" fmla="*/ 803150 w 1658491"/>
                  <a:gd name="connsiteY51" fmla="*/ 382683 h 486505"/>
                  <a:gd name="connsiteX52" fmla="*/ 763145 w 1658491"/>
                  <a:gd name="connsiteY52" fmla="*/ 370301 h 486505"/>
                  <a:gd name="connsiteX53" fmla="*/ 730760 w 1658491"/>
                  <a:gd name="connsiteY53" fmla="*/ 349346 h 486505"/>
                  <a:gd name="connsiteX54" fmla="*/ 747905 w 1658491"/>
                  <a:gd name="connsiteY54" fmla="*/ 323628 h 486505"/>
                  <a:gd name="connsiteX55" fmla="*/ 753620 w 1658491"/>
                  <a:gd name="connsiteY55" fmla="*/ 318866 h 486505"/>
                  <a:gd name="connsiteX56" fmla="*/ 761240 w 1658491"/>
                  <a:gd name="connsiteY56" fmla="*/ 316961 h 486505"/>
                  <a:gd name="connsiteX57" fmla="*/ 769812 w 1658491"/>
                  <a:gd name="connsiteY57" fmla="*/ 318866 h 486505"/>
                  <a:gd name="connsiteX58" fmla="*/ 779337 w 1658491"/>
                  <a:gd name="connsiteY58" fmla="*/ 324581 h 486505"/>
                  <a:gd name="connsiteX59" fmla="*/ 790767 w 1658491"/>
                  <a:gd name="connsiteY59" fmla="*/ 331248 h 486505"/>
                  <a:gd name="connsiteX60" fmla="*/ 805055 w 1658491"/>
                  <a:gd name="connsiteY60" fmla="*/ 336963 h 486505"/>
                  <a:gd name="connsiteX61" fmla="*/ 811722 w 1658491"/>
                  <a:gd name="connsiteY61" fmla="*/ 268383 h 486505"/>
                  <a:gd name="connsiteX62" fmla="*/ 788862 w 1658491"/>
                  <a:gd name="connsiteY62" fmla="*/ 260763 h 486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658491" h="486505">
                    <a:moveTo>
                      <a:pt x="55437" y="402686"/>
                    </a:moveTo>
                    <a:cubicBezTo>
                      <a:pt x="71630" y="403638"/>
                      <a:pt x="88775" y="404591"/>
                      <a:pt x="104015" y="405543"/>
                    </a:cubicBezTo>
                    <a:cubicBezTo>
                      <a:pt x="115445" y="483648"/>
                      <a:pt x="118302" y="486506"/>
                      <a:pt x="195455" y="486506"/>
                    </a:cubicBezTo>
                    <a:cubicBezTo>
                      <a:pt x="614555" y="486506"/>
                      <a:pt x="1034607" y="486506"/>
                      <a:pt x="1453707" y="486506"/>
                    </a:cubicBezTo>
                    <a:cubicBezTo>
                      <a:pt x="1536575" y="486506"/>
                      <a:pt x="1536575" y="486506"/>
                      <a:pt x="1553720" y="404591"/>
                    </a:cubicBezTo>
                    <a:cubicBezTo>
                      <a:pt x="1569912" y="403638"/>
                      <a:pt x="1587057" y="405543"/>
                      <a:pt x="1603250" y="401733"/>
                    </a:cubicBezTo>
                    <a:cubicBezTo>
                      <a:pt x="1619442" y="397923"/>
                      <a:pt x="1643255" y="393161"/>
                      <a:pt x="1649922" y="380778"/>
                    </a:cubicBezTo>
                    <a:cubicBezTo>
                      <a:pt x="1670877" y="341726"/>
                      <a:pt x="1651827" y="299816"/>
                      <a:pt x="1609917" y="283623"/>
                    </a:cubicBezTo>
                    <a:cubicBezTo>
                      <a:pt x="1365125" y="191231"/>
                      <a:pt x="1121285" y="96933"/>
                      <a:pt x="875540" y="7398"/>
                    </a:cubicBezTo>
                    <a:cubicBezTo>
                      <a:pt x="846012" y="-3079"/>
                      <a:pt x="806960" y="-2127"/>
                      <a:pt x="776480" y="8351"/>
                    </a:cubicBezTo>
                    <a:cubicBezTo>
                      <a:pt x="654560" y="50261"/>
                      <a:pt x="534545" y="98838"/>
                      <a:pt x="413577" y="144558"/>
                    </a:cubicBezTo>
                    <a:cubicBezTo>
                      <a:pt x="288800" y="192183"/>
                      <a:pt x="164022" y="241713"/>
                      <a:pt x="37340" y="285528"/>
                    </a:cubicBezTo>
                    <a:cubicBezTo>
                      <a:pt x="-11238" y="302673"/>
                      <a:pt x="1145" y="337916"/>
                      <a:pt x="2097" y="370301"/>
                    </a:cubicBezTo>
                    <a:cubicBezTo>
                      <a:pt x="4002" y="405543"/>
                      <a:pt x="31625" y="401733"/>
                      <a:pt x="55437" y="402686"/>
                    </a:cubicBezTo>
                    <a:close/>
                    <a:moveTo>
                      <a:pt x="788862" y="260763"/>
                    </a:moveTo>
                    <a:cubicBezTo>
                      <a:pt x="780290" y="257906"/>
                      <a:pt x="772670" y="253143"/>
                      <a:pt x="765050" y="247428"/>
                    </a:cubicBezTo>
                    <a:cubicBezTo>
                      <a:pt x="758382" y="241713"/>
                      <a:pt x="752667" y="235046"/>
                      <a:pt x="747905" y="226473"/>
                    </a:cubicBezTo>
                    <a:cubicBezTo>
                      <a:pt x="743142" y="217901"/>
                      <a:pt x="741237" y="207423"/>
                      <a:pt x="741237" y="194088"/>
                    </a:cubicBezTo>
                    <a:cubicBezTo>
                      <a:pt x="741237" y="184563"/>
                      <a:pt x="743142" y="175038"/>
                      <a:pt x="746952" y="165513"/>
                    </a:cubicBezTo>
                    <a:cubicBezTo>
                      <a:pt x="750762" y="155988"/>
                      <a:pt x="756477" y="148368"/>
                      <a:pt x="764097" y="140748"/>
                    </a:cubicBezTo>
                    <a:cubicBezTo>
                      <a:pt x="771717" y="133128"/>
                      <a:pt x="781242" y="127413"/>
                      <a:pt x="791720" y="122651"/>
                    </a:cubicBezTo>
                    <a:cubicBezTo>
                      <a:pt x="803150" y="117888"/>
                      <a:pt x="815532" y="115031"/>
                      <a:pt x="829820" y="114078"/>
                    </a:cubicBezTo>
                    <a:lnTo>
                      <a:pt x="831725" y="94076"/>
                    </a:lnTo>
                    <a:cubicBezTo>
                      <a:pt x="831725" y="90266"/>
                      <a:pt x="833630" y="87408"/>
                      <a:pt x="836487" y="84551"/>
                    </a:cubicBezTo>
                    <a:cubicBezTo>
                      <a:pt x="839345" y="81693"/>
                      <a:pt x="843155" y="80741"/>
                      <a:pt x="846965" y="80741"/>
                    </a:cubicBezTo>
                    <a:lnTo>
                      <a:pt x="867920" y="80741"/>
                    </a:lnTo>
                    <a:lnTo>
                      <a:pt x="864110" y="116936"/>
                    </a:lnTo>
                    <a:cubicBezTo>
                      <a:pt x="877445" y="119793"/>
                      <a:pt x="888875" y="123603"/>
                      <a:pt x="898400" y="128366"/>
                    </a:cubicBezTo>
                    <a:cubicBezTo>
                      <a:pt x="907925" y="134081"/>
                      <a:pt x="915545" y="139796"/>
                      <a:pt x="922212" y="145511"/>
                    </a:cubicBezTo>
                    <a:lnTo>
                      <a:pt x="907925" y="165513"/>
                    </a:lnTo>
                    <a:cubicBezTo>
                      <a:pt x="906020" y="168371"/>
                      <a:pt x="904115" y="171228"/>
                      <a:pt x="901257" y="172181"/>
                    </a:cubicBezTo>
                    <a:cubicBezTo>
                      <a:pt x="899352" y="173133"/>
                      <a:pt x="896495" y="174086"/>
                      <a:pt x="893637" y="174086"/>
                    </a:cubicBezTo>
                    <a:cubicBezTo>
                      <a:pt x="891732" y="174086"/>
                      <a:pt x="889827" y="174086"/>
                      <a:pt x="886970" y="173133"/>
                    </a:cubicBezTo>
                    <a:cubicBezTo>
                      <a:pt x="884112" y="172181"/>
                      <a:pt x="882207" y="171228"/>
                      <a:pt x="878397" y="170276"/>
                    </a:cubicBezTo>
                    <a:cubicBezTo>
                      <a:pt x="875540" y="169323"/>
                      <a:pt x="872682" y="167418"/>
                      <a:pt x="868872" y="166466"/>
                    </a:cubicBezTo>
                    <a:cubicBezTo>
                      <a:pt x="865062" y="165513"/>
                      <a:pt x="862205" y="163608"/>
                      <a:pt x="858395" y="162656"/>
                    </a:cubicBezTo>
                    <a:lnTo>
                      <a:pt x="851727" y="227426"/>
                    </a:lnTo>
                    <a:cubicBezTo>
                      <a:pt x="857442" y="229331"/>
                      <a:pt x="863157" y="231236"/>
                      <a:pt x="868872" y="233141"/>
                    </a:cubicBezTo>
                    <a:cubicBezTo>
                      <a:pt x="874587" y="235046"/>
                      <a:pt x="880302" y="237903"/>
                      <a:pt x="886017" y="239808"/>
                    </a:cubicBezTo>
                    <a:cubicBezTo>
                      <a:pt x="891732" y="242666"/>
                      <a:pt x="896495" y="245523"/>
                      <a:pt x="901257" y="248381"/>
                    </a:cubicBezTo>
                    <a:cubicBezTo>
                      <a:pt x="906020" y="252191"/>
                      <a:pt x="909830" y="256001"/>
                      <a:pt x="913640" y="260763"/>
                    </a:cubicBezTo>
                    <a:cubicBezTo>
                      <a:pt x="917450" y="265526"/>
                      <a:pt x="919355" y="270288"/>
                      <a:pt x="922212" y="276956"/>
                    </a:cubicBezTo>
                    <a:cubicBezTo>
                      <a:pt x="924117" y="282671"/>
                      <a:pt x="925070" y="289338"/>
                      <a:pt x="925070" y="297911"/>
                    </a:cubicBezTo>
                    <a:cubicBezTo>
                      <a:pt x="925070" y="309341"/>
                      <a:pt x="923165" y="320771"/>
                      <a:pt x="919355" y="330296"/>
                    </a:cubicBezTo>
                    <a:cubicBezTo>
                      <a:pt x="915545" y="340773"/>
                      <a:pt x="909830" y="349346"/>
                      <a:pt x="902210" y="356966"/>
                    </a:cubicBezTo>
                    <a:cubicBezTo>
                      <a:pt x="894590" y="364586"/>
                      <a:pt x="885065" y="371253"/>
                      <a:pt x="874587" y="376016"/>
                    </a:cubicBezTo>
                    <a:cubicBezTo>
                      <a:pt x="863157" y="380778"/>
                      <a:pt x="850775" y="383636"/>
                      <a:pt x="836487" y="384588"/>
                    </a:cubicBezTo>
                    <a:lnTo>
                      <a:pt x="834582" y="407448"/>
                    </a:lnTo>
                    <a:cubicBezTo>
                      <a:pt x="834582" y="411258"/>
                      <a:pt x="832677" y="414116"/>
                      <a:pt x="829820" y="416973"/>
                    </a:cubicBezTo>
                    <a:cubicBezTo>
                      <a:pt x="826962" y="419831"/>
                      <a:pt x="823152" y="420783"/>
                      <a:pt x="819342" y="420783"/>
                    </a:cubicBezTo>
                    <a:lnTo>
                      <a:pt x="799340" y="420783"/>
                    </a:lnTo>
                    <a:lnTo>
                      <a:pt x="803150" y="382683"/>
                    </a:lnTo>
                    <a:cubicBezTo>
                      <a:pt x="788862" y="380778"/>
                      <a:pt x="775527" y="376016"/>
                      <a:pt x="763145" y="370301"/>
                    </a:cubicBezTo>
                    <a:cubicBezTo>
                      <a:pt x="750762" y="364586"/>
                      <a:pt x="739332" y="357918"/>
                      <a:pt x="730760" y="349346"/>
                    </a:cubicBezTo>
                    <a:lnTo>
                      <a:pt x="747905" y="323628"/>
                    </a:lnTo>
                    <a:cubicBezTo>
                      <a:pt x="749810" y="321723"/>
                      <a:pt x="751715" y="319818"/>
                      <a:pt x="753620" y="318866"/>
                    </a:cubicBezTo>
                    <a:cubicBezTo>
                      <a:pt x="756477" y="317913"/>
                      <a:pt x="758382" y="316961"/>
                      <a:pt x="761240" y="316961"/>
                    </a:cubicBezTo>
                    <a:cubicBezTo>
                      <a:pt x="764097" y="316961"/>
                      <a:pt x="766955" y="317913"/>
                      <a:pt x="769812" y="318866"/>
                    </a:cubicBezTo>
                    <a:cubicBezTo>
                      <a:pt x="772670" y="320771"/>
                      <a:pt x="776480" y="322676"/>
                      <a:pt x="779337" y="324581"/>
                    </a:cubicBezTo>
                    <a:cubicBezTo>
                      <a:pt x="783147" y="326486"/>
                      <a:pt x="786957" y="329343"/>
                      <a:pt x="790767" y="331248"/>
                    </a:cubicBezTo>
                    <a:cubicBezTo>
                      <a:pt x="795530" y="333153"/>
                      <a:pt x="800292" y="335058"/>
                      <a:pt x="805055" y="336963"/>
                    </a:cubicBezTo>
                    <a:lnTo>
                      <a:pt x="811722" y="268383"/>
                    </a:lnTo>
                    <a:cubicBezTo>
                      <a:pt x="806007" y="266478"/>
                      <a:pt x="797435" y="263621"/>
                      <a:pt x="788862" y="260763"/>
                    </a:cubicBezTo>
                    <a:close/>
                  </a:path>
                </a:pathLst>
              </a:custGeom>
              <a:solidFill>
                <a:srgbClr val="FFFFFF"/>
              </a:solidFill>
              <a:ln w="9525" cap="flat">
                <a:noFill/>
                <a:prstDash val="solid"/>
                <a:miter/>
              </a:ln>
            </p:spPr>
            <p:txBody>
              <a:bodyPr rtlCol="0" anchor="ctr"/>
              <a:lstStyle/>
              <a:p>
                <a:pPr defTabSz="1219170"/>
                <a:endParaRPr lang="en-US" sz="1400">
                  <a:solidFill>
                    <a:srgbClr val="102B62"/>
                  </a:solidFill>
                  <a:latin typeface="Arial"/>
                </a:endParaRPr>
              </a:p>
            </p:txBody>
          </p:sp>
          <p:sp>
            <p:nvSpPr>
              <p:cNvPr id="352" name="Freeform: Shape 351">
                <a:extLst>
                  <a:ext uri="{FF2B5EF4-FFF2-40B4-BE49-F238E27FC236}">
                    <a16:creationId xmlns:a16="http://schemas.microsoft.com/office/drawing/2014/main" id="{7210CD40-55A5-41C2-AA9F-4D508B2D1EA0}"/>
                  </a:ext>
                </a:extLst>
              </p:cNvPr>
              <p:cNvSpPr/>
              <p:nvPr/>
            </p:nvSpPr>
            <p:spPr>
              <a:xfrm>
                <a:off x="3742861" y="3173729"/>
                <a:ext cx="1656008" cy="168321"/>
              </a:xfrm>
              <a:custGeom>
                <a:avLst/>
                <a:gdLst>
                  <a:gd name="connsiteX0" fmla="*/ 1543513 w 1656008"/>
                  <a:gd name="connsiteY0" fmla="*/ 0 h 168321"/>
                  <a:gd name="connsiteX1" fmla="*/ 113811 w 1656008"/>
                  <a:gd name="connsiteY1" fmla="*/ 0 h 168321"/>
                  <a:gd name="connsiteX2" fmla="*/ 62376 w 1656008"/>
                  <a:gd name="connsiteY2" fmla="*/ 3810 h 168321"/>
                  <a:gd name="connsiteX3" fmla="*/ 2368 w 1656008"/>
                  <a:gd name="connsiteY3" fmla="*/ 130492 h 168321"/>
                  <a:gd name="connsiteX4" fmla="*/ 75711 w 1656008"/>
                  <a:gd name="connsiteY4" fmla="*/ 166688 h 168321"/>
                  <a:gd name="connsiteX5" fmla="*/ 823423 w 1656008"/>
                  <a:gd name="connsiteY5" fmla="*/ 167640 h 168321"/>
                  <a:gd name="connsiteX6" fmla="*/ 1386351 w 1656008"/>
                  <a:gd name="connsiteY6" fmla="*/ 167640 h 168321"/>
                  <a:gd name="connsiteX7" fmla="*/ 1604473 w 1656008"/>
                  <a:gd name="connsiteY7" fmla="*/ 167640 h 168321"/>
                  <a:gd name="connsiteX8" fmla="*/ 1655908 w 1656008"/>
                  <a:gd name="connsiteY8" fmla="*/ 117158 h 168321"/>
                  <a:gd name="connsiteX9" fmla="*/ 1543513 w 1656008"/>
                  <a:gd name="connsiteY9" fmla="*/ 0 h 168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56008" h="168321">
                    <a:moveTo>
                      <a:pt x="1543513" y="0"/>
                    </a:moveTo>
                    <a:cubicBezTo>
                      <a:pt x="1067263" y="0"/>
                      <a:pt x="591013" y="0"/>
                      <a:pt x="113811" y="0"/>
                    </a:cubicBezTo>
                    <a:cubicBezTo>
                      <a:pt x="96666" y="0"/>
                      <a:pt x="78568" y="0"/>
                      <a:pt x="62376" y="3810"/>
                    </a:cubicBezTo>
                    <a:cubicBezTo>
                      <a:pt x="11893" y="16192"/>
                      <a:pt x="-7157" y="59055"/>
                      <a:pt x="2368" y="130492"/>
                    </a:cubicBezTo>
                    <a:cubicBezTo>
                      <a:pt x="9036" y="180023"/>
                      <a:pt x="47136" y="166688"/>
                      <a:pt x="75711" y="166688"/>
                    </a:cubicBezTo>
                    <a:cubicBezTo>
                      <a:pt x="325266" y="167640"/>
                      <a:pt x="573868" y="167640"/>
                      <a:pt x="823423" y="167640"/>
                    </a:cubicBezTo>
                    <a:cubicBezTo>
                      <a:pt x="1011066" y="167640"/>
                      <a:pt x="1198708" y="167640"/>
                      <a:pt x="1386351" y="167640"/>
                    </a:cubicBezTo>
                    <a:cubicBezTo>
                      <a:pt x="1458741" y="167640"/>
                      <a:pt x="1531131" y="166688"/>
                      <a:pt x="1604473" y="167640"/>
                    </a:cubicBezTo>
                    <a:cubicBezTo>
                      <a:pt x="1639716" y="167640"/>
                      <a:pt x="1654956" y="154305"/>
                      <a:pt x="1655908" y="117158"/>
                    </a:cubicBezTo>
                    <a:cubicBezTo>
                      <a:pt x="1657813" y="26670"/>
                      <a:pt x="1633048" y="0"/>
                      <a:pt x="1543513" y="0"/>
                    </a:cubicBezTo>
                    <a:close/>
                  </a:path>
                </a:pathLst>
              </a:custGeom>
              <a:solidFill>
                <a:srgbClr val="FFFFFF"/>
              </a:solidFill>
              <a:ln w="9525" cap="flat">
                <a:noFill/>
                <a:prstDash val="solid"/>
                <a:miter/>
              </a:ln>
            </p:spPr>
            <p:txBody>
              <a:bodyPr rtlCol="0" anchor="ctr"/>
              <a:lstStyle/>
              <a:p>
                <a:pPr defTabSz="1219170"/>
                <a:endParaRPr lang="en-US" sz="1400">
                  <a:solidFill>
                    <a:srgbClr val="102B62"/>
                  </a:solidFill>
                  <a:latin typeface="Arial"/>
                </a:endParaRPr>
              </a:p>
            </p:txBody>
          </p:sp>
        </p:grpSp>
      </p:grpSp>
      <p:sp>
        <p:nvSpPr>
          <p:cNvPr id="169" name="TextBox 168">
            <a:extLst>
              <a:ext uri="{FF2B5EF4-FFF2-40B4-BE49-F238E27FC236}">
                <a16:creationId xmlns:a16="http://schemas.microsoft.com/office/drawing/2014/main" id="{73D99B6D-B1C6-40A8-8929-7B5E5D1CADFC}"/>
              </a:ext>
            </a:extLst>
          </p:cNvPr>
          <p:cNvSpPr txBox="1"/>
          <p:nvPr/>
        </p:nvSpPr>
        <p:spPr>
          <a:xfrm>
            <a:off x="4841486" y="5386239"/>
            <a:ext cx="2977253" cy="1169551"/>
          </a:xfrm>
          <a:prstGeom prst="rect">
            <a:avLst/>
          </a:prstGeom>
          <a:noFill/>
        </p:spPr>
        <p:txBody>
          <a:bodyPr wrap="square" rtlCol="0">
            <a:spAutoFit/>
          </a:bodyPr>
          <a:lstStyle/>
          <a:p>
            <a:pPr defTabSz="1219170">
              <a:defRPr/>
            </a:pPr>
            <a:r>
              <a:rPr lang="en-US" sz="1400" b="1" dirty="0">
                <a:solidFill>
                  <a:srgbClr val="680000"/>
                </a:solidFill>
                <a:latin typeface="Arial"/>
              </a:rPr>
              <a:t>Redundancy</a:t>
            </a:r>
          </a:p>
          <a:p>
            <a:pPr marL="152396" indent="-152396" defTabSz="1219170">
              <a:buFont typeface="Arial" panose="020B0604020202020204" pitchFamily="34" charset="0"/>
              <a:buChar char="•"/>
              <a:defRPr/>
            </a:pPr>
            <a:r>
              <a:rPr lang="en-US" sz="1400" dirty="0">
                <a:solidFill>
                  <a:srgbClr val="000000"/>
                </a:solidFill>
                <a:latin typeface="Arial"/>
              </a:rPr>
              <a:t>Take multiple products through large scale clinical trials</a:t>
            </a:r>
          </a:p>
          <a:p>
            <a:pPr marL="152396" indent="-152396" defTabSz="1219170">
              <a:buFont typeface="Arial" panose="020B0604020202020204" pitchFamily="34" charset="0"/>
              <a:buChar char="•"/>
              <a:defRPr/>
            </a:pPr>
            <a:r>
              <a:rPr lang="en-US" sz="1400" dirty="0">
                <a:solidFill>
                  <a:srgbClr val="000000"/>
                </a:solidFill>
                <a:latin typeface="Arial"/>
              </a:rPr>
              <a:t>Multiple manufacturing facilities for each product</a:t>
            </a:r>
          </a:p>
        </p:txBody>
      </p:sp>
      <p:grpSp>
        <p:nvGrpSpPr>
          <p:cNvPr id="16" name="Group 15">
            <a:extLst>
              <a:ext uri="{FF2B5EF4-FFF2-40B4-BE49-F238E27FC236}">
                <a16:creationId xmlns:a16="http://schemas.microsoft.com/office/drawing/2014/main" id="{A90295DC-E67C-457E-BE58-997BF31D14E1}"/>
              </a:ext>
            </a:extLst>
          </p:cNvPr>
          <p:cNvGrpSpPr/>
          <p:nvPr/>
        </p:nvGrpSpPr>
        <p:grpSpPr>
          <a:xfrm>
            <a:off x="4219619" y="5386239"/>
            <a:ext cx="613916" cy="613916"/>
            <a:chOff x="3460070" y="3598150"/>
            <a:chExt cx="460437" cy="460437"/>
          </a:xfrm>
        </p:grpSpPr>
        <p:sp>
          <p:nvSpPr>
            <p:cNvPr id="175" name="Oval 174">
              <a:extLst>
                <a:ext uri="{FF2B5EF4-FFF2-40B4-BE49-F238E27FC236}">
                  <a16:creationId xmlns:a16="http://schemas.microsoft.com/office/drawing/2014/main" id="{C1FA3522-503D-4DED-9EB1-AC1181022665}"/>
                </a:ext>
              </a:extLst>
            </p:cNvPr>
            <p:cNvSpPr/>
            <p:nvPr/>
          </p:nvSpPr>
          <p:spPr>
            <a:xfrm>
              <a:off x="3460070" y="3598150"/>
              <a:ext cx="460437" cy="460437"/>
            </a:xfrm>
            <a:prstGeom prst="ellipse">
              <a:avLst/>
            </a:prstGeom>
            <a:gradFill>
              <a:gsLst>
                <a:gs pos="0">
                  <a:srgbClr val="680000"/>
                </a:gs>
                <a:gs pos="100000">
                  <a:schemeClr val="accent4">
                    <a:lumMod val="50000"/>
                  </a:schemeClr>
                </a:gs>
              </a:gsLst>
            </a:gradFill>
            <a:ln>
              <a:noFill/>
            </a:ln>
            <a:effectLst/>
          </p:spPr>
          <p:style>
            <a:lnRef idx="1">
              <a:schemeClr val="dk1"/>
            </a:lnRef>
            <a:fillRef idx="3">
              <a:schemeClr val="dk1"/>
            </a:fillRef>
            <a:effectRef idx="2">
              <a:schemeClr val="dk1"/>
            </a:effectRef>
            <a:fontRef idx="minor">
              <a:schemeClr val="lt1"/>
            </a:fontRef>
          </p:style>
          <p:txBody>
            <a:bodyPr rtlCol="0" anchor="ctr"/>
            <a:lstStyle/>
            <a:p>
              <a:pPr algn="ctr" defTabSz="1219170"/>
              <a:endParaRPr lang="en-US" sz="1400" dirty="0">
                <a:solidFill>
                  <a:prstClr val="white"/>
                </a:solidFill>
                <a:latin typeface="Arial"/>
              </a:endParaRPr>
            </a:p>
          </p:txBody>
        </p:sp>
        <p:grpSp>
          <p:nvGrpSpPr>
            <p:cNvPr id="353" name="Graphic 46">
              <a:extLst>
                <a:ext uri="{FF2B5EF4-FFF2-40B4-BE49-F238E27FC236}">
                  <a16:creationId xmlns:a16="http://schemas.microsoft.com/office/drawing/2014/main" id="{9A0033D7-AD24-49EA-9347-F9C77B7AFCBF}"/>
                </a:ext>
              </a:extLst>
            </p:cNvPr>
            <p:cNvGrpSpPr>
              <a:grpSpLocks noChangeAspect="1"/>
            </p:cNvGrpSpPr>
            <p:nvPr/>
          </p:nvGrpSpPr>
          <p:grpSpPr>
            <a:xfrm>
              <a:off x="3557751" y="3705913"/>
              <a:ext cx="264795" cy="245193"/>
              <a:chOff x="3742861" y="1805208"/>
              <a:chExt cx="1659715" cy="1536841"/>
            </a:xfrm>
            <a:solidFill>
              <a:srgbClr val="FFFFFF"/>
            </a:solidFill>
          </p:grpSpPr>
          <p:sp>
            <p:nvSpPr>
              <p:cNvPr id="354" name="Freeform: Shape 353">
                <a:extLst>
                  <a:ext uri="{FF2B5EF4-FFF2-40B4-BE49-F238E27FC236}">
                    <a16:creationId xmlns:a16="http://schemas.microsoft.com/office/drawing/2014/main" id="{34AAF0B7-AC1E-43DD-8DE6-3C0665000B4A}"/>
                  </a:ext>
                </a:extLst>
              </p:cNvPr>
              <p:cNvSpPr/>
              <p:nvPr/>
            </p:nvSpPr>
            <p:spPr>
              <a:xfrm>
                <a:off x="3851822" y="2344718"/>
                <a:ext cx="1440357" cy="773142"/>
              </a:xfrm>
              <a:custGeom>
                <a:avLst/>
                <a:gdLst>
                  <a:gd name="connsiteX0" fmla="*/ 55333 w 1440357"/>
                  <a:gd name="connsiteY0" fmla="*/ 665181 h 773142"/>
                  <a:gd name="connsiteX1" fmla="*/ 88 w 1440357"/>
                  <a:gd name="connsiteY1" fmla="*/ 732808 h 773142"/>
                  <a:gd name="connsiteX2" fmla="*/ 56285 w 1440357"/>
                  <a:gd name="connsiteY2" fmla="*/ 772813 h 773142"/>
                  <a:gd name="connsiteX3" fmla="*/ 719225 w 1440357"/>
                  <a:gd name="connsiteY3" fmla="*/ 772813 h 773142"/>
                  <a:gd name="connsiteX4" fmla="*/ 1386928 w 1440357"/>
                  <a:gd name="connsiteY4" fmla="*/ 772813 h 773142"/>
                  <a:gd name="connsiteX5" fmla="*/ 1440268 w 1440357"/>
                  <a:gd name="connsiteY5" fmla="*/ 734713 h 773142"/>
                  <a:gd name="connsiteX6" fmla="*/ 1386928 w 1440357"/>
                  <a:gd name="connsiteY6" fmla="*/ 665181 h 773142"/>
                  <a:gd name="connsiteX7" fmla="*/ 1325968 w 1440357"/>
                  <a:gd name="connsiteY7" fmla="*/ 598506 h 773142"/>
                  <a:gd name="connsiteX8" fmla="*/ 1327873 w 1440357"/>
                  <a:gd name="connsiteY8" fmla="*/ 49866 h 773142"/>
                  <a:gd name="connsiteX9" fmla="*/ 1279295 w 1440357"/>
                  <a:gd name="connsiteY9" fmla="*/ 1288 h 773142"/>
                  <a:gd name="connsiteX10" fmla="*/ 1170710 w 1440357"/>
                  <a:gd name="connsiteY10" fmla="*/ 1288 h 773142"/>
                  <a:gd name="connsiteX11" fmla="*/ 1108798 w 1440357"/>
                  <a:gd name="connsiteY11" fmla="*/ 64153 h 773142"/>
                  <a:gd name="connsiteX12" fmla="*/ 1107845 w 1440357"/>
                  <a:gd name="connsiteY12" fmla="*/ 612793 h 773142"/>
                  <a:gd name="connsiteX13" fmla="*/ 1090700 w 1440357"/>
                  <a:gd name="connsiteY13" fmla="*/ 659466 h 773142"/>
                  <a:gd name="connsiteX14" fmla="*/ 996403 w 1440357"/>
                  <a:gd name="connsiteY14" fmla="*/ 600411 h 773142"/>
                  <a:gd name="connsiteX15" fmla="*/ 997355 w 1440357"/>
                  <a:gd name="connsiteY15" fmla="*/ 47008 h 773142"/>
                  <a:gd name="connsiteX16" fmla="*/ 951635 w 1440357"/>
                  <a:gd name="connsiteY16" fmla="*/ 336 h 773142"/>
                  <a:gd name="connsiteX17" fmla="*/ 828763 w 1440357"/>
                  <a:gd name="connsiteY17" fmla="*/ 336 h 773142"/>
                  <a:gd name="connsiteX18" fmla="*/ 778280 w 1440357"/>
                  <a:gd name="connsiteY18" fmla="*/ 51771 h 773142"/>
                  <a:gd name="connsiteX19" fmla="*/ 780185 w 1440357"/>
                  <a:gd name="connsiteY19" fmla="*/ 609936 h 773142"/>
                  <a:gd name="connsiteX20" fmla="*/ 726845 w 1440357"/>
                  <a:gd name="connsiteY20" fmla="*/ 664228 h 773142"/>
                  <a:gd name="connsiteX21" fmla="*/ 666838 w 1440357"/>
                  <a:gd name="connsiteY21" fmla="*/ 603268 h 773142"/>
                  <a:gd name="connsiteX22" fmla="*/ 667790 w 1440357"/>
                  <a:gd name="connsiteY22" fmla="*/ 49866 h 773142"/>
                  <a:gd name="connsiteX23" fmla="*/ 619213 w 1440357"/>
                  <a:gd name="connsiteY23" fmla="*/ 1288 h 773142"/>
                  <a:gd name="connsiteX24" fmla="*/ 510628 w 1440357"/>
                  <a:gd name="connsiteY24" fmla="*/ 2241 h 773142"/>
                  <a:gd name="connsiteX25" fmla="*/ 448715 w 1440357"/>
                  <a:gd name="connsiteY25" fmla="*/ 65106 h 773142"/>
                  <a:gd name="connsiteX26" fmla="*/ 447763 w 1440357"/>
                  <a:gd name="connsiteY26" fmla="*/ 613746 h 773142"/>
                  <a:gd name="connsiteX27" fmla="*/ 430618 w 1440357"/>
                  <a:gd name="connsiteY27" fmla="*/ 660418 h 773142"/>
                  <a:gd name="connsiteX28" fmla="*/ 336320 w 1440357"/>
                  <a:gd name="connsiteY28" fmla="*/ 601363 h 773142"/>
                  <a:gd name="connsiteX29" fmla="*/ 337273 w 1440357"/>
                  <a:gd name="connsiteY29" fmla="*/ 47961 h 773142"/>
                  <a:gd name="connsiteX30" fmla="*/ 290600 w 1440357"/>
                  <a:gd name="connsiteY30" fmla="*/ 1288 h 773142"/>
                  <a:gd name="connsiteX31" fmla="*/ 167728 w 1440357"/>
                  <a:gd name="connsiteY31" fmla="*/ 1288 h 773142"/>
                  <a:gd name="connsiteX32" fmla="*/ 117245 w 1440357"/>
                  <a:gd name="connsiteY32" fmla="*/ 52723 h 773142"/>
                  <a:gd name="connsiteX33" fmla="*/ 119150 w 1440357"/>
                  <a:gd name="connsiteY33" fmla="*/ 601363 h 773142"/>
                  <a:gd name="connsiteX34" fmla="*/ 55333 w 1440357"/>
                  <a:gd name="connsiteY34" fmla="*/ 665181 h 773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440357" h="773142">
                    <a:moveTo>
                      <a:pt x="55333" y="665181"/>
                    </a:moveTo>
                    <a:cubicBezTo>
                      <a:pt x="6755" y="660418"/>
                      <a:pt x="1040" y="693756"/>
                      <a:pt x="88" y="732808"/>
                    </a:cubicBezTo>
                    <a:cubicBezTo>
                      <a:pt x="-1817" y="779481"/>
                      <a:pt x="27710" y="772813"/>
                      <a:pt x="56285" y="772813"/>
                    </a:cubicBezTo>
                    <a:cubicBezTo>
                      <a:pt x="277265" y="772813"/>
                      <a:pt x="498245" y="772813"/>
                      <a:pt x="719225" y="772813"/>
                    </a:cubicBezTo>
                    <a:cubicBezTo>
                      <a:pt x="942110" y="772813"/>
                      <a:pt x="1164043" y="772813"/>
                      <a:pt x="1386928" y="772813"/>
                    </a:cubicBezTo>
                    <a:cubicBezTo>
                      <a:pt x="1413598" y="772813"/>
                      <a:pt x="1442173" y="778528"/>
                      <a:pt x="1440268" y="734713"/>
                    </a:cubicBezTo>
                    <a:cubicBezTo>
                      <a:pt x="1438363" y="696613"/>
                      <a:pt x="1436458" y="660418"/>
                      <a:pt x="1386928" y="665181"/>
                    </a:cubicBezTo>
                    <a:cubicBezTo>
                      <a:pt x="1332635" y="669943"/>
                      <a:pt x="1325968" y="644226"/>
                      <a:pt x="1325968" y="598506"/>
                    </a:cubicBezTo>
                    <a:cubicBezTo>
                      <a:pt x="1327873" y="415626"/>
                      <a:pt x="1325968" y="232746"/>
                      <a:pt x="1327873" y="49866"/>
                    </a:cubicBezTo>
                    <a:cubicBezTo>
                      <a:pt x="1327873" y="12718"/>
                      <a:pt x="1316443" y="-1569"/>
                      <a:pt x="1279295" y="1288"/>
                    </a:cubicBezTo>
                    <a:cubicBezTo>
                      <a:pt x="1243100" y="3193"/>
                      <a:pt x="1206905" y="1288"/>
                      <a:pt x="1170710" y="1288"/>
                    </a:cubicBezTo>
                    <a:cubicBezTo>
                      <a:pt x="1108798" y="1288"/>
                      <a:pt x="1108798" y="1288"/>
                      <a:pt x="1108798" y="64153"/>
                    </a:cubicBezTo>
                    <a:cubicBezTo>
                      <a:pt x="1108798" y="247033"/>
                      <a:pt x="1108798" y="429913"/>
                      <a:pt x="1107845" y="612793"/>
                    </a:cubicBezTo>
                    <a:cubicBezTo>
                      <a:pt x="1107845" y="628986"/>
                      <a:pt x="1101178" y="654703"/>
                      <a:pt x="1090700" y="659466"/>
                    </a:cubicBezTo>
                    <a:cubicBezTo>
                      <a:pt x="1036408" y="685183"/>
                      <a:pt x="996403" y="658513"/>
                      <a:pt x="996403" y="600411"/>
                    </a:cubicBezTo>
                    <a:cubicBezTo>
                      <a:pt x="996403" y="415626"/>
                      <a:pt x="995450" y="230841"/>
                      <a:pt x="997355" y="47008"/>
                    </a:cubicBezTo>
                    <a:cubicBezTo>
                      <a:pt x="997355" y="11766"/>
                      <a:pt x="986878" y="-1569"/>
                      <a:pt x="951635" y="336"/>
                    </a:cubicBezTo>
                    <a:cubicBezTo>
                      <a:pt x="910678" y="2241"/>
                      <a:pt x="869720" y="3193"/>
                      <a:pt x="828763" y="336"/>
                    </a:cubicBezTo>
                    <a:cubicBezTo>
                      <a:pt x="788758" y="-2522"/>
                      <a:pt x="777328" y="12718"/>
                      <a:pt x="778280" y="51771"/>
                    </a:cubicBezTo>
                    <a:cubicBezTo>
                      <a:pt x="780185" y="237508"/>
                      <a:pt x="778280" y="424198"/>
                      <a:pt x="780185" y="609936"/>
                    </a:cubicBezTo>
                    <a:cubicBezTo>
                      <a:pt x="780185" y="651846"/>
                      <a:pt x="767803" y="666133"/>
                      <a:pt x="726845" y="664228"/>
                    </a:cubicBezTo>
                    <a:cubicBezTo>
                      <a:pt x="667790" y="661371"/>
                      <a:pt x="666838" y="663276"/>
                      <a:pt x="666838" y="603268"/>
                    </a:cubicBezTo>
                    <a:cubicBezTo>
                      <a:pt x="666838" y="418483"/>
                      <a:pt x="665885" y="233698"/>
                      <a:pt x="667790" y="49866"/>
                    </a:cubicBezTo>
                    <a:cubicBezTo>
                      <a:pt x="667790" y="12718"/>
                      <a:pt x="656360" y="-1569"/>
                      <a:pt x="619213" y="1288"/>
                    </a:cubicBezTo>
                    <a:cubicBezTo>
                      <a:pt x="583018" y="3193"/>
                      <a:pt x="546823" y="1288"/>
                      <a:pt x="510628" y="2241"/>
                    </a:cubicBezTo>
                    <a:cubicBezTo>
                      <a:pt x="448715" y="2241"/>
                      <a:pt x="448715" y="2241"/>
                      <a:pt x="448715" y="65106"/>
                    </a:cubicBezTo>
                    <a:cubicBezTo>
                      <a:pt x="448715" y="247986"/>
                      <a:pt x="448715" y="430866"/>
                      <a:pt x="447763" y="613746"/>
                    </a:cubicBezTo>
                    <a:cubicBezTo>
                      <a:pt x="447763" y="629938"/>
                      <a:pt x="441095" y="655656"/>
                      <a:pt x="430618" y="660418"/>
                    </a:cubicBezTo>
                    <a:cubicBezTo>
                      <a:pt x="376325" y="686136"/>
                      <a:pt x="336320" y="659466"/>
                      <a:pt x="336320" y="601363"/>
                    </a:cubicBezTo>
                    <a:cubicBezTo>
                      <a:pt x="336320" y="416578"/>
                      <a:pt x="335368" y="231793"/>
                      <a:pt x="337273" y="47961"/>
                    </a:cubicBezTo>
                    <a:cubicBezTo>
                      <a:pt x="337273" y="12718"/>
                      <a:pt x="325843" y="-617"/>
                      <a:pt x="290600" y="1288"/>
                    </a:cubicBezTo>
                    <a:cubicBezTo>
                      <a:pt x="249643" y="3193"/>
                      <a:pt x="208685" y="4146"/>
                      <a:pt x="167728" y="1288"/>
                    </a:cubicBezTo>
                    <a:cubicBezTo>
                      <a:pt x="127723" y="-1569"/>
                      <a:pt x="116293" y="13671"/>
                      <a:pt x="117245" y="52723"/>
                    </a:cubicBezTo>
                    <a:cubicBezTo>
                      <a:pt x="119150" y="235603"/>
                      <a:pt x="116293" y="418483"/>
                      <a:pt x="119150" y="601363"/>
                    </a:cubicBezTo>
                    <a:cubicBezTo>
                      <a:pt x="114388" y="646131"/>
                      <a:pt x="106768" y="670896"/>
                      <a:pt x="55333" y="665181"/>
                    </a:cubicBezTo>
                    <a:close/>
                  </a:path>
                </a:pathLst>
              </a:custGeom>
              <a:solidFill>
                <a:srgbClr val="FFFFFF"/>
              </a:solidFill>
              <a:ln w="9525" cap="flat">
                <a:noFill/>
                <a:prstDash val="solid"/>
                <a:miter/>
              </a:ln>
            </p:spPr>
            <p:txBody>
              <a:bodyPr rtlCol="0" anchor="ctr"/>
              <a:lstStyle/>
              <a:p>
                <a:pPr defTabSz="1219170"/>
                <a:endParaRPr lang="en-US" sz="1400">
                  <a:solidFill>
                    <a:srgbClr val="102B62"/>
                  </a:solidFill>
                  <a:latin typeface="Arial"/>
                </a:endParaRPr>
              </a:p>
            </p:txBody>
          </p:sp>
          <p:sp>
            <p:nvSpPr>
              <p:cNvPr id="355" name="Freeform: Shape 354">
                <a:extLst>
                  <a:ext uri="{FF2B5EF4-FFF2-40B4-BE49-F238E27FC236}">
                    <a16:creationId xmlns:a16="http://schemas.microsoft.com/office/drawing/2014/main" id="{62F405A9-161D-4957-A55A-9E40E36DC19D}"/>
                  </a:ext>
                </a:extLst>
              </p:cNvPr>
              <p:cNvSpPr/>
              <p:nvPr/>
            </p:nvSpPr>
            <p:spPr>
              <a:xfrm>
                <a:off x="4586287" y="2084069"/>
                <a:ext cx="30479" cy="60007"/>
              </a:xfrm>
              <a:custGeom>
                <a:avLst/>
                <a:gdLst>
                  <a:gd name="connsiteX0" fmla="*/ 30480 w 30479"/>
                  <a:gd name="connsiteY0" fmla="*/ 27623 h 60007"/>
                  <a:gd name="connsiteX1" fmla="*/ 23813 w 30479"/>
                  <a:gd name="connsiteY1" fmla="*/ 10478 h 60007"/>
                  <a:gd name="connsiteX2" fmla="*/ 5715 w 30479"/>
                  <a:gd name="connsiteY2" fmla="*/ 0 h 60007"/>
                  <a:gd name="connsiteX3" fmla="*/ 0 w 30479"/>
                  <a:gd name="connsiteY3" fmla="*/ 60007 h 60007"/>
                  <a:gd name="connsiteX4" fmla="*/ 30480 w 30479"/>
                  <a:gd name="connsiteY4" fmla="*/ 27623 h 6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9" h="60007">
                    <a:moveTo>
                      <a:pt x="30480" y="27623"/>
                    </a:moveTo>
                    <a:cubicBezTo>
                      <a:pt x="30480" y="20955"/>
                      <a:pt x="28575" y="15240"/>
                      <a:pt x="23813" y="10478"/>
                    </a:cubicBezTo>
                    <a:cubicBezTo>
                      <a:pt x="19050" y="6668"/>
                      <a:pt x="13335" y="2858"/>
                      <a:pt x="5715" y="0"/>
                    </a:cubicBezTo>
                    <a:lnTo>
                      <a:pt x="0" y="60007"/>
                    </a:lnTo>
                    <a:cubicBezTo>
                      <a:pt x="20002" y="57150"/>
                      <a:pt x="30480" y="45720"/>
                      <a:pt x="30480" y="27623"/>
                    </a:cubicBezTo>
                    <a:close/>
                  </a:path>
                </a:pathLst>
              </a:custGeom>
              <a:solidFill>
                <a:srgbClr val="FFFFFF"/>
              </a:solidFill>
              <a:ln w="9525" cap="flat">
                <a:noFill/>
                <a:prstDash val="solid"/>
                <a:miter/>
              </a:ln>
            </p:spPr>
            <p:txBody>
              <a:bodyPr rtlCol="0" anchor="ctr"/>
              <a:lstStyle/>
              <a:p>
                <a:pPr defTabSz="1219170"/>
                <a:endParaRPr lang="en-US" sz="1400">
                  <a:solidFill>
                    <a:srgbClr val="102B62"/>
                  </a:solidFill>
                  <a:latin typeface="Arial"/>
                </a:endParaRPr>
              </a:p>
            </p:txBody>
          </p:sp>
          <p:sp>
            <p:nvSpPr>
              <p:cNvPr id="356" name="Freeform: Shape 355">
                <a:extLst>
                  <a:ext uri="{FF2B5EF4-FFF2-40B4-BE49-F238E27FC236}">
                    <a16:creationId xmlns:a16="http://schemas.microsoft.com/office/drawing/2014/main" id="{D052C01E-6549-488D-A84A-899DDD2DBB04}"/>
                  </a:ext>
                </a:extLst>
              </p:cNvPr>
              <p:cNvSpPr/>
              <p:nvPr/>
            </p:nvSpPr>
            <p:spPr>
              <a:xfrm>
                <a:off x="4538662" y="1966912"/>
                <a:ext cx="30479" cy="54292"/>
              </a:xfrm>
              <a:custGeom>
                <a:avLst/>
                <a:gdLst>
                  <a:gd name="connsiteX0" fmla="*/ 30480 w 30479"/>
                  <a:gd name="connsiteY0" fmla="*/ 0 h 54292"/>
                  <a:gd name="connsiteX1" fmla="*/ 16192 w 30479"/>
                  <a:gd name="connsiteY1" fmla="*/ 3810 h 54292"/>
                  <a:gd name="connsiteX2" fmla="*/ 6667 w 30479"/>
                  <a:gd name="connsiteY2" fmla="*/ 9525 h 54292"/>
                  <a:gd name="connsiteX3" fmla="*/ 1905 w 30479"/>
                  <a:gd name="connsiteY3" fmla="*/ 17145 h 54292"/>
                  <a:gd name="connsiteX4" fmla="*/ 0 w 30479"/>
                  <a:gd name="connsiteY4" fmla="*/ 25718 h 54292"/>
                  <a:gd name="connsiteX5" fmla="*/ 6667 w 30479"/>
                  <a:gd name="connsiteY5" fmla="*/ 42863 h 54292"/>
                  <a:gd name="connsiteX6" fmla="*/ 24765 w 30479"/>
                  <a:gd name="connsiteY6" fmla="*/ 54293 h 54292"/>
                  <a:gd name="connsiteX7" fmla="*/ 30480 w 30479"/>
                  <a:gd name="connsiteY7" fmla="*/ 0 h 54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79" h="54292">
                    <a:moveTo>
                      <a:pt x="30480" y="0"/>
                    </a:moveTo>
                    <a:cubicBezTo>
                      <a:pt x="24765" y="953"/>
                      <a:pt x="20002" y="1905"/>
                      <a:pt x="16192" y="3810"/>
                    </a:cubicBezTo>
                    <a:cubicBezTo>
                      <a:pt x="12383" y="5715"/>
                      <a:pt x="9525" y="7620"/>
                      <a:pt x="6667" y="9525"/>
                    </a:cubicBezTo>
                    <a:cubicBezTo>
                      <a:pt x="3810" y="11430"/>
                      <a:pt x="2858" y="14288"/>
                      <a:pt x="1905" y="17145"/>
                    </a:cubicBezTo>
                    <a:cubicBezTo>
                      <a:pt x="952" y="20003"/>
                      <a:pt x="0" y="22860"/>
                      <a:pt x="0" y="25718"/>
                    </a:cubicBezTo>
                    <a:cubicBezTo>
                      <a:pt x="0" y="33338"/>
                      <a:pt x="1905" y="39053"/>
                      <a:pt x="6667" y="42863"/>
                    </a:cubicBezTo>
                    <a:cubicBezTo>
                      <a:pt x="11430" y="47625"/>
                      <a:pt x="17145" y="51435"/>
                      <a:pt x="24765" y="54293"/>
                    </a:cubicBezTo>
                    <a:lnTo>
                      <a:pt x="30480" y="0"/>
                    </a:lnTo>
                    <a:close/>
                  </a:path>
                </a:pathLst>
              </a:custGeom>
              <a:solidFill>
                <a:srgbClr val="FFFFFF"/>
              </a:solidFill>
              <a:ln w="9525" cap="flat">
                <a:noFill/>
                <a:prstDash val="solid"/>
                <a:miter/>
              </a:ln>
            </p:spPr>
            <p:txBody>
              <a:bodyPr rtlCol="0" anchor="ctr"/>
              <a:lstStyle/>
              <a:p>
                <a:pPr defTabSz="1219170"/>
                <a:endParaRPr lang="en-US" sz="1400">
                  <a:solidFill>
                    <a:srgbClr val="102B62"/>
                  </a:solidFill>
                  <a:latin typeface="Arial"/>
                </a:endParaRPr>
              </a:p>
            </p:txBody>
          </p:sp>
          <p:sp>
            <p:nvSpPr>
              <p:cNvPr id="357" name="Freeform: Shape 356">
                <a:extLst>
                  <a:ext uri="{FF2B5EF4-FFF2-40B4-BE49-F238E27FC236}">
                    <a16:creationId xmlns:a16="http://schemas.microsoft.com/office/drawing/2014/main" id="{A64FF616-B874-459F-A67B-050008C6DBA9}"/>
                  </a:ext>
                </a:extLst>
              </p:cNvPr>
              <p:cNvSpPr/>
              <p:nvPr/>
            </p:nvSpPr>
            <p:spPr>
              <a:xfrm>
                <a:off x="3744085" y="1805208"/>
                <a:ext cx="1658491" cy="486505"/>
              </a:xfrm>
              <a:custGeom>
                <a:avLst/>
                <a:gdLst>
                  <a:gd name="connsiteX0" fmla="*/ 55437 w 1658491"/>
                  <a:gd name="connsiteY0" fmla="*/ 402686 h 486505"/>
                  <a:gd name="connsiteX1" fmla="*/ 104015 w 1658491"/>
                  <a:gd name="connsiteY1" fmla="*/ 405543 h 486505"/>
                  <a:gd name="connsiteX2" fmla="*/ 195455 w 1658491"/>
                  <a:gd name="connsiteY2" fmla="*/ 486506 h 486505"/>
                  <a:gd name="connsiteX3" fmla="*/ 1453707 w 1658491"/>
                  <a:gd name="connsiteY3" fmla="*/ 486506 h 486505"/>
                  <a:gd name="connsiteX4" fmla="*/ 1553720 w 1658491"/>
                  <a:gd name="connsiteY4" fmla="*/ 404591 h 486505"/>
                  <a:gd name="connsiteX5" fmla="*/ 1603250 w 1658491"/>
                  <a:gd name="connsiteY5" fmla="*/ 401733 h 486505"/>
                  <a:gd name="connsiteX6" fmla="*/ 1649922 w 1658491"/>
                  <a:gd name="connsiteY6" fmla="*/ 380778 h 486505"/>
                  <a:gd name="connsiteX7" fmla="*/ 1609917 w 1658491"/>
                  <a:gd name="connsiteY7" fmla="*/ 283623 h 486505"/>
                  <a:gd name="connsiteX8" fmla="*/ 875540 w 1658491"/>
                  <a:gd name="connsiteY8" fmla="*/ 7398 h 486505"/>
                  <a:gd name="connsiteX9" fmla="*/ 776480 w 1658491"/>
                  <a:gd name="connsiteY9" fmla="*/ 8351 h 486505"/>
                  <a:gd name="connsiteX10" fmla="*/ 413577 w 1658491"/>
                  <a:gd name="connsiteY10" fmla="*/ 144558 h 486505"/>
                  <a:gd name="connsiteX11" fmla="*/ 37340 w 1658491"/>
                  <a:gd name="connsiteY11" fmla="*/ 285528 h 486505"/>
                  <a:gd name="connsiteX12" fmla="*/ 2097 w 1658491"/>
                  <a:gd name="connsiteY12" fmla="*/ 370301 h 486505"/>
                  <a:gd name="connsiteX13" fmla="*/ 55437 w 1658491"/>
                  <a:gd name="connsiteY13" fmla="*/ 402686 h 486505"/>
                  <a:gd name="connsiteX14" fmla="*/ 788862 w 1658491"/>
                  <a:gd name="connsiteY14" fmla="*/ 260763 h 486505"/>
                  <a:gd name="connsiteX15" fmla="*/ 765050 w 1658491"/>
                  <a:gd name="connsiteY15" fmla="*/ 247428 h 486505"/>
                  <a:gd name="connsiteX16" fmla="*/ 747905 w 1658491"/>
                  <a:gd name="connsiteY16" fmla="*/ 226473 h 486505"/>
                  <a:gd name="connsiteX17" fmla="*/ 741237 w 1658491"/>
                  <a:gd name="connsiteY17" fmla="*/ 194088 h 486505"/>
                  <a:gd name="connsiteX18" fmla="*/ 746952 w 1658491"/>
                  <a:gd name="connsiteY18" fmla="*/ 165513 h 486505"/>
                  <a:gd name="connsiteX19" fmla="*/ 764097 w 1658491"/>
                  <a:gd name="connsiteY19" fmla="*/ 140748 h 486505"/>
                  <a:gd name="connsiteX20" fmla="*/ 791720 w 1658491"/>
                  <a:gd name="connsiteY20" fmla="*/ 122651 h 486505"/>
                  <a:gd name="connsiteX21" fmla="*/ 829820 w 1658491"/>
                  <a:gd name="connsiteY21" fmla="*/ 114078 h 486505"/>
                  <a:gd name="connsiteX22" fmla="*/ 831725 w 1658491"/>
                  <a:gd name="connsiteY22" fmla="*/ 94076 h 486505"/>
                  <a:gd name="connsiteX23" fmla="*/ 836487 w 1658491"/>
                  <a:gd name="connsiteY23" fmla="*/ 84551 h 486505"/>
                  <a:gd name="connsiteX24" fmla="*/ 846965 w 1658491"/>
                  <a:gd name="connsiteY24" fmla="*/ 80741 h 486505"/>
                  <a:gd name="connsiteX25" fmla="*/ 867920 w 1658491"/>
                  <a:gd name="connsiteY25" fmla="*/ 80741 h 486505"/>
                  <a:gd name="connsiteX26" fmla="*/ 864110 w 1658491"/>
                  <a:gd name="connsiteY26" fmla="*/ 116936 h 486505"/>
                  <a:gd name="connsiteX27" fmla="*/ 898400 w 1658491"/>
                  <a:gd name="connsiteY27" fmla="*/ 128366 h 486505"/>
                  <a:gd name="connsiteX28" fmla="*/ 922212 w 1658491"/>
                  <a:gd name="connsiteY28" fmla="*/ 145511 h 486505"/>
                  <a:gd name="connsiteX29" fmla="*/ 907925 w 1658491"/>
                  <a:gd name="connsiteY29" fmla="*/ 165513 h 486505"/>
                  <a:gd name="connsiteX30" fmla="*/ 901257 w 1658491"/>
                  <a:gd name="connsiteY30" fmla="*/ 172181 h 486505"/>
                  <a:gd name="connsiteX31" fmla="*/ 893637 w 1658491"/>
                  <a:gd name="connsiteY31" fmla="*/ 174086 h 486505"/>
                  <a:gd name="connsiteX32" fmla="*/ 886970 w 1658491"/>
                  <a:gd name="connsiteY32" fmla="*/ 173133 h 486505"/>
                  <a:gd name="connsiteX33" fmla="*/ 878397 w 1658491"/>
                  <a:gd name="connsiteY33" fmla="*/ 170276 h 486505"/>
                  <a:gd name="connsiteX34" fmla="*/ 868872 w 1658491"/>
                  <a:gd name="connsiteY34" fmla="*/ 166466 h 486505"/>
                  <a:gd name="connsiteX35" fmla="*/ 858395 w 1658491"/>
                  <a:gd name="connsiteY35" fmla="*/ 162656 h 486505"/>
                  <a:gd name="connsiteX36" fmla="*/ 851727 w 1658491"/>
                  <a:gd name="connsiteY36" fmla="*/ 227426 h 486505"/>
                  <a:gd name="connsiteX37" fmla="*/ 868872 w 1658491"/>
                  <a:gd name="connsiteY37" fmla="*/ 233141 h 486505"/>
                  <a:gd name="connsiteX38" fmla="*/ 886017 w 1658491"/>
                  <a:gd name="connsiteY38" fmla="*/ 239808 h 486505"/>
                  <a:gd name="connsiteX39" fmla="*/ 901257 w 1658491"/>
                  <a:gd name="connsiteY39" fmla="*/ 248381 h 486505"/>
                  <a:gd name="connsiteX40" fmla="*/ 913640 w 1658491"/>
                  <a:gd name="connsiteY40" fmla="*/ 260763 h 486505"/>
                  <a:gd name="connsiteX41" fmla="*/ 922212 w 1658491"/>
                  <a:gd name="connsiteY41" fmla="*/ 276956 h 486505"/>
                  <a:gd name="connsiteX42" fmla="*/ 925070 w 1658491"/>
                  <a:gd name="connsiteY42" fmla="*/ 297911 h 486505"/>
                  <a:gd name="connsiteX43" fmla="*/ 919355 w 1658491"/>
                  <a:gd name="connsiteY43" fmla="*/ 330296 h 486505"/>
                  <a:gd name="connsiteX44" fmla="*/ 902210 w 1658491"/>
                  <a:gd name="connsiteY44" fmla="*/ 356966 h 486505"/>
                  <a:gd name="connsiteX45" fmla="*/ 874587 w 1658491"/>
                  <a:gd name="connsiteY45" fmla="*/ 376016 h 486505"/>
                  <a:gd name="connsiteX46" fmla="*/ 836487 w 1658491"/>
                  <a:gd name="connsiteY46" fmla="*/ 384588 h 486505"/>
                  <a:gd name="connsiteX47" fmla="*/ 834582 w 1658491"/>
                  <a:gd name="connsiteY47" fmla="*/ 407448 h 486505"/>
                  <a:gd name="connsiteX48" fmla="*/ 829820 w 1658491"/>
                  <a:gd name="connsiteY48" fmla="*/ 416973 h 486505"/>
                  <a:gd name="connsiteX49" fmla="*/ 819342 w 1658491"/>
                  <a:gd name="connsiteY49" fmla="*/ 420783 h 486505"/>
                  <a:gd name="connsiteX50" fmla="*/ 799340 w 1658491"/>
                  <a:gd name="connsiteY50" fmla="*/ 420783 h 486505"/>
                  <a:gd name="connsiteX51" fmla="*/ 803150 w 1658491"/>
                  <a:gd name="connsiteY51" fmla="*/ 382683 h 486505"/>
                  <a:gd name="connsiteX52" fmla="*/ 763145 w 1658491"/>
                  <a:gd name="connsiteY52" fmla="*/ 370301 h 486505"/>
                  <a:gd name="connsiteX53" fmla="*/ 730760 w 1658491"/>
                  <a:gd name="connsiteY53" fmla="*/ 349346 h 486505"/>
                  <a:gd name="connsiteX54" fmla="*/ 747905 w 1658491"/>
                  <a:gd name="connsiteY54" fmla="*/ 323628 h 486505"/>
                  <a:gd name="connsiteX55" fmla="*/ 753620 w 1658491"/>
                  <a:gd name="connsiteY55" fmla="*/ 318866 h 486505"/>
                  <a:gd name="connsiteX56" fmla="*/ 761240 w 1658491"/>
                  <a:gd name="connsiteY56" fmla="*/ 316961 h 486505"/>
                  <a:gd name="connsiteX57" fmla="*/ 769812 w 1658491"/>
                  <a:gd name="connsiteY57" fmla="*/ 318866 h 486505"/>
                  <a:gd name="connsiteX58" fmla="*/ 779337 w 1658491"/>
                  <a:gd name="connsiteY58" fmla="*/ 324581 h 486505"/>
                  <a:gd name="connsiteX59" fmla="*/ 790767 w 1658491"/>
                  <a:gd name="connsiteY59" fmla="*/ 331248 h 486505"/>
                  <a:gd name="connsiteX60" fmla="*/ 805055 w 1658491"/>
                  <a:gd name="connsiteY60" fmla="*/ 336963 h 486505"/>
                  <a:gd name="connsiteX61" fmla="*/ 811722 w 1658491"/>
                  <a:gd name="connsiteY61" fmla="*/ 268383 h 486505"/>
                  <a:gd name="connsiteX62" fmla="*/ 788862 w 1658491"/>
                  <a:gd name="connsiteY62" fmla="*/ 260763 h 486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658491" h="486505">
                    <a:moveTo>
                      <a:pt x="55437" y="402686"/>
                    </a:moveTo>
                    <a:cubicBezTo>
                      <a:pt x="71630" y="403638"/>
                      <a:pt x="88775" y="404591"/>
                      <a:pt x="104015" y="405543"/>
                    </a:cubicBezTo>
                    <a:cubicBezTo>
                      <a:pt x="115445" y="483648"/>
                      <a:pt x="118302" y="486506"/>
                      <a:pt x="195455" y="486506"/>
                    </a:cubicBezTo>
                    <a:cubicBezTo>
                      <a:pt x="614555" y="486506"/>
                      <a:pt x="1034607" y="486506"/>
                      <a:pt x="1453707" y="486506"/>
                    </a:cubicBezTo>
                    <a:cubicBezTo>
                      <a:pt x="1536575" y="486506"/>
                      <a:pt x="1536575" y="486506"/>
                      <a:pt x="1553720" y="404591"/>
                    </a:cubicBezTo>
                    <a:cubicBezTo>
                      <a:pt x="1569912" y="403638"/>
                      <a:pt x="1587057" y="405543"/>
                      <a:pt x="1603250" y="401733"/>
                    </a:cubicBezTo>
                    <a:cubicBezTo>
                      <a:pt x="1619442" y="397923"/>
                      <a:pt x="1643255" y="393161"/>
                      <a:pt x="1649922" y="380778"/>
                    </a:cubicBezTo>
                    <a:cubicBezTo>
                      <a:pt x="1670877" y="341726"/>
                      <a:pt x="1651827" y="299816"/>
                      <a:pt x="1609917" y="283623"/>
                    </a:cubicBezTo>
                    <a:cubicBezTo>
                      <a:pt x="1365125" y="191231"/>
                      <a:pt x="1121285" y="96933"/>
                      <a:pt x="875540" y="7398"/>
                    </a:cubicBezTo>
                    <a:cubicBezTo>
                      <a:pt x="846012" y="-3079"/>
                      <a:pt x="806960" y="-2127"/>
                      <a:pt x="776480" y="8351"/>
                    </a:cubicBezTo>
                    <a:cubicBezTo>
                      <a:pt x="654560" y="50261"/>
                      <a:pt x="534545" y="98838"/>
                      <a:pt x="413577" y="144558"/>
                    </a:cubicBezTo>
                    <a:cubicBezTo>
                      <a:pt x="288800" y="192183"/>
                      <a:pt x="164022" y="241713"/>
                      <a:pt x="37340" y="285528"/>
                    </a:cubicBezTo>
                    <a:cubicBezTo>
                      <a:pt x="-11238" y="302673"/>
                      <a:pt x="1145" y="337916"/>
                      <a:pt x="2097" y="370301"/>
                    </a:cubicBezTo>
                    <a:cubicBezTo>
                      <a:pt x="4002" y="405543"/>
                      <a:pt x="31625" y="401733"/>
                      <a:pt x="55437" y="402686"/>
                    </a:cubicBezTo>
                    <a:close/>
                    <a:moveTo>
                      <a:pt x="788862" y="260763"/>
                    </a:moveTo>
                    <a:cubicBezTo>
                      <a:pt x="780290" y="257906"/>
                      <a:pt x="772670" y="253143"/>
                      <a:pt x="765050" y="247428"/>
                    </a:cubicBezTo>
                    <a:cubicBezTo>
                      <a:pt x="758382" y="241713"/>
                      <a:pt x="752667" y="235046"/>
                      <a:pt x="747905" y="226473"/>
                    </a:cubicBezTo>
                    <a:cubicBezTo>
                      <a:pt x="743142" y="217901"/>
                      <a:pt x="741237" y="207423"/>
                      <a:pt x="741237" y="194088"/>
                    </a:cubicBezTo>
                    <a:cubicBezTo>
                      <a:pt x="741237" y="184563"/>
                      <a:pt x="743142" y="175038"/>
                      <a:pt x="746952" y="165513"/>
                    </a:cubicBezTo>
                    <a:cubicBezTo>
                      <a:pt x="750762" y="155988"/>
                      <a:pt x="756477" y="148368"/>
                      <a:pt x="764097" y="140748"/>
                    </a:cubicBezTo>
                    <a:cubicBezTo>
                      <a:pt x="771717" y="133128"/>
                      <a:pt x="781242" y="127413"/>
                      <a:pt x="791720" y="122651"/>
                    </a:cubicBezTo>
                    <a:cubicBezTo>
                      <a:pt x="803150" y="117888"/>
                      <a:pt x="815532" y="115031"/>
                      <a:pt x="829820" y="114078"/>
                    </a:cubicBezTo>
                    <a:lnTo>
                      <a:pt x="831725" y="94076"/>
                    </a:lnTo>
                    <a:cubicBezTo>
                      <a:pt x="831725" y="90266"/>
                      <a:pt x="833630" y="87408"/>
                      <a:pt x="836487" y="84551"/>
                    </a:cubicBezTo>
                    <a:cubicBezTo>
                      <a:pt x="839345" y="81693"/>
                      <a:pt x="843155" y="80741"/>
                      <a:pt x="846965" y="80741"/>
                    </a:cubicBezTo>
                    <a:lnTo>
                      <a:pt x="867920" y="80741"/>
                    </a:lnTo>
                    <a:lnTo>
                      <a:pt x="864110" y="116936"/>
                    </a:lnTo>
                    <a:cubicBezTo>
                      <a:pt x="877445" y="119793"/>
                      <a:pt x="888875" y="123603"/>
                      <a:pt x="898400" y="128366"/>
                    </a:cubicBezTo>
                    <a:cubicBezTo>
                      <a:pt x="907925" y="134081"/>
                      <a:pt x="915545" y="139796"/>
                      <a:pt x="922212" y="145511"/>
                    </a:cubicBezTo>
                    <a:lnTo>
                      <a:pt x="907925" y="165513"/>
                    </a:lnTo>
                    <a:cubicBezTo>
                      <a:pt x="906020" y="168371"/>
                      <a:pt x="904115" y="171228"/>
                      <a:pt x="901257" y="172181"/>
                    </a:cubicBezTo>
                    <a:cubicBezTo>
                      <a:pt x="899352" y="173133"/>
                      <a:pt x="896495" y="174086"/>
                      <a:pt x="893637" y="174086"/>
                    </a:cubicBezTo>
                    <a:cubicBezTo>
                      <a:pt x="891732" y="174086"/>
                      <a:pt x="889827" y="174086"/>
                      <a:pt x="886970" y="173133"/>
                    </a:cubicBezTo>
                    <a:cubicBezTo>
                      <a:pt x="884112" y="172181"/>
                      <a:pt x="882207" y="171228"/>
                      <a:pt x="878397" y="170276"/>
                    </a:cubicBezTo>
                    <a:cubicBezTo>
                      <a:pt x="875540" y="169323"/>
                      <a:pt x="872682" y="167418"/>
                      <a:pt x="868872" y="166466"/>
                    </a:cubicBezTo>
                    <a:cubicBezTo>
                      <a:pt x="865062" y="165513"/>
                      <a:pt x="862205" y="163608"/>
                      <a:pt x="858395" y="162656"/>
                    </a:cubicBezTo>
                    <a:lnTo>
                      <a:pt x="851727" y="227426"/>
                    </a:lnTo>
                    <a:cubicBezTo>
                      <a:pt x="857442" y="229331"/>
                      <a:pt x="863157" y="231236"/>
                      <a:pt x="868872" y="233141"/>
                    </a:cubicBezTo>
                    <a:cubicBezTo>
                      <a:pt x="874587" y="235046"/>
                      <a:pt x="880302" y="237903"/>
                      <a:pt x="886017" y="239808"/>
                    </a:cubicBezTo>
                    <a:cubicBezTo>
                      <a:pt x="891732" y="242666"/>
                      <a:pt x="896495" y="245523"/>
                      <a:pt x="901257" y="248381"/>
                    </a:cubicBezTo>
                    <a:cubicBezTo>
                      <a:pt x="906020" y="252191"/>
                      <a:pt x="909830" y="256001"/>
                      <a:pt x="913640" y="260763"/>
                    </a:cubicBezTo>
                    <a:cubicBezTo>
                      <a:pt x="917450" y="265526"/>
                      <a:pt x="919355" y="270288"/>
                      <a:pt x="922212" y="276956"/>
                    </a:cubicBezTo>
                    <a:cubicBezTo>
                      <a:pt x="924117" y="282671"/>
                      <a:pt x="925070" y="289338"/>
                      <a:pt x="925070" y="297911"/>
                    </a:cubicBezTo>
                    <a:cubicBezTo>
                      <a:pt x="925070" y="309341"/>
                      <a:pt x="923165" y="320771"/>
                      <a:pt x="919355" y="330296"/>
                    </a:cubicBezTo>
                    <a:cubicBezTo>
                      <a:pt x="915545" y="340773"/>
                      <a:pt x="909830" y="349346"/>
                      <a:pt x="902210" y="356966"/>
                    </a:cubicBezTo>
                    <a:cubicBezTo>
                      <a:pt x="894590" y="364586"/>
                      <a:pt x="885065" y="371253"/>
                      <a:pt x="874587" y="376016"/>
                    </a:cubicBezTo>
                    <a:cubicBezTo>
                      <a:pt x="863157" y="380778"/>
                      <a:pt x="850775" y="383636"/>
                      <a:pt x="836487" y="384588"/>
                    </a:cubicBezTo>
                    <a:lnTo>
                      <a:pt x="834582" y="407448"/>
                    </a:lnTo>
                    <a:cubicBezTo>
                      <a:pt x="834582" y="411258"/>
                      <a:pt x="832677" y="414116"/>
                      <a:pt x="829820" y="416973"/>
                    </a:cubicBezTo>
                    <a:cubicBezTo>
                      <a:pt x="826962" y="419831"/>
                      <a:pt x="823152" y="420783"/>
                      <a:pt x="819342" y="420783"/>
                    </a:cubicBezTo>
                    <a:lnTo>
                      <a:pt x="799340" y="420783"/>
                    </a:lnTo>
                    <a:lnTo>
                      <a:pt x="803150" y="382683"/>
                    </a:lnTo>
                    <a:cubicBezTo>
                      <a:pt x="788862" y="380778"/>
                      <a:pt x="775527" y="376016"/>
                      <a:pt x="763145" y="370301"/>
                    </a:cubicBezTo>
                    <a:cubicBezTo>
                      <a:pt x="750762" y="364586"/>
                      <a:pt x="739332" y="357918"/>
                      <a:pt x="730760" y="349346"/>
                    </a:cubicBezTo>
                    <a:lnTo>
                      <a:pt x="747905" y="323628"/>
                    </a:lnTo>
                    <a:cubicBezTo>
                      <a:pt x="749810" y="321723"/>
                      <a:pt x="751715" y="319818"/>
                      <a:pt x="753620" y="318866"/>
                    </a:cubicBezTo>
                    <a:cubicBezTo>
                      <a:pt x="756477" y="317913"/>
                      <a:pt x="758382" y="316961"/>
                      <a:pt x="761240" y="316961"/>
                    </a:cubicBezTo>
                    <a:cubicBezTo>
                      <a:pt x="764097" y="316961"/>
                      <a:pt x="766955" y="317913"/>
                      <a:pt x="769812" y="318866"/>
                    </a:cubicBezTo>
                    <a:cubicBezTo>
                      <a:pt x="772670" y="320771"/>
                      <a:pt x="776480" y="322676"/>
                      <a:pt x="779337" y="324581"/>
                    </a:cubicBezTo>
                    <a:cubicBezTo>
                      <a:pt x="783147" y="326486"/>
                      <a:pt x="786957" y="329343"/>
                      <a:pt x="790767" y="331248"/>
                    </a:cubicBezTo>
                    <a:cubicBezTo>
                      <a:pt x="795530" y="333153"/>
                      <a:pt x="800292" y="335058"/>
                      <a:pt x="805055" y="336963"/>
                    </a:cubicBezTo>
                    <a:lnTo>
                      <a:pt x="811722" y="268383"/>
                    </a:lnTo>
                    <a:cubicBezTo>
                      <a:pt x="806007" y="266478"/>
                      <a:pt x="797435" y="263621"/>
                      <a:pt x="788862" y="260763"/>
                    </a:cubicBezTo>
                    <a:close/>
                  </a:path>
                </a:pathLst>
              </a:custGeom>
              <a:solidFill>
                <a:srgbClr val="FFFFFF"/>
              </a:solidFill>
              <a:ln w="9525" cap="flat">
                <a:noFill/>
                <a:prstDash val="solid"/>
                <a:miter/>
              </a:ln>
            </p:spPr>
            <p:txBody>
              <a:bodyPr rtlCol="0" anchor="ctr"/>
              <a:lstStyle/>
              <a:p>
                <a:pPr defTabSz="1219170"/>
                <a:endParaRPr lang="en-US" sz="1400">
                  <a:solidFill>
                    <a:srgbClr val="102B62"/>
                  </a:solidFill>
                  <a:latin typeface="Arial"/>
                </a:endParaRPr>
              </a:p>
            </p:txBody>
          </p:sp>
          <p:sp>
            <p:nvSpPr>
              <p:cNvPr id="358" name="Freeform: Shape 357">
                <a:extLst>
                  <a:ext uri="{FF2B5EF4-FFF2-40B4-BE49-F238E27FC236}">
                    <a16:creationId xmlns:a16="http://schemas.microsoft.com/office/drawing/2014/main" id="{4D4B3903-A36E-4F1B-A12A-FBFC170002CD}"/>
                  </a:ext>
                </a:extLst>
              </p:cNvPr>
              <p:cNvSpPr/>
              <p:nvPr/>
            </p:nvSpPr>
            <p:spPr>
              <a:xfrm>
                <a:off x="3742861" y="3173729"/>
                <a:ext cx="1656008" cy="168321"/>
              </a:xfrm>
              <a:custGeom>
                <a:avLst/>
                <a:gdLst>
                  <a:gd name="connsiteX0" fmla="*/ 1543513 w 1656008"/>
                  <a:gd name="connsiteY0" fmla="*/ 0 h 168321"/>
                  <a:gd name="connsiteX1" fmla="*/ 113811 w 1656008"/>
                  <a:gd name="connsiteY1" fmla="*/ 0 h 168321"/>
                  <a:gd name="connsiteX2" fmla="*/ 62376 w 1656008"/>
                  <a:gd name="connsiteY2" fmla="*/ 3810 h 168321"/>
                  <a:gd name="connsiteX3" fmla="*/ 2368 w 1656008"/>
                  <a:gd name="connsiteY3" fmla="*/ 130492 h 168321"/>
                  <a:gd name="connsiteX4" fmla="*/ 75711 w 1656008"/>
                  <a:gd name="connsiteY4" fmla="*/ 166688 h 168321"/>
                  <a:gd name="connsiteX5" fmla="*/ 823423 w 1656008"/>
                  <a:gd name="connsiteY5" fmla="*/ 167640 h 168321"/>
                  <a:gd name="connsiteX6" fmla="*/ 1386351 w 1656008"/>
                  <a:gd name="connsiteY6" fmla="*/ 167640 h 168321"/>
                  <a:gd name="connsiteX7" fmla="*/ 1604473 w 1656008"/>
                  <a:gd name="connsiteY7" fmla="*/ 167640 h 168321"/>
                  <a:gd name="connsiteX8" fmla="*/ 1655908 w 1656008"/>
                  <a:gd name="connsiteY8" fmla="*/ 117158 h 168321"/>
                  <a:gd name="connsiteX9" fmla="*/ 1543513 w 1656008"/>
                  <a:gd name="connsiteY9" fmla="*/ 0 h 168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56008" h="168321">
                    <a:moveTo>
                      <a:pt x="1543513" y="0"/>
                    </a:moveTo>
                    <a:cubicBezTo>
                      <a:pt x="1067263" y="0"/>
                      <a:pt x="591013" y="0"/>
                      <a:pt x="113811" y="0"/>
                    </a:cubicBezTo>
                    <a:cubicBezTo>
                      <a:pt x="96666" y="0"/>
                      <a:pt x="78568" y="0"/>
                      <a:pt x="62376" y="3810"/>
                    </a:cubicBezTo>
                    <a:cubicBezTo>
                      <a:pt x="11893" y="16192"/>
                      <a:pt x="-7157" y="59055"/>
                      <a:pt x="2368" y="130492"/>
                    </a:cubicBezTo>
                    <a:cubicBezTo>
                      <a:pt x="9036" y="180023"/>
                      <a:pt x="47136" y="166688"/>
                      <a:pt x="75711" y="166688"/>
                    </a:cubicBezTo>
                    <a:cubicBezTo>
                      <a:pt x="325266" y="167640"/>
                      <a:pt x="573868" y="167640"/>
                      <a:pt x="823423" y="167640"/>
                    </a:cubicBezTo>
                    <a:cubicBezTo>
                      <a:pt x="1011066" y="167640"/>
                      <a:pt x="1198708" y="167640"/>
                      <a:pt x="1386351" y="167640"/>
                    </a:cubicBezTo>
                    <a:cubicBezTo>
                      <a:pt x="1458741" y="167640"/>
                      <a:pt x="1531131" y="166688"/>
                      <a:pt x="1604473" y="167640"/>
                    </a:cubicBezTo>
                    <a:cubicBezTo>
                      <a:pt x="1639716" y="167640"/>
                      <a:pt x="1654956" y="154305"/>
                      <a:pt x="1655908" y="117158"/>
                    </a:cubicBezTo>
                    <a:cubicBezTo>
                      <a:pt x="1657813" y="26670"/>
                      <a:pt x="1633048" y="0"/>
                      <a:pt x="1543513" y="0"/>
                    </a:cubicBezTo>
                    <a:close/>
                  </a:path>
                </a:pathLst>
              </a:custGeom>
              <a:solidFill>
                <a:srgbClr val="FFFFFF"/>
              </a:solidFill>
              <a:ln w="9525" cap="flat">
                <a:noFill/>
                <a:prstDash val="solid"/>
                <a:miter/>
              </a:ln>
            </p:spPr>
            <p:txBody>
              <a:bodyPr rtlCol="0" anchor="ctr"/>
              <a:lstStyle/>
              <a:p>
                <a:pPr defTabSz="1219170"/>
                <a:endParaRPr lang="en-US" sz="1400">
                  <a:solidFill>
                    <a:srgbClr val="102B62"/>
                  </a:solidFill>
                  <a:latin typeface="Arial"/>
                </a:endParaRPr>
              </a:p>
            </p:txBody>
          </p:sp>
        </p:grpSp>
      </p:grpSp>
      <p:cxnSp>
        <p:nvCxnSpPr>
          <p:cNvPr id="159" name="Straight Connector 158">
            <a:extLst>
              <a:ext uri="{FF2B5EF4-FFF2-40B4-BE49-F238E27FC236}">
                <a16:creationId xmlns:a16="http://schemas.microsoft.com/office/drawing/2014/main" id="{27AE2AF6-64EF-4678-9F07-D7C440A34A6A}"/>
              </a:ext>
            </a:extLst>
          </p:cNvPr>
          <p:cNvCxnSpPr>
            <a:cxnSpLocks/>
          </p:cNvCxnSpPr>
          <p:nvPr/>
        </p:nvCxnSpPr>
        <p:spPr>
          <a:xfrm flipV="1">
            <a:off x="3680929" y="1984366"/>
            <a:ext cx="0" cy="4060191"/>
          </a:xfrm>
          <a:prstGeom prst="line">
            <a:avLst/>
          </a:prstGeom>
          <a:ln>
            <a:gradFill>
              <a:gsLst>
                <a:gs pos="0">
                  <a:schemeClr val="accent1">
                    <a:lumMod val="5000"/>
                    <a:lumOff val="95000"/>
                  </a:schemeClr>
                </a:gs>
                <a:gs pos="100000">
                  <a:schemeClr val="bg1">
                    <a:lumMod val="75000"/>
                  </a:schemeClr>
                </a:gs>
              </a:gsLst>
              <a:lin ang="1200000" scaled="0"/>
            </a:gradFill>
          </a:ln>
          <a:effectLst>
            <a:outerShdw blurRad="50800" dist="25400" dir="5400000" algn="t" rotWithShape="0">
              <a:prstClr val="black">
                <a:alpha val="82000"/>
              </a:prstClr>
            </a:outerShdw>
          </a:effectLst>
        </p:spPr>
        <p:style>
          <a:lnRef idx="1">
            <a:schemeClr val="accent2"/>
          </a:lnRef>
          <a:fillRef idx="0">
            <a:schemeClr val="accent2"/>
          </a:fillRef>
          <a:effectRef idx="0">
            <a:schemeClr val="accent2"/>
          </a:effectRef>
          <a:fontRef idx="minor">
            <a:schemeClr val="tx1"/>
          </a:fontRef>
        </p:style>
      </p:cxnSp>
      <p:sp>
        <p:nvSpPr>
          <p:cNvPr id="4" name="Slide Number Placeholder 3">
            <a:extLst>
              <a:ext uri="{FF2B5EF4-FFF2-40B4-BE49-F238E27FC236}">
                <a16:creationId xmlns:a16="http://schemas.microsoft.com/office/drawing/2014/main" id="{93C0414E-35EE-4358-B95A-AECACC1E4355}"/>
              </a:ext>
            </a:extLst>
          </p:cNvPr>
          <p:cNvSpPr>
            <a:spLocks noGrp="1"/>
          </p:cNvSpPr>
          <p:nvPr>
            <p:ph type="sldNum" sz="quarter" idx="12"/>
          </p:nvPr>
        </p:nvSpPr>
        <p:spPr/>
        <p:txBody>
          <a:bodyPr/>
          <a:lstStyle/>
          <a:p>
            <a:fld id="{D1541BB9-6530-43D2-B7E0-33A89042A350}" type="slidenum">
              <a:rPr lang="en-US" smtClean="0"/>
              <a:t>21</a:t>
            </a:fld>
            <a:endParaRPr lang="en-US"/>
          </a:p>
        </p:txBody>
      </p:sp>
    </p:spTree>
    <p:extLst>
      <p:ext uri="{BB962C8B-B14F-4D97-AF65-F5344CB8AC3E}">
        <p14:creationId xmlns:p14="http://schemas.microsoft.com/office/powerpoint/2010/main" val="40520244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4AAEB71-7902-448A-85C2-B1C1F41437A0}"/>
              </a:ext>
            </a:extLst>
          </p:cNvPr>
          <p:cNvSpPr>
            <a:spLocks noGrp="1"/>
          </p:cNvSpPr>
          <p:nvPr>
            <p:ph type="title"/>
          </p:nvPr>
        </p:nvSpPr>
        <p:spPr/>
        <p:txBody>
          <a:bodyPr>
            <a:normAutofit fontScale="90000"/>
          </a:bodyPr>
          <a:lstStyle/>
          <a:p>
            <a:pPr algn="ctr"/>
            <a:r>
              <a:rPr lang="en-US" dirty="0">
                <a:solidFill>
                  <a:srgbClr val="193175"/>
                </a:solidFill>
                <a:latin typeface="Arial" panose="020B0604020202020204" pitchFamily="34" charset="0"/>
                <a:ea typeface="Arial Bold"/>
                <a:cs typeface="Arial" panose="020B0604020202020204" pitchFamily="34" charset="0"/>
              </a:rPr>
              <a:t> </a:t>
            </a:r>
            <a:r>
              <a:rPr lang="en-US" sz="4000" dirty="0">
                <a:solidFill>
                  <a:schemeClr val="bg1"/>
                </a:solidFill>
                <a:latin typeface="Arial" panose="020B0604020202020204" pitchFamily="34" charset="0"/>
                <a:ea typeface="Arial Bold"/>
                <a:cs typeface="Arial" panose="020B0604020202020204" pitchFamily="34" charset="0"/>
              </a:rPr>
              <a:t>Accelerating Development of Safe and Effective Vaccines</a:t>
            </a:r>
            <a:endParaRPr lang="en-US" dirty="0">
              <a:solidFill>
                <a:schemeClr val="bg1"/>
              </a:solidFill>
              <a:latin typeface="Arial" panose="020B0604020202020204" pitchFamily="34" charset="0"/>
              <a:cs typeface="Arial" panose="020B0604020202020204" pitchFamily="34" charset="0"/>
            </a:endParaRPr>
          </a:p>
        </p:txBody>
      </p:sp>
      <p:grpSp>
        <p:nvGrpSpPr>
          <p:cNvPr id="4" name="Group 3" descr="Graphic timeline of the accelerated vaccine or drug product development pathway, showing how the timeline is shorter and advanced manufacturing starts earlier in the process.">
            <a:extLst>
              <a:ext uri="{FF2B5EF4-FFF2-40B4-BE49-F238E27FC236}">
                <a16:creationId xmlns:a16="http://schemas.microsoft.com/office/drawing/2014/main" id="{526B30A0-3827-4208-B069-45F3B1A5E0C2}"/>
              </a:ext>
            </a:extLst>
          </p:cNvPr>
          <p:cNvGrpSpPr/>
          <p:nvPr/>
        </p:nvGrpSpPr>
        <p:grpSpPr>
          <a:xfrm>
            <a:off x="790214" y="1555700"/>
            <a:ext cx="11223501" cy="4495295"/>
            <a:chOff x="592660" y="1166776"/>
            <a:chExt cx="8417626" cy="3371470"/>
          </a:xfrm>
        </p:grpSpPr>
        <p:grpSp>
          <p:nvGrpSpPr>
            <p:cNvPr id="3" name="Group 2">
              <a:extLst>
                <a:ext uri="{FF2B5EF4-FFF2-40B4-BE49-F238E27FC236}">
                  <a16:creationId xmlns:a16="http://schemas.microsoft.com/office/drawing/2014/main" id="{BC1B2516-3331-4ECB-B350-7297E9D2591B}"/>
                </a:ext>
              </a:extLst>
            </p:cNvPr>
            <p:cNvGrpSpPr/>
            <p:nvPr/>
          </p:nvGrpSpPr>
          <p:grpSpPr>
            <a:xfrm>
              <a:off x="937453" y="1524956"/>
              <a:ext cx="3991897" cy="2684516"/>
              <a:chOff x="592195" y="714143"/>
              <a:chExt cx="7813760" cy="3377319"/>
            </a:xfrm>
          </p:grpSpPr>
          <p:sp>
            <p:nvSpPr>
              <p:cNvPr id="42" name="Isosceles Triangle 41">
                <a:extLst>
                  <a:ext uri="{FF2B5EF4-FFF2-40B4-BE49-F238E27FC236}">
                    <a16:creationId xmlns:a16="http://schemas.microsoft.com/office/drawing/2014/main" id="{D9FDDBB0-6E00-4258-B91D-8C10C50FBCE9}"/>
                  </a:ext>
                </a:extLst>
              </p:cNvPr>
              <p:cNvSpPr/>
              <p:nvPr/>
            </p:nvSpPr>
            <p:spPr>
              <a:xfrm rot="5400000">
                <a:off x="2810415" y="-1504077"/>
                <a:ext cx="3377319" cy="7813760"/>
              </a:xfrm>
              <a:prstGeom prst="triangle">
                <a:avLst>
                  <a:gd name="adj" fmla="val 50212"/>
                </a:avLst>
              </a:prstGeom>
              <a:gradFill rotWithShape="1">
                <a:gsLst>
                  <a:gs pos="0">
                    <a:srgbClr val="C9C9C9">
                      <a:tint val="50000"/>
                      <a:satMod val="300000"/>
                    </a:srgbClr>
                  </a:gs>
                  <a:gs pos="35000">
                    <a:srgbClr val="C9C9C9">
                      <a:tint val="37000"/>
                      <a:satMod val="300000"/>
                    </a:srgbClr>
                  </a:gs>
                  <a:gs pos="100000">
                    <a:srgbClr val="C9C9C9">
                      <a:tint val="15000"/>
                      <a:satMod val="350000"/>
                    </a:srgbClr>
                  </a:gs>
                </a:gsLst>
                <a:lin ang="16200000" scaled="1"/>
              </a:gradFill>
              <a:ln w="9525" cap="flat" cmpd="sng" algn="ctr">
                <a:solidFill>
                  <a:srgbClr val="C9C9C9">
                    <a:shade val="95000"/>
                    <a:satMod val="105000"/>
                  </a:srgbClr>
                </a:solidFill>
                <a:prstDash val="solid"/>
              </a:ln>
              <a:effectLst>
                <a:outerShdw blurRad="40000" dist="20000" dir="5400000" rotWithShape="0">
                  <a:srgbClr val="000000">
                    <a:alpha val="38000"/>
                  </a:srgbClr>
                </a:outerShdw>
                <a:softEdge rad="0"/>
              </a:effectLst>
            </p:spPr>
            <p:txBody>
              <a:bodyPr rtlCol="0" anchor="ctr"/>
              <a:lstStyle/>
              <a:p>
                <a:pPr algn="ctr" defTabSz="1219110">
                  <a:defRPr/>
                </a:pPr>
                <a:endParaRPr lang="en-US" sz="1867" kern="0" dirty="0">
                  <a:solidFill>
                    <a:srgbClr val="102B62"/>
                  </a:solidFill>
                  <a:latin typeface="Arial" panose="020B0604020202020204" pitchFamily="34" charset="0"/>
                  <a:cs typeface="Arial" panose="020B0604020202020204" pitchFamily="34" charset="0"/>
                </a:endParaRPr>
              </a:p>
            </p:txBody>
          </p:sp>
          <p:grpSp>
            <p:nvGrpSpPr>
              <p:cNvPr id="528" name="Group 527">
                <a:extLst>
                  <a:ext uri="{FF2B5EF4-FFF2-40B4-BE49-F238E27FC236}">
                    <a16:creationId xmlns:a16="http://schemas.microsoft.com/office/drawing/2014/main" id="{9E4D4BF3-E4C2-418C-B463-B673D55B842C}"/>
                  </a:ext>
                </a:extLst>
              </p:cNvPr>
              <p:cNvGrpSpPr/>
              <p:nvPr/>
            </p:nvGrpSpPr>
            <p:grpSpPr>
              <a:xfrm>
                <a:off x="782038" y="1564188"/>
                <a:ext cx="790673" cy="2091787"/>
                <a:chOff x="10171168" y="1437224"/>
                <a:chExt cx="841656" cy="2689805"/>
              </a:xfrm>
            </p:grpSpPr>
            <p:grpSp>
              <p:nvGrpSpPr>
                <p:cNvPr id="527" name="Group 526">
                  <a:extLst>
                    <a:ext uri="{FF2B5EF4-FFF2-40B4-BE49-F238E27FC236}">
                      <a16:creationId xmlns:a16="http://schemas.microsoft.com/office/drawing/2014/main" id="{D391ED31-F5B9-4A7F-B723-D9D9B0184837}"/>
                    </a:ext>
                  </a:extLst>
                </p:cNvPr>
                <p:cNvGrpSpPr/>
                <p:nvPr/>
              </p:nvGrpSpPr>
              <p:grpSpPr>
                <a:xfrm>
                  <a:off x="10171168" y="1447799"/>
                  <a:ext cx="841656" cy="2679230"/>
                  <a:chOff x="10171168" y="1447799"/>
                  <a:chExt cx="841656" cy="2679230"/>
                </a:xfrm>
                <a:solidFill>
                  <a:srgbClr val="5B7893"/>
                </a:solidFill>
              </p:grpSpPr>
              <p:sp>
                <p:nvSpPr>
                  <p:cNvPr id="463" name="Oval 462">
                    <a:extLst>
                      <a:ext uri="{FF2B5EF4-FFF2-40B4-BE49-F238E27FC236}">
                        <a16:creationId xmlns:a16="http://schemas.microsoft.com/office/drawing/2014/main" id="{E6EEA9C7-FDB5-411C-8D21-1EE06A68DBDB}"/>
                      </a:ext>
                    </a:extLst>
                  </p:cNvPr>
                  <p:cNvSpPr/>
                  <p:nvPr/>
                </p:nvSpPr>
                <p:spPr>
                  <a:xfrm>
                    <a:off x="10334624" y="1447799"/>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64" name="Oval 463">
                    <a:extLst>
                      <a:ext uri="{FF2B5EF4-FFF2-40B4-BE49-F238E27FC236}">
                        <a16:creationId xmlns:a16="http://schemas.microsoft.com/office/drawing/2014/main" id="{EA0C243B-597B-4A2F-B880-967E74385F29}"/>
                      </a:ext>
                    </a:extLst>
                  </p:cNvPr>
                  <p:cNvSpPr/>
                  <p:nvPr/>
                </p:nvSpPr>
                <p:spPr>
                  <a:xfrm>
                    <a:off x="10410824" y="1531309"/>
                    <a:ext cx="85724" cy="85724"/>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65" name="Oval 464">
                    <a:extLst>
                      <a:ext uri="{FF2B5EF4-FFF2-40B4-BE49-F238E27FC236}">
                        <a16:creationId xmlns:a16="http://schemas.microsoft.com/office/drawing/2014/main" id="{3205CFA3-5822-4A14-BA4F-4FDEF013B3C4}"/>
                      </a:ext>
                    </a:extLst>
                  </p:cNvPr>
                  <p:cNvSpPr/>
                  <p:nvPr/>
                </p:nvSpPr>
                <p:spPr>
                  <a:xfrm>
                    <a:off x="10409235" y="1623383"/>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66" name="Oval 465">
                    <a:extLst>
                      <a:ext uri="{FF2B5EF4-FFF2-40B4-BE49-F238E27FC236}">
                        <a16:creationId xmlns:a16="http://schemas.microsoft.com/office/drawing/2014/main" id="{4157271E-F584-4C80-9141-69A34C3AD0ED}"/>
                      </a:ext>
                    </a:extLst>
                  </p:cNvPr>
                  <p:cNvSpPr/>
                  <p:nvPr/>
                </p:nvSpPr>
                <p:spPr>
                  <a:xfrm>
                    <a:off x="10259076" y="1623383"/>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67" name="Oval 466">
                    <a:extLst>
                      <a:ext uri="{FF2B5EF4-FFF2-40B4-BE49-F238E27FC236}">
                        <a16:creationId xmlns:a16="http://schemas.microsoft.com/office/drawing/2014/main" id="{5E84700C-9C28-435C-9C17-473C1DDBEEF2}"/>
                      </a:ext>
                    </a:extLst>
                  </p:cNvPr>
                  <p:cNvSpPr/>
                  <p:nvPr/>
                </p:nvSpPr>
                <p:spPr>
                  <a:xfrm>
                    <a:off x="10556197" y="1537028"/>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68" name="Oval 467">
                    <a:extLst>
                      <a:ext uri="{FF2B5EF4-FFF2-40B4-BE49-F238E27FC236}">
                        <a16:creationId xmlns:a16="http://schemas.microsoft.com/office/drawing/2014/main" id="{8A9D8F4E-FC53-4E94-9C13-CC5E7879467E}"/>
                      </a:ext>
                    </a:extLst>
                  </p:cNvPr>
                  <p:cNvSpPr/>
                  <p:nvPr/>
                </p:nvSpPr>
                <p:spPr>
                  <a:xfrm>
                    <a:off x="10483169" y="1708478"/>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69" name="Oval 468">
                    <a:extLst>
                      <a:ext uri="{FF2B5EF4-FFF2-40B4-BE49-F238E27FC236}">
                        <a16:creationId xmlns:a16="http://schemas.microsoft.com/office/drawing/2014/main" id="{EC62E556-AF86-4C1A-BF4C-886494866516}"/>
                      </a:ext>
                    </a:extLst>
                  </p:cNvPr>
                  <p:cNvSpPr/>
                  <p:nvPr/>
                </p:nvSpPr>
                <p:spPr>
                  <a:xfrm>
                    <a:off x="10334623" y="1794203"/>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70" name="Oval 469">
                    <a:extLst>
                      <a:ext uri="{FF2B5EF4-FFF2-40B4-BE49-F238E27FC236}">
                        <a16:creationId xmlns:a16="http://schemas.microsoft.com/office/drawing/2014/main" id="{3D153527-7A7E-43F6-B472-EC077761EF86}"/>
                      </a:ext>
                    </a:extLst>
                  </p:cNvPr>
                  <p:cNvSpPr/>
                  <p:nvPr/>
                </p:nvSpPr>
                <p:spPr>
                  <a:xfrm>
                    <a:off x="10183208" y="1794203"/>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71" name="Oval 470">
                    <a:extLst>
                      <a:ext uri="{FF2B5EF4-FFF2-40B4-BE49-F238E27FC236}">
                        <a16:creationId xmlns:a16="http://schemas.microsoft.com/office/drawing/2014/main" id="{A3173D8C-1EBD-446D-8364-2F00B4851B4C}"/>
                      </a:ext>
                    </a:extLst>
                  </p:cNvPr>
                  <p:cNvSpPr/>
                  <p:nvPr/>
                </p:nvSpPr>
                <p:spPr>
                  <a:xfrm>
                    <a:off x="10708430" y="1708478"/>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72" name="Oval 471">
                    <a:extLst>
                      <a:ext uri="{FF2B5EF4-FFF2-40B4-BE49-F238E27FC236}">
                        <a16:creationId xmlns:a16="http://schemas.microsoft.com/office/drawing/2014/main" id="{14056E9D-0A6A-4AFE-B3F3-69F8ED8F38D0}"/>
                      </a:ext>
                    </a:extLst>
                  </p:cNvPr>
                  <p:cNvSpPr/>
                  <p:nvPr/>
                </p:nvSpPr>
                <p:spPr>
                  <a:xfrm>
                    <a:off x="10857889" y="1879928"/>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73" name="Oval 472">
                    <a:extLst>
                      <a:ext uri="{FF2B5EF4-FFF2-40B4-BE49-F238E27FC236}">
                        <a16:creationId xmlns:a16="http://schemas.microsoft.com/office/drawing/2014/main" id="{DC5EEC6A-9B93-4C20-ABC6-C0F3F1F5E805}"/>
                      </a:ext>
                    </a:extLst>
                  </p:cNvPr>
                  <p:cNvSpPr/>
                  <p:nvPr/>
                </p:nvSpPr>
                <p:spPr>
                  <a:xfrm>
                    <a:off x="10631744" y="1879928"/>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74" name="Oval 473">
                    <a:extLst>
                      <a:ext uri="{FF2B5EF4-FFF2-40B4-BE49-F238E27FC236}">
                        <a16:creationId xmlns:a16="http://schemas.microsoft.com/office/drawing/2014/main" id="{5744579B-21A6-49F2-AEB1-96C63D52D5FE}"/>
                      </a:ext>
                    </a:extLst>
                  </p:cNvPr>
                  <p:cNvSpPr/>
                  <p:nvPr/>
                </p:nvSpPr>
                <p:spPr>
                  <a:xfrm>
                    <a:off x="10631744" y="1962012"/>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75" name="Oval 474">
                    <a:extLst>
                      <a:ext uri="{FF2B5EF4-FFF2-40B4-BE49-F238E27FC236}">
                        <a16:creationId xmlns:a16="http://schemas.microsoft.com/office/drawing/2014/main" id="{4041897F-6D6B-4946-8123-CBFA22449DB9}"/>
                      </a:ext>
                    </a:extLst>
                  </p:cNvPr>
                  <p:cNvSpPr/>
                  <p:nvPr/>
                </p:nvSpPr>
                <p:spPr>
                  <a:xfrm>
                    <a:off x="10790750" y="2050584"/>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76" name="Oval 475">
                    <a:extLst>
                      <a:ext uri="{FF2B5EF4-FFF2-40B4-BE49-F238E27FC236}">
                        <a16:creationId xmlns:a16="http://schemas.microsoft.com/office/drawing/2014/main" id="{342B0C80-9B25-41E3-813C-2441F709D873}"/>
                      </a:ext>
                    </a:extLst>
                  </p:cNvPr>
                  <p:cNvSpPr/>
                  <p:nvPr/>
                </p:nvSpPr>
                <p:spPr>
                  <a:xfrm>
                    <a:off x="10488662" y="1962012"/>
                    <a:ext cx="85724" cy="85724"/>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77" name="Oval 476">
                    <a:extLst>
                      <a:ext uri="{FF2B5EF4-FFF2-40B4-BE49-F238E27FC236}">
                        <a16:creationId xmlns:a16="http://schemas.microsoft.com/office/drawing/2014/main" id="{37D15F85-FD37-4784-BB63-31ABB1FB7606}"/>
                      </a:ext>
                    </a:extLst>
                  </p:cNvPr>
                  <p:cNvSpPr/>
                  <p:nvPr/>
                </p:nvSpPr>
                <p:spPr>
                  <a:xfrm>
                    <a:off x="10256894" y="1964859"/>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78" name="Oval 477">
                    <a:extLst>
                      <a:ext uri="{FF2B5EF4-FFF2-40B4-BE49-F238E27FC236}">
                        <a16:creationId xmlns:a16="http://schemas.microsoft.com/office/drawing/2014/main" id="{D2821BD5-7089-4AF9-8461-277DC34C625F}"/>
                      </a:ext>
                    </a:extLst>
                  </p:cNvPr>
                  <p:cNvSpPr/>
                  <p:nvPr/>
                </p:nvSpPr>
                <p:spPr>
                  <a:xfrm>
                    <a:off x="10333091" y="2055207"/>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79" name="Oval 478">
                    <a:extLst>
                      <a:ext uri="{FF2B5EF4-FFF2-40B4-BE49-F238E27FC236}">
                        <a16:creationId xmlns:a16="http://schemas.microsoft.com/office/drawing/2014/main" id="{6625F081-515C-4F00-A913-73EC4F34F2A7}"/>
                      </a:ext>
                    </a:extLst>
                  </p:cNvPr>
                  <p:cNvSpPr/>
                  <p:nvPr/>
                </p:nvSpPr>
                <p:spPr>
                  <a:xfrm>
                    <a:off x="10406112" y="2136309"/>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80" name="Oval 479">
                    <a:extLst>
                      <a:ext uri="{FF2B5EF4-FFF2-40B4-BE49-F238E27FC236}">
                        <a16:creationId xmlns:a16="http://schemas.microsoft.com/office/drawing/2014/main" id="{02CC72A2-969E-4962-975D-DA1AA5CD17BD}"/>
                      </a:ext>
                    </a:extLst>
                  </p:cNvPr>
                  <p:cNvSpPr/>
                  <p:nvPr/>
                </p:nvSpPr>
                <p:spPr>
                  <a:xfrm>
                    <a:off x="10559421" y="2140606"/>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81" name="Oval 480">
                    <a:extLst>
                      <a:ext uri="{FF2B5EF4-FFF2-40B4-BE49-F238E27FC236}">
                        <a16:creationId xmlns:a16="http://schemas.microsoft.com/office/drawing/2014/main" id="{CF3F6803-643E-4C09-AA53-6E47F451D393}"/>
                      </a:ext>
                    </a:extLst>
                  </p:cNvPr>
                  <p:cNvSpPr/>
                  <p:nvPr/>
                </p:nvSpPr>
                <p:spPr>
                  <a:xfrm>
                    <a:off x="10641922" y="2138552"/>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82" name="Oval 481">
                    <a:extLst>
                      <a:ext uri="{FF2B5EF4-FFF2-40B4-BE49-F238E27FC236}">
                        <a16:creationId xmlns:a16="http://schemas.microsoft.com/office/drawing/2014/main" id="{87062C77-09AC-40D1-8681-75A3E7D31539}"/>
                      </a:ext>
                    </a:extLst>
                  </p:cNvPr>
                  <p:cNvSpPr/>
                  <p:nvPr/>
                </p:nvSpPr>
                <p:spPr>
                  <a:xfrm>
                    <a:off x="10559027" y="2306360"/>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83" name="Oval 482">
                    <a:extLst>
                      <a:ext uri="{FF2B5EF4-FFF2-40B4-BE49-F238E27FC236}">
                        <a16:creationId xmlns:a16="http://schemas.microsoft.com/office/drawing/2014/main" id="{B4EF4CC5-F563-424E-A469-A098377BAF7E}"/>
                      </a:ext>
                    </a:extLst>
                  </p:cNvPr>
                  <p:cNvSpPr/>
                  <p:nvPr/>
                </p:nvSpPr>
                <p:spPr>
                  <a:xfrm>
                    <a:off x="10483168" y="2306360"/>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84" name="Oval 483">
                    <a:extLst>
                      <a:ext uri="{FF2B5EF4-FFF2-40B4-BE49-F238E27FC236}">
                        <a16:creationId xmlns:a16="http://schemas.microsoft.com/office/drawing/2014/main" id="{E4AB8724-EF19-41DF-909F-FC623C79C419}"/>
                      </a:ext>
                    </a:extLst>
                  </p:cNvPr>
                  <p:cNvSpPr/>
                  <p:nvPr/>
                </p:nvSpPr>
                <p:spPr>
                  <a:xfrm>
                    <a:off x="10256932" y="2222034"/>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85" name="Oval 484">
                    <a:extLst>
                      <a:ext uri="{FF2B5EF4-FFF2-40B4-BE49-F238E27FC236}">
                        <a16:creationId xmlns:a16="http://schemas.microsoft.com/office/drawing/2014/main" id="{286F3863-E22F-4403-AEAF-68F10CDCC99B}"/>
                      </a:ext>
                    </a:extLst>
                  </p:cNvPr>
                  <p:cNvSpPr/>
                  <p:nvPr/>
                </p:nvSpPr>
                <p:spPr>
                  <a:xfrm>
                    <a:off x="10256932" y="2309044"/>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86" name="Oval 485">
                    <a:extLst>
                      <a:ext uri="{FF2B5EF4-FFF2-40B4-BE49-F238E27FC236}">
                        <a16:creationId xmlns:a16="http://schemas.microsoft.com/office/drawing/2014/main" id="{994DD2A6-A474-4687-85EF-10986D354C21}"/>
                      </a:ext>
                    </a:extLst>
                  </p:cNvPr>
                  <p:cNvSpPr/>
                  <p:nvPr/>
                </p:nvSpPr>
                <p:spPr>
                  <a:xfrm>
                    <a:off x="10641921" y="2398435"/>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87" name="Oval 486">
                    <a:extLst>
                      <a:ext uri="{FF2B5EF4-FFF2-40B4-BE49-F238E27FC236}">
                        <a16:creationId xmlns:a16="http://schemas.microsoft.com/office/drawing/2014/main" id="{83C62925-D425-4B23-8D89-9C8885DBEDDA}"/>
                      </a:ext>
                    </a:extLst>
                  </p:cNvPr>
                  <p:cNvSpPr/>
                  <p:nvPr/>
                </p:nvSpPr>
                <p:spPr>
                  <a:xfrm>
                    <a:off x="10865890" y="2395951"/>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88" name="Oval 487">
                    <a:extLst>
                      <a:ext uri="{FF2B5EF4-FFF2-40B4-BE49-F238E27FC236}">
                        <a16:creationId xmlns:a16="http://schemas.microsoft.com/office/drawing/2014/main" id="{3DF6A792-2133-4039-8F83-9D8828B45EF5}"/>
                      </a:ext>
                    </a:extLst>
                  </p:cNvPr>
                  <p:cNvSpPr/>
                  <p:nvPr/>
                </p:nvSpPr>
                <p:spPr>
                  <a:xfrm>
                    <a:off x="10406278" y="2486025"/>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89" name="Oval 488">
                    <a:extLst>
                      <a:ext uri="{FF2B5EF4-FFF2-40B4-BE49-F238E27FC236}">
                        <a16:creationId xmlns:a16="http://schemas.microsoft.com/office/drawing/2014/main" id="{EB3741C1-1403-428A-9938-562F71C56C2A}"/>
                      </a:ext>
                    </a:extLst>
                  </p:cNvPr>
                  <p:cNvSpPr/>
                  <p:nvPr/>
                </p:nvSpPr>
                <p:spPr>
                  <a:xfrm>
                    <a:off x="10183207" y="2479209"/>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90" name="Oval 489">
                    <a:extLst>
                      <a:ext uri="{FF2B5EF4-FFF2-40B4-BE49-F238E27FC236}">
                        <a16:creationId xmlns:a16="http://schemas.microsoft.com/office/drawing/2014/main" id="{F70714B1-A8FA-4BFF-9CAE-0FBC3B0DB85B}"/>
                      </a:ext>
                    </a:extLst>
                  </p:cNvPr>
                  <p:cNvSpPr/>
                  <p:nvPr/>
                </p:nvSpPr>
                <p:spPr>
                  <a:xfrm>
                    <a:off x="10556197" y="2744469"/>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91" name="Oval 490">
                    <a:extLst>
                      <a:ext uri="{FF2B5EF4-FFF2-40B4-BE49-F238E27FC236}">
                        <a16:creationId xmlns:a16="http://schemas.microsoft.com/office/drawing/2014/main" id="{AFCCB84B-53E8-4BAD-8BD7-F60C5C02CE36}"/>
                      </a:ext>
                    </a:extLst>
                  </p:cNvPr>
                  <p:cNvSpPr/>
                  <p:nvPr/>
                </p:nvSpPr>
                <p:spPr>
                  <a:xfrm>
                    <a:off x="10566627" y="2836544"/>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92" name="Oval 491">
                    <a:extLst>
                      <a:ext uri="{FF2B5EF4-FFF2-40B4-BE49-F238E27FC236}">
                        <a16:creationId xmlns:a16="http://schemas.microsoft.com/office/drawing/2014/main" id="{F92FE89B-0C57-4A87-BA48-E52CCFB8FBD3}"/>
                      </a:ext>
                    </a:extLst>
                  </p:cNvPr>
                  <p:cNvSpPr/>
                  <p:nvPr/>
                </p:nvSpPr>
                <p:spPr>
                  <a:xfrm>
                    <a:off x="10715203" y="2833499"/>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93" name="Oval 492">
                    <a:extLst>
                      <a:ext uri="{FF2B5EF4-FFF2-40B4-BE49-F238E27FC236}">
                        <a16:creationId xmlns:a16="http://schemas.microsoft.com/office/drawing/2014/main" id="{753C2DFC-DFED-4461-B98A-68A43C0BE711}"/>
                      </a:ext>
                    </a:extLst>
                  </p:cNvPr>
                  <p:cNvSpPr/>
                  <p:nvPr/>
                </p:nvSpPr>
                <p:spPr>
                  <a:xfrm>
                    <a:off x="10791914" y="2744469"/>
                    <a:ext cx="85724" cy="85724"/>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94" name="Oval 493">
                    <a:extLst>
                      <a:ext uri="{FF2B5EF4-FFF2-40B4-BE49-F238E27FC236}">
                        <a16:creationId xmlns:a16="http://schemas.microsoft.com/office/drawing/2014/main" id="{568ED809-5553-4B83-A308-01967DCDE8A1}"/>
                      </a:ext>
                    </a:extLst>
                  </p:cNvPr>
                  <p:cNvSpPr/>
                  <p:nvPr/>
                </p:nvSpPr>
                <p:spPr>
                  <a:xfrm>
                    <a:off x="10865196" y="2914830"/>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95" name="Oval 494">
                    <a:extLst>
                      <a:ext uri="{FF2B5EF4-FFF2-40B4-BE49-F238E27FC236}">
                        <a16:creationId xmlns:a16="http://schemas.microsoft.com/office/drawing/2014/main" id="{7E1C87B9-9E9B-46BB-BC5B-6B0F6A5D526C}"/>
                      </a:ext>
                    </a:extLst>
                  </p:cNvPr>
                  <p:cNvSpPr/>
                  <p:nvPr/>
                </p:nvSpPr>
                <p:spPr>
                  <a:xfrm>
                    <a:off x="10333091" y="2921467"/>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96" name="Oval 495">
                    <a:extLst>
                      <a:ext uri="{FF2B5EF4-FFF2-40B4-BE49-F238E27FC236}">
                        <a16:creationId xmlns:a16="http://schemas.microsoft.com/office/drawing/2014/main" id="{D27C7960-CEB8-489A-BCE4-8FDAFB3DB95B}"/>
                      </a:ext>
                    </a:extLst>
                  </p:cNvPr>
                  <p:cNvSpPr/>
                  <p:nvPr/>
                </p:nvSpPr>
                <p:spPr>
                  <a:xfrm>
                    <a:off x="10258803" y="2921467"/>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97" name="Oval 496">
                    <a:extLst>
                      <a:ext uri="{FF2B5EF4-FFF2-40B4-BE49-F238E27FC236}">
                        <a16:creationId xmlns:a16="http://schemas.microsoft.com/office/drawing/2014/main" id="{F143B0E5-4ADC-44C1-88C7-F67031085177}"/>
                      </a:ext>
                    </a:extLst>
                  </p:cNvPr>
                  <p:cNvSpPr/>
                  <p:nvPr/>
                </p:nvSpPr>
                <p:spPr>
                  <a:xfrm>
                    <a:off x="10176913" y="3263573"/>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98" name="Oval 497">
                    <a:extLst>
                      <a:ext uri="{FF2B5EF4-FFF2-40B4-BE49-F238E27FC236}">
                        <a16:creationId xmlns:a16="http://schemas.microsoft.com/office/drawing/2014/main" id="{DA97F59C-5554-412A-9A81-C654E00870DE}"/>
                      </a:ext>
                    </a:extLst>
                  </p:cNvPr>
                  <p:cNvSpPr/>
                  <p:nvPr/>
                </p:nvSpPr>
                <p:spPr>
                  <a:xfrm>
                    <a:off x="10338894" y="3271183"/>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499" name="Oval 498">
                    <a:extLst>
                      <a:ext uri="{FF2B5EF4-FFF2-40B4-BE49-F238E27FC236}">
                        <a16:creationId xmlns:a16="http://schemas.microsoft.com/office/drawing/2014/main" id="{8961E67D-90DF-498F-B265-48AB5BBE2229}"/>
                      </a:ext>
                    </a:extLst>
                  </p:cNvPr>
                  <p:cNvSpPr/>
                  <p:nvPr/>
                </p:nvSpPr>
                <p:spPr>
                  <a:xfrm>
                    <a:off x="10491691" y="3185458"/>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00" name="Oval 499">
                    <a:extLst>
                      <a:ext uri="{FF2B5EF4-FFF2-40B4-BE49-F238E27FC236}">
                        <a16:creationId xmlns:a16="http://schemas.microsoft.com/office/drawing/2014/main" id="{865D695A-E346-4F18-A468-3587AC46CD0F}"/>
                      </a:ext>
                    </a:extLst>
                  </p:cNvPr>
                  <p:cNvSpPr/>
                  <p:nvPr/>
                </p:nvSpPr>
                <p:spPr>
                  <a:xfrm>
                    <a:off x="10927099" y="3174881"/>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01" name="Oval 500">
                    <a:extLst>
                      <a:ext uri="{FF2B5EF4-FFF2-40B4-BE49-F238E27FC236}">
                        <a16:creationId xmlns:a16="http://schemas.microsoft.com/office/drawing/2014/main" id="{9E0A4302-90E4-4AE5-9283-8F0090BCE7E7}"/>
                      </a:ext>
                    </a:extLst>
                  </p:cNvPr>
                  <p:cNvSpPr/>
                  <p:nvPr/>
                </p:nvSpPr>
                <p:spPr>
                  <a:xfrm>
                    <a:off x="10482503" y="3353301"/>
                    <a:ext cx="85724" cy="85724"/>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02" name="Oval 501">
                    <a:extLst>
                      <a:ext uri="{FF2B5EF4-FFF2-40B4-BE49-F238E27FC236}">
                        <a16:creationId xmlns:a16="http://schemas.microsoft.com/office/drawing/2014/main" id="{3EF9AF94-D5EC-4629-BB3E-8AE9F70E9B0D}"/>
                      </a:ext>
                    </a:extLst>
                  </p:cNvPr>
                  <p:cNvSpPr/>
                  <p:nvPr/>
                </p:nvSpPr>
                <p:spPr>
                  <a:xfrm>
                    <a:off x="10631743" y="3356908"/>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03" name="Oval 502">
                    <a:extLst>
                      <a:ext uri="{FF2B5EF4-FFF2-40B4-BE49-F238E27FC236}">
                        <a16:creationId xmlns:a16="http://schemas.microsoft.com/office/drawing/2014/main" id="{9E207E8D-6CC0-48A3-8A41-125AF6DF8D74}"/>
                      </a:ext>
                    </a:extLst>
                  </p:cNvPr>
                  <p:cNvSpPr/>
                  <p:nvPr/>
                </p:nvSpPr>
                <p:spPr>
                  <a:xfrm>
                    <a:off x="10865196" y="3439763"/>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04" name="Oval 503">
                    <a:extLst>
                      <a:ext uri="{FF2B5EF4-FFF2-40B4-BE49-F238E27FC236}">
                        <a16:creationId xmlns:a16="http://schemas.microsoft.com/office/drawing/2014/main" id="{59C9134D-0167-4F86-B1EE-8E8A51BE207E}"/>
                      </a:ext>
                    </a:extLst>
                  </p:cNvPr>
                  <p:cNvSpPr/>
                  <p:nvPr/>
                </p:nvSpPr>
                <p:spPr>
                  <a:xfrm>
                    <a:off x="10779471" y="3519582"/>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05" name="Oval 504">
                    <a:extLst>
                      <a:ext uri="{FF2B5EF4-FFF2-40B4-BE49-F238E27FC236}">
                        <a16:creationId xmlns:a16="http://schemas.microsoft.com/office/drawing/2014/main" id="{CBD94ECB-D9D4-408C-850D-BA3B83454ACA}"/>
                      </a:ext>
                    </a:extLst>
                  </p:cNvPr>
                  <p:cNvSpPr/>
                  <p:nvPr/>
                </p:nvSpPr>
                <p:spPr>
                  <a:xfrm>
                    <a:off x="10262638" y="3433857"/>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06" name="Oval 505">
                    <a:extLst>
                      <a:ext uri="{FF2B5EF4-FFF2-40B4-BE49-F238E27FC236}">
                        <a16:creationId xmlns:a16="http://schemas.microsoft.com/office/drawing/2014/main" id="{75B32605-3B65-41D5-843F-A0D69DFBAAB8}"/>
                      </a:ext>
                    </a:extLst>
                  </p:cNvPr>
                  <p:cNvSpPr/>
                  <p:nvPr/>
                </p:nvSpPr>
                <p:spPr>
                  <a:xfrm>
                    <a:off x="10262638" y="3527564"/>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07" name="Oval 506">
                    <a:extLst>
                      <a:ext uri="{FF2B5EF4-FFF2-40B4-BE49-F238E27FC236}">
                        <a16:creationId xmlns:a16="http://schemas.microsoft.com/office/drawing/2014/main" id="{223933EA-0672-42D5-BDB2-796DA20FAB30}"/>
                      </a:ext>
                    </a:extLst>
                  </p:cNvPr>
                  <p:cNvSpPr/>
                  <p:nvPr/>
                </p:nvSpPr>
                <p:spPr>
                  <a:xfrm>
                    <a:off x="10333090" y="3527564"/>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08" name="Oval 507">
                    <a:extLst>
                      <a:ext uri="{FF2B5EF4-FFF2-40B4-BE49-F238E27FC236}">
                        <a16:creationId xmlns:a16="http://schemas.microsoft.com/office/drawing/2014/main" id="{04CF2874-03FA-4476-880E-2E176AAC3D8C}"/>
                      </a:ext>
                    </a:extLst>
                  </p:cNvPr>
                  <p:cNvSpPr/>
                  <p:nvPr/>
                </p:nvSpPr>
                <p:spPr>
                  <a:xfrm>
                    <a:off x="10480048" y="3527565"/>
                    <a:ext cx="85724" cy="85724"/>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09" name="Oval 508">
                    <a:extLst>
                      <a:ext uri="{FF2B5EF4-FFF2-40B4-BE49-F238E27FC236}">
                        <a16:creationId xmlns:a16="http://schemas.microsoft.com/office/drawing/2014/main" id="{D1743986-92E2-4B3B-BE5F-31F4D2B00AD3}"/>
                      </a:ext>
                    </a:extLst>
                  </p:cNvPr>
                  <p:cNvSpPr/>
                  <p:nvPr/>
                </p:nvSpPr>
                <p:spPr>
                  <a:xfrm>
                    <a:off x="10402985" y="3609414"/>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10" name="Oval 509">
                    <a:extLst>
                      <a:ext uri="{FF2B5EF4-FFF2-40B4-BE49-F238E27FC236}">
                        <a16:creationId xmlns:a16="http://schemas.microsoft.com/office/drawing/2014/main" id="{20D5CD85-5BBD-43EF-8D1D-6759E2FEFEF9}"/>
                      </a:ext>
                    </a:extLst>
                  </p:cNvPr>
                  <p:cNvSpPr/>
                  <p:nvPr/>
                </p:nvSpPr>
                <p:spPr>
                  <a:xfrm>
                    <a:off x="10561877" y="3611720"/>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11" name="Oval 510">
                    <a:extLst>
                      <a:ext uri="{FF2B5EF4-FFF2-40B4-BE49-F238E27FC236}">
                        <a16:creationId xmlns:a16="http://schemas.microsoft.com/office/drawing/2014/main" id="{401EDAED-8092-4A69-A6DA-B73C93E78095}"/>
                      </a:ext>
                    </a:extLst>
                  </p:cNvPr>
                  <p:cNvSpPr/>
                  <p:nvPr/>
                </p:nvSpPr>
                <p:spPr>
                  <a:xfrm>
                    <a:off x="10256894" y="3695045"/>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12" name="Oval 511">
                    <a:extLst>
                      <a:ext uri="{FF2B5EF4-FFF2-40B4-BE49-F238E27FC236}">
                        <a16:creationId xmlns:a16="http://schemas.microsoft.com/office/drawing/2014/main" id="{9F2F0B22-6582-432A-A12D-FCCD0EEF15E3}"/>
                      </a:ext>
                    </a:extLst>
                  </p:cNvPr>
                  <p:cNvSpPr/>
                  <p:nvPr/>
                </p:nvSpPr>
                <p:spPr>
                  <a:xfrm>
                    <a:off x="10546018" y="3780770"/>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13" name="Oval 512">
                    <a:extLst>
                      <a:ext uri="{FF2B5EF4-FFF2-40B4-BE49-F238E27FC236}">
                        <a16:creationId xmlns:a16="http://schemas.microsoft.com/office/drawing/2014/main" id="{694EBA1B-20CB-4089-84D1-9C553CE382C3}"/>
                      </a:ext>
                    </a:extLst>
                  </p:cNvPr>
                  <p:cNvSpPr/>
                  <p:nvPr/>
                </p:nvSpPr>
                <p:spPr>
                  <a:xfrm>
                    <a:off x="10256893" y="3787120"/>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14" name="Oval 513">
                    <a:extLst>
                      <a:ext uri="{FF2B5EF4-FFF2-40B4-BE49-F238E27FC236}">
                        <a16:creationId xmlns:a16="http://schemas.microsoft.com/office/drawing/2014/main" id="{C70C27A1-4701-481D-83C4-A40EF3583AFF}"/>
                      </a:ext>
                    </a:extLst>
                  </p:cNvPr>
                  <p:cNvSpPr/>
                  <p:nvPr/>
                </p:nvSpPr>
                <p:spPr>
                  <a:xfrm>
                    <a:off x="10171168" y="3955533"/>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15" name="Oval 514">
                    <a:extLst>
                      <a:ext uri="{FF2B5EF4-FFF2-40B4-BE49-F238E27FC236}">
                        <a16:creationId xmlns:a16="http://schemas.microsoft.com/office/drawing/2014/main" id="{DA1A21D7-4520-47E2-9E26-D4F5651BB55A}"/>
                      </a:ext>
                    </a:extLst>
                  </p:cNvPr>
                  <p:cNvSpPr/>
                  <p:nvPr/>
                </p:nvSpPr>
                <p:spPr>
                  <a:xfrm>
                    <a:off x="10256893" y="3955672"/>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17" name="Oval 516">
                    <a:extLst>
                      <a:ext uri="{FF2B5EF4-FFF2-40B4-BE49-F238E27FC236}">
                        <a16:creationId xmlns:a16="http://schemas.microsoft.com/office/drawing/2014/main" id="{877696FF-C83E-4FDD-8BD9-88E5051EF4C2}"/>
                      </a:ext>
                    </a:extLst>
                  </p:cNvPr>
                  <p:cNvSpPr/>
                  <p:nvPr/>
                </p:nvSpPr>
                <p:spPr>
                  <a:xfrm>
                    <a:off x="10566627" y="4041304"/>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18" name="Oval 517">
                    <a:extLst>
                      <a:ext uri="{FF2B5EF4-FFF2-40B4-BE49-F238E27FC236}">
                        <a16:creationId xmlns:a16="http://schemas.microsoft.com/office/drawing/2014/main" id="{7E5930C3-3F73-401C-876D-DCC347DE8114}"/>
                      </a:ext>
                    </a:extLst>
                  </p:cNvPr>
                  <p:cNvSpPr/>
                  <p:nvPr/>
                </p:nvSpPr>
                <p:spPr>
                  <a:xfrm>
                    <a:off x="10782693" y="4039199"/>
                    <a:ext cx="85725" cy="85725"/>
                  </a:xfrm>
                  <a:prstGeom prst="ellipse">
                    <a:avLst/>
                  </a:prstGeom>
                  <a:grp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grpSp>
            <p:grpSp>
              <p:nvGrpSpPr>
                <p:cNvPr id="526" name="Group 525">
                  <a:extLst>
                    <a:ext uri="{FF2B5EF4-FFF2-40B4-BE49-F238E27FC236}">
                      <a16:creationId xmlns:a16="http://schemas.microsoft.com/office/drawing/2014/main" id="{AB394C54-1DF3-4F3F-9503-3542D5740C00}"/>
                    </a:ext>
                  </a:extLst>
                </p:cNvPr>
                <p:cNvGrpSpPr/>
                <p:nvPr/>
              </p:nvGrpSpPr>
              <p:grpSpPr>
                <a:xfrm>
                  <a:off x="10253169" y="1437224"/>
                  <a:ext cx="623305" cy="2426695"/>
                  <a:chOff x="10253169" y="1437224"/>
                  <a:chExt cx="623305" cy="2426695"/>
                </a:xfrm>
              </p:grpSpPr>
              <p:sp>
                <p:nvSpPr>
                  <p:cNvPr id="519" name="Oval 518">
                    <a:extLst>
                      <a:ext uri="{FF2B5EF4-FFF2-40B4-BE49-F238E27FC236}">
                        <a16:creationId xmlns:a16="http://schemas.microsoft.com/office/drawing/2014/main" id="{63A120DD-14C2-45DE-AAE4-5C7C597CBB07}"/>
                      </a:ext>
                    </a:extLst>
                  </p:cNvPr>
                  <p:cNvSpPr/>
                  <p:nvPr/>
                </p:nvSpPr>
                <p:spPr>
                  <a:xfrm>
                    <a:off x="10715203" y="3778194"/>
                    <a:ext cx="85725" cy="85725"/>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20" name="Oval 519">
                    <a:extLst>
                      <a:ext uri="{FF2B5EF4-FFF2-40B4-BE49-F238E27FC236}">
                        <a16:creationId xmlns:a16="http://schemas.microsoft.com/office/drawing/2014/main" id="{E89F824A-4262-43E8-84EB-2790E9A82275}"/>
                      </a:ext>
                    </a:extLst>
                  </p:cNvPr>
                  <p:cNvSpPr/>
                  <p:nvPr/>
                </p:nvSpPr>
                <p:spPr>
                  <a:xfrm>
                    <a:off x="10709172" y="3087823"/>
                    <a:ext cx="85725" cy="85725"/>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21" name="Oval 520">
                    <a:extLst>
                      <a:ext uri="{FF2B5EF4-FFF2-40B4-BE49-F238E27FC236}">
                        <a16:creationId xmlns:a16="http://schemas.microsoft.com/office/drawing/2014/main" id="{0AD6A5F1-B4C1-479A-9180-893DB5B66411}"/>
                      </a:ext>
                    </a:extLst>
                  </p:cNvPr>
                  <p:cNvSpPr/>
                  <p:nvPr/>
                </p:nvSpPr>
                <p:spPr>
                  <a:xfrm>
                    <a:off x="10253169" y="2745047"/>
                    <a:ext cx="85725" cy="85725"/>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22" name="Oval 521">
                    <a:extLst>
                      <a:ext uri="{FF2B5EF4-FFF2-40B4-BE49-F238E27FC236}">
                        <a16:creationId xmlns:a16="http://schemas.microsoft.com/office/drawing/2014/main" id="{C6947A04-C5BC-4798-A731-5B2BB86BC20C}"/>
                      </a:ext>
                    </a:extLst>
                  </p:cNvPr>
                  <p:cNvSpPr/>
                  <p:nvPr/>
                </p:nvSpPr>
                <p:spPr>
                  <a:xfrm>
                    <a:off x="10717883" y="2304117"/>
                    <a:ext cx="85724" cy="85726"/>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23" name="Oval 522">
                    <a:extLst>
                      <a:ext uri="{FF2B5EF4-FFF2-40B4-BE49-F238E27FC236}">
                        <a16:creationId xmlns:a16="http://schemas.microsoft.com/office/drawing/2014/main" id="{1901EF35-5A55-4D71-A283-DA19CFF4526C}"/>
                      </a:ext>
                    </a:extLst>
                  </p:cNvPr>
                  <p:cNvSpPr/>
                  <p:nvPr/>
                </p:nvSpPr>
                <p:spPr>
                  <a:xfrm>
                    <a:off x="10781207" y="2145578"/>
                    <a:ext cx="85725" cy="85725"/>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24" name="Oval 523">
                    <a:extLst>
                      <a:ext uri="{FF2B5EF4-FFF2-40B4-BE49-F238E27FC236}">
                        <a16:creationId xmlns:a16="http://schemas.microsoft.com/office/drawing/2014/main" id="{67D100FF-1E1B-4358-9449-EA2448523963}"/>
                      </a:ext>
                    </a:extLst>
                  </p:cNvPr>
                  <p:cNvSpPr/>
                  <p:nvPr/>
                </p:nvSpPr>
                <p:spPr>
                  <a:xfrm>
                    <a:off x="10790749" y="1624740"/>
                    <a:ext cx="85725" cy="85725"/>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25" name="Oval 524">
                    <a:extLst>
                      <a:ext uri="{FF2B5EF4-FFF2-40B4-BE49-F238E27FC236}">
                        <a16:creationId xmlns:a16="http://schemas.microsoft.com/office/drawing/2014/main" id="{BF2AA84D-34CC-46ED-B694-FA5126A16769}"/>
                      </a:ext>
                    </a:extLst>
                  </p:cNvPr>
                  <p:cNvSpPr/>
                  <p:nvPr/>
                </p:nvSpPr>
                <p:spPr>
                  <a:xfrm>
                    <a:off x="10715202" y="1437224"/>
                    <a:ext cx="85725" cy="85725"/>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grpSp>
          </p:grpSp>
          <p:grpSp>
            <p:nvGrpSpPr>
              <p:cNvPr id="539" name="Group 538">
                <a:extLst>
                  <a:ext uri="{FF2B5EF4-FFF2-40B4-BE49-F238E27FC236}">
                    <a16:creationId xmlns:a16="http://schemas.microsoft.com/office/drawing/2014/main" id="{6BFD468A-A333-480A-8C61-1D5526F6766E}"/>
                  </a:ext>
                </a:extLst>
              </p:cNvPr>
              <p:cNvGrpSpPr/>
              <p:nvPr/>
            </p:nvGrpSpPr>
            <p:grpSpPr>
              <a:xfrm>
                <a:off x="2085908" y="2043590"/>
                <a:ext cx="505070" cy="1306437"/>
                <a:chOff x="11326924" y="2051776"/>
                <a:chExt cx="537637" cy="1551616"/>
              </a:xfrm>
            </p:grpSpPr>
            <p:sp>
              <p:nvSpPr>
                <p:cNvPr id="529" name="Oval 528">
                  <a:extLst>
                    <a:ext uri="{FF2B5EF4-FFF2-40B4-BE49-F238E27FC236}">
                      <a16:creationId xmlns:a16="http://schemas.microsoft.com/office/drawing/2014/main" id="{1B2A81D7-3721-4536-9470-5FE7F601F534}"/>
                    </a:ext>
                  </a:extLst>
                </p:cNvPr>
                <p:cNvSpPr/>
                <p:nvPr/>
              </p:nvSpPr>
              <p:spPr>
                <a:xfrm>
                  <a:off x="11407845" y="2147165"/>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30" name="Oval 529">
                  <a:extLst>
                    <a:ext uri="{FF2B5EF4-FFF2-40B4-BE49-F238E27FC236}">
                      <a16:creationId xmlns:a16="http://schemas.microsoft.com/office/drawing/2014/main" id="{42E455D2-F3A9-41B8-A4ED-8E64050F137F}"/>
                    </a:ext>
                  </a:extLst>
                </p:cNvPr>
                <p:cNvSpPr/>
                <p:nvPr/>
              </p:nvSpPr>
              <p:spPr>
                <a:xfrm>
                  <a:off x="11778836" y="2051776"/>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31" name="Oval 530">
                  <a:extLst>
                    <a:ext uri="{FF2B5EF4-FFF2-40B4-BE49-F238E27FC236}">
                      <a16:creationId xmlns:a16="http://schemas.microsoft.com/office/drawing/2014/main" id="{5D3C9166-B5D2-4E07-9415-1D158E7A9F37}"/>
                    </a:ext>
                  </a:extLst>
                </p:cNvPr>
                <p:cNvSpPr/>
                <p:nvPr/>
              </p:nvSpPr>
              <p:spPr>
                <a:xfrm>
                  <a:off x="11556320" y="2400300"/>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32" name="Oval 531">
                  <a:extLst>
                    <a:ext uri="{FF2B5EF4-FFF2-40B4-BE49-F238E27FC236}">
                      <a16:creationId xmlns:a16="http://schemas.microsoft.com/office/drawing/2014/main" id="{576CBBC4-22C0-4E2E-A115-C93FA83B4C02}"/>
                    </a:ext>
                  </a:extLst>
                </p:cNvPr>
                <p:cNvSpPr/>
                <p:nvPr/>
              </p:nvSpPr>
              <p:spPr>
                <a:xfrm>
                  <a:off x="11773393" y="2578513"/>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33" name="Oval 532">
                  <a:extLst>
                    <a:ext uri="{FF2B5EF4-FFF2-40B4-BE49-F238E27FC236}">
                      <a16:creationId xmlns:a16="http://schemas.microsoft.com/office/drawing/2014/main" id="{2ED5F05E-E059-457B-983C-676166E6F2BD}"/>
                    </a:ext>
                  </a:extLst>
                </p:cNvPr>
                <p:cNvSpPr/>
                <p:nvPr/>
              </p:nvSpPr>
              <p:spPr>
                <a:xfrm>
                  <a:off x="11560538" y="2657476"/>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34" name="Oval 533">
                  <a:extLst>
                    <a:ext uri="{FF2B5EF4-FFF2-40B4-BE49-F238E27FC236}">
                      <a16:creationId xmlns:a16="http://schemas.microsoft.com/office/drawing/2014/main" id="{308DFAB6-6E9A-4923-96A4-5247B9FF4186}"/>
                    </a:ext>
                  </a:extLst>
                </p:cNvPr>
                <p:cNvSpPr/>
                <p:nvPr/>
              </p:nvSpPr>
              <p:spPr>
                <a:xfrm>
                  <a:off x="11326924" y="2831782"/>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35" name="Oval 534">
                  <a:extLst>
                    <a:ext uri="{FF2B5EF4-FFF2-40B4-BE49-F238E27FC236}">
                      <a16:creationId xmlns:a16="http://schemas.microsoft.com/office/drawing/2014/main" id="{92A73370-FD91-4FD3-BEEF-DF20DEA89B3D}"/>
                    </a:ext>
                  </a:extLst>
                </p:cNvPr>
                <p:cNvSpPr/>
                <p:nvPr/>
              </p:nvSpPr>
              <p:spPr>
                <a:xfrm>
                  <a:off x="11556319" y="3002098"/>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36" name="Oval 535">
                  <a:extLst>
                    <a:ext uri="{FF2B5EF4-FFF2-40B4-BE49-F238E27FC236}">
                      <a16:creationId xmlns:a16="http://schemas.microsoft.com/office/drawing/2014/main" id="{4072812B-CC80-4BE8-850A-1B333CF04348}"/>
                    </a:ext>
                  </a:extLst>
                </p:cNvPr>
                <p:cNvSpPr/>
                <p:nvPr/>
              </p:nvSpPr>
              <p:spPr>
                <a:xfrm>
                  <a:off x="11637694" y="3266419"/>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37" name="Oval 536">
                  <a:extLst>
                    <a:ext uri="{FF2B5EF4-FFF2-40B4-BE49-F238E27FC236}">
                      <a16:creationId xmlns:a16="http://schemas.microsoft.com/office/drawing/2014/main" id="{BF1F16B2-167E-4C7F-BDEA-6885E70B8CBF}"/>
                    </a:ext>
                  </a:extLst>
                </p:cNvPr>
                <p:cNvSpPr/>
                <p:nvPr/>
              </p:nvSpPr>
              <p:spPr>
                <a:xfrm>
                  <a:off x="11637693" y="3517667"/>
                  <a:ext cx="85725" cy="85725"/>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38" name="Oval 537">
                  <a:extLst>
                    <a:ext uri="{FF2B5EF4-FFF2-40B4-BE49-F238E27FC236}">
                      <a16:creationId xmlns:a16="http://schemas.microsoft.com/office/drawing/2014/main" id="{14720A65-CB2C-4D1C-A072-6D698AD3A146}"/>
                    </a:ext>
                  </a:extLst>
                </p:cNvPr>
                <p:cNvSpPr/>
                <p:nvPr/>
              </p:nvSpPr>
              <p:spPr>
                <a:xfrm>
                  <a:off x="11402075" y="3174881"/>
                  <a:ext cx="85725" cy="85725"/>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grpSp>
          <p:grpSp>
            <p:nvGrpSpPr>
              <p:cNvPr id="545" name="Group 544">
                <a:extLst>
                  <a:ext uri="{FF2B5EF4-FFF2-40B4-BE49-F238E27FC236}">
                    <a16:creationId xmlns:a16="http://schemas.microsoft.com/office/drawing/2014/main" id="{1CBA0084-FBC2-4381-A717-884FEE8F8806}"/>
                  </a:ext>
                </a:extLst>
              </p:cNvPr>
              <p:cNvGrpSpPr/>
              <p:nvPr/>
            </p:nvGrpSpPr>
            <p:grpSpPr>
              <a:xfrm>
                <a:off x="3430307" y="2263293"/>
                <a:ext cx="282370" cy="939426"/>
                <a:chOff x="12474953" y="2312710"/>
                <a:chExt cx="300577" cy="1115728"/>
              </a:xfrm>
            </p:grpSpPr>
            <p:sp>
              <p:nvSpPr>
                <p:cNvPr id="540" name="Oval 539">
                  <a:extLst>
                    <a:ext uri="{FF2B5EF4-FFF2-40B4-BE49-F238E27FC236}">
                      <a16:creationId xmlns:a16="http://schemas.microsoft.com/office/drawing/2014/main" id="{8A93E3AE-2129-4544-9E39-347092669901}"/>
                    </a:ext>
                  </a:extLst>
                </p:cNvPr>
                <p:cNvSpPr/>
                <p:nvPr/>
              </p:nvSpPr>
              <p:spPr>
                <a:xfrm>
                  <a:off x="12689805" y="2312710"/>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41" name="Oval 540">
                  <a:extLst>
                    <a:ext uri="{FF2B5EF4-FFF2-40B4-BE49-F238E27FC236}">
                      <a16:creationId xmlns:a16="http://schemas.microsoft.com/office/drawing/2014/main" id="{E4F47190-5980-4A5F-8B2C-69B12DE7B224}"/>
                    </a:ext>
                  </a:extLst>
                </p:cNvPr>
                <p:cNvSpPr/>
                <p:nvPr/>
              </p:nvSpPr>
              <p:spPr>
                <a:xfrm>
                  <a:off x="12478733" y="2562347"/>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42" name="Oval 541">
                  <a:extLst>
                    <a:ext uri="{FF2B5EF4-FFF2-40B4-BE49-F238E27FC236}">
                      <a16:creationId xmlns:a16="http://schemas.microsoft.com/office/drawing/2014/main" id="{BFEDA66C-508C-43DA-9952-BE068741F89A}"/>
                    </a:ext>
                  </a:extLst>
                </p:cNvPr>
                <p:cNvSpPr/>
                <p:nvPr/>
              </p:nvSpPr>
              <p:spPr>
                <a:xfrm>
                  <a:off x="12474953" y="3185457"/>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43" name="Oval 542">
                  <a:extLst>
                    <a:ext uri="{FF2B5EF4-FFF2-40B4-BE49-F238E27FC236}">
                      <a16:creationId xmlns:a16="http://schemas.microsoft.com/office/drawing/2014/main" id="{E0E24F99-3FE8-4704-9C69-3F33ED5E96F7}"/>
                    </a:ext>
                  </a:extLst>
                </p:cNvPr>
                <p:cNvSpPr/>
                <p:nvPr/>
              </p:nvSpPr>
              <p:spPr>
                <a:xfrm>
                  <a:off x="12682245" y="3342713"/>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44" name="Oval 543">
                  <a:extLst>
                    <a:ext uri="{FF2B5EF4-FFF2-40B4-BE49-F238E27FC236}">
                      <a16:creationId xmlns:a16="http://schemas.microsoft.com/office/drawing/2014/main" id="{DEBB6981-ED54-4FB7-9EAE-63106FA5A261}"/>
                    </a:ext>
                  </a:extLst>
                </p:cNvPr>
                <p:cNvSpPr/>
                <p:nvPr/>
              </p:nvSpPr>
              <p:spPr>
                <a:xfrm>
                  <a:off x="12684749" y="2995050"/>
                  <a:ext cx="85725" cy="85725"/>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grpSp>
          <p:grpSp>
            <p:nvGrpSpPr>
              <p:cNvPr id="552" name="Group 551">
                <a:extLst>
                  <a:ext uri="{FF2B5EF4-FFF2-40B4-BE49-F238E27FC236}">
                    <a16:creationId xmlns:a16="http://schemas.microsoft.com/office/drawing/2014/main" id="{544C2C52-D287-4CA2-A95A-B442B8BC827F}"/>
                  </a:ext>
                </a:extLst>
              </p:cNvPr>
              <p:cNvGrpSpPr/>
              <p:nvPr/>
            </p:nvGrpSpPr>
            <p:grpSpPr>
              <a:xfrm>
                <a:off x="4585776" y="2341135"/>
                <a:ext cx="282125" cy="639298"/>
                <a:chOff x="13687594" y="2405161"/>
                <a:chExt cx="300317" cy="759275"/>
              </a:xfrm>
            </p:grpSpPr>
            <p:sp>
              <p:nvSpPr>
                <p:cNvPr id="546" name="Oval 545">
                  <a:extLst>
                    <a:ext uri="{FF2B5EF4-FFF2-40B4-BE49-F238E27FC236}">
                      <a16:creationId xmlns:a16="http://schemas.microsoft.com/office/drawing/2014/main" id="{C2C97A1A-61FE-438B-B319-9F736290B608}"/>
                    </a:ext>
                  </a:extLst>
                </p:cNvPr>
                <p:cNvSpPr/>
                <p:nvPr/>
              </p:nvSpPr>
              <p:spPr>
                <a:xfrm>
                  <a:off x="13758947" y="2405161"/>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47" name="Oval 546">
                  <a:extLst>
                    <a:ext uri="{FF2B5EF4-FFF2-40B4-BE49-F238E27FC236}">
                      <a16:creationId xmlns:a16="http://schemas.microsoft.com/office/drawing/2014/main" id="{C4E8AD03-3CC0-44AC-9CFF-5F7D7FF5C02B}"/>
                    </a:ext>
                  </a:extLst>
                </p:cNvPr>
                <p:cNvSpPr/>
                <p:nvPr/>
              </p:nvSpPr>
              <p:spPr>
                <a:xfrm>
                  <a:off x="13687594" y="2992986"/>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48" name="Oval 547">
                  <a:extLst>
                    <a:ext uri="{FF2B5EF4-FFF2-40B4-BE49-F238E27FC236}">
                      <a16:creationId xmlns:a16="http://schemas.microsoft.com/office/drawing/2014/main" id="{1B712D57-1791-4414-80FE-CE62F6B58407}"/>
                    </a:ext>
                  </a:extLst>
                </p:cNvPr>
                <p:cNvSpPr/>
                <p:nvPr/>
              </p:nvSpPr>
              <p:spPr>
                <a:xfrm>
                  <a:off x="13902186" y="3078711"/>
                  <a:ext cx="85725" cy="85725"/>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grpSp>
          <p:grpSp>
            <p:nvGrpSpPr>
              <p:cNvPr id="551" name="Group 550">
                <a:extLst>
                  <a:ext uri="{FF2B5EF4-FFF2-40B4-BE49-F238E27FC236}">
                    <a16:creationId xmlns:a16="http://schemas.microsoft.com/office/drawing/2014/main" id="{4435FAD1-77F3-4D4C-946D-3DD3D8B08E34}"/>
                  </a:ext>
                </a:extLst>
              </p:cNvPr>
              <p:cNvGrpSpPr/>
              <p:nvPr/>
            </p:nvGrpSpPr>
            <p:grpSpPr>
              <a:xfrm>
                <a:off x="5828980" y="2607503"/>
                <a:ext cx="500397" cy="169023"/>
                <a:chOff x="14892594" y="2721525"/>
                <a:chExt cx="532664" cy="200744"/>
              </a:xfrm>
            </p:grpSpPr>
            <p:sp>
              <p:nvSpPr>
                <p:cNvPr id="549" name="Oval 548">
                  <a:extLst>
                    <a:ext uri="{FF2B5EF4-FFF2-40B4-BE49-F238E27FC236}">
                      <a16:creationId xmlns:a16="http://schemas.microsoft.com/office/drawing/2014/main" id="{C069334C-B526-415E-9B4B-83B14F131AF9}"/>
                    </a:ext>
                  </a:extLst>
                </p:cNvPr>
                <p:cNvSpPr/>
                <p:nvPr/>
              </p:nvSpPr>
              <p:spPr>
                <a:xfrm>
                  <a:off x="15339534" y="2721525"/>
                  <a:ext cx="85724" cy="85725"/>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sp>
              <p:nvSpPr>
                <p:cNvPr id="550" name="Oval 549">
                  <a:extLst>
                    <a:ext uri="{FF2B5EF4-FFF2-40B4-BE49-F238E27FC236}">
                      <a16:creationId xmlns:a16="http://schemas.microsoft.com/office/drawing/2014/main" id="{8D168C56-9FD1-418E-B6BB-3F4BAD01F9BD}"/>
                    </a:ext>
                  </a:extLst>
                </p:cNvPr>
                <p:cNvSpPr/>
                <p:nvPr/>
              </p:nvSpPr>
              <p:spPr>
                <a:xfrm>
                  <a:off x="14892594" y="2836544"/>
                  <a:ext cx="85725" cy="85725"/>
                </a:xfrm>
                <a:prstGeom prst="ellipse">
                  <a:avLst/>
                </a:prstGeom>
                <a:solidFill>
                  <a:srgbClr val="5B7893"/>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grpSp>
          <p:sp>
            <p:nvSpPr>
              <p:cNvPr id="554" name="Oval 553">
                <a:extLst>
                  <a:ext uri="{FF2B5EF4-FFF2-40B4-BE49-F238E27FC236}">
                    <a16:creationId xmlns:a16="http://schemas.microsoft.com/office/drawing/2014/main" id="{4C21601F-DCBC-4375-944E-EFE82EEAEF35}"/>
                  </a:ext>
                </a:extLst>
              </p:cNvPr>
              <p:cNvSpPr/>
              <p:nvPr/>
            </p:nvSpPr>
            <p:spPr>
              <a:xfrm>
                <a:off x="7137281" y="2533079"/>
                <a:ext cx="198395" cy="73148"/>
              </a:xfrm>
              <a:prstGeom prst="ellipse">
                <a:avLst/>
              </a:prstGeom>
              <a:solidFill>
                <a:srgbClr val="00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endParaRPr lang="en-US" sz="2400" dirty="0">
                  <a:solidFill>
                    <a:prstClr val="white"/>
                  </a:solidFill>
                  <a:latin typeface="Arial" panose="020B0604020202020204" pitchFamily="34" charset="0"/>
                  <a:cs typeface="Arial" panose="020B0604020202020204" pitchFamily="34" charset="0"/>
                </a:endParaRPr>
              </a:p>
            </p:txBody>
          </p:sp>
        </p:grpSp>
        <p:sp>
          <p:nvSpPr>
            <p:cNvPr id="461" name="Rectangle: Rounded Corners 460">
              <a:extLst>
                <a:ext uri="{FF2B5EF4-FFF2-40B4-BE49-F238E27FC236}">
                  <a16:creationId xmlns:a16="http://schemas.microsoft.com/office/drawing/2014/main" id="{E355A07C-309E-4E93-A56E-9550C8DEDFD7}"/>
                </a:ext>
              </a:extLst>
            </p:cNvPr>
            <p:cNvSpPr/>
            <p:nvPr/>
          </p:nvSpPr>
          <p:spPr>
            <a:xfrm rot="16200000">
              <a:off x="-290376" y="2804247"/>
              <a:ext cx="2159862" cy="393789"/>
            </a:xfrm>
            <a:prstGeom prst="roundRect">
              <a:avLst/>
            </a:prstGeom>
            <a:noFill/>
            <a:ln>
              <a:noFill/>
            </a:ln>
            <a:effectLst/>
            <a:scene3d>
              <a:camera prst="orthographicFront">
                <a:rot lat="0" lon="0" rev="0"/>
              </a:camera>
              <a:lightRig rig="threePt" dir="t">
                <a:rot lat="0" lon="0" rev="1200000"/>
              </a:lightRig>
            </a:scene3d>
            <a:sp3d>
              <a:bevelT w="63500" h="25400"/>
            </a:sp3d>
          </p:spPr>
          <p:txBody>
            <a:bodyPr lIns="121920" rIns="121920" rtlCol="0" anchor="ctr"/>
            <a:lstStyle/>
            <a:p>
              <a:pPr algn="ctr" defTabSz="1219110">
                <a:defRPr/>
              </a:pPr>
              <a:r>
                <a:rPr lang="en-US" sz="1333" b="1" kern="0" dirty="0">
                  <a:solidFill>
                    <a:srgbClr val="031B1A"/>
                  </a:solidFill>
                  <a:latin typeface="Arial" panose="020B0604020202020204" pitchFamily="34" charset="0"/>
                  <a:cs typeface="Arial" panose="020B0604020202020204" pitchFamily="34" charset="0"/>
                </a:rPr>
                <a:t>PRODUCT PIPELINE</a:t>
              </a:r>
            </a:p>
          </p:txBody>
        </p:sp>
        <p:cxnSp>
          <p:nvCxnSpPr>
            <p:cNvPr id="43" name="Straight Connector 42">
              <a:extLst>
                <a:ext uri="{FF2B5EF4-FFF2-40B4-BE49-F238E27FC236}">
                  <a16:creationId xmlns:a16="http://schemas.microsoft.com/office/drawing/2014/main" id="{5F06D8B2-0E2F-4C67-A619-6C3ECC574705}"/>
                </a:ext>
              </a:extLst>
            </p:cNvPr>
            <p:cNvCxnSpPr>
              <a:cxnSpLocks/>
            </p:cNvCxnSpPr>
            <p:nvPr/>
          </p:nvCxnSpPr>
          <p:spPr>
            <a:xfrm>
              <a:off x="1623294" y="1669308"/>
              <a:ext cx="43603" cy="2811339"/>
            </a:xfrm>
            <a:prstGeom prst="line">
              <a:avLst/>
            </a:prstGeom>
            <a:noFill/>
            <a:ln w="25400" cap="flat" cmpd="sng" algn="ctr">
              <a:solidFill>
                <a:schemeClr val="bg1">
                  <a:lumMod val="50000"/>
                </a:schemeClr>
              </a:solidFill>
              <a:prstDash val="sysDot"/>
            </a:ln>
            <a:effectLst/>
          </p:spPr>
        </p:cxnSp>
        <p:cxnSp>
          <p:nvCxnSpPr>
            <p:cNvPr id="44" name="Straight Connector 43">
              <a:extLst>
                <a:ext uri="{FF2B5EF4-FFF2-40B4-BE49-F238E27FC236}">
                  <a16:creationId xmlns:a16="http://schemas.microsoft.com/office/drawing/2014/main" id="{58354026-D90C-4474-AE3E-956EE6C1BAFB}"/>
                </a:ext>
              </a:extLst>
            </p:cNvPr>
            <p:cNvCxnSpPr>
              <a:cxnSpLocks/>
            </p:cNvCxnSpPr>
            <p:nvPr/>
          </p:nvCxnSpPr>
          <p:spPr>
            <a:xfrm>
              <a:off x="2099686" y="1629489"/>
              <a:ext cx="16568" cy="2865851"/>
            </a:xfrm>
            <a:prstGeom prst="line">
              <a:avLst/>
            </a:prstGeom>
            <a:noFill/>
            <a:ln w="25400" cap="flat" cmpd="sng" algn="ctr">
              <a:solidFill>
                <a:schemeClr val="bg1">
                  <a:lumMod val="50000"/>
                </a:schemeClr>
              </a:solidFill>
              <a:prstDash val="sysDot"/>
            </a:ln>
            <a:effectLst/>
          </p:spPr>
        </p:cxnSp>
        <p:cxnSp>
          <p:nvCxnSpPr>
            <p:cNvPr id="45" name="Straight Connector 44">
              <a:extLst>
                <a:ext uri="{FF2B5EF4-FFF2-40B4-BE49-F238E27FC236}">
                  <a16:creationId xmlns:a16="http://schemas.microsoft.com/office/drawing/2014/main" id="{8B08589D-1A43-4C17-BA5B-DCE4B22BACBD}"/>
                </a:ext>
              </a:extLst>
            </p:cNvPr>
            <p:cNvCxnSpPr>
              <a:cxnSpLocks/>
            </p:cNvCxnSpPr>
            <p:nvPr/>
          </p:nvCxnSpPr>
          <p:spPr>
            <a:xfrm>
              <a:off x="2823471" y="1629487"/>
              <a:ext cx="16430" cy="2842032"/>
            </a:xfrm>
            <a:prstGeom prst="line">
              <a:avLst/>
            </a:prstGeom>
            <a:noFill/>
            <a:ln w="25400" cap="flat" cmpd="sng" algn="ctr">
              <a:solidFill>
                <a:schemeClr val="bg1">
                  <a:lumMod val="50000"/>
                </a:schemeClr>
              </a:solidFill>
              <a:prstDash val="sysDot"/>
            </a:ln>
            <a:effectLst/>
          </p:spPr>
        </p:cxnSp>
        <p:cxnSp>
          <p:nvCxnSpPr>
            <p:cNvPr id="46" name="Straight Connector 45">
              <a:extLst>
                <a:ext uri="{FF2B5EF4-FFF2-40B4-BE49-F238E27FC236}">
                  <a16:creationId xmlns:a16="http://schemas.microsoft.com/office/drawing/2014/main" id="{11A6B781-FB0D-4C18-BBEC-3C77DB51EA4A}"/>
                </a:ext>
              </a:extLst>
            </p:cNvPr>
            <p:cNvCxnSpPr>
              <a:cxnSpLocks/>
            </p:cNvCxnSpPr>
            <p:nvPr/>
          </p:nvCxnSpPr>
          <p:spPr>
            <a:xfrm>
              <a:off x="4914029" y="1770099"/>
              <a:ext cx="15585" cy="2695901"/>
            </a:xfrm>
            <a:prstGeom prst="line">
              <a:avLst/>
            </a:prstGeom>
            <a:noFill/>
            <a:ln w="25400" cap="flat" cmpd="sng" algn="ctr">
              <a:solidFill>
                <a:schemeClr val="bg1">
                  <a:lumMod val="50000"/>
                </a:schemeClr>
              </a:solidFill>
              <a:prstDash val="sysDot"/>
            </a:ln>
            <a:effectLst/>
          </p:spPr>
        </p:cxnSp>
        <p:cxnSp>
          <p:nvCxnSpPr>
            <p:cNvPr id="47" name="Straight Connector 46">
              <a:extLst>
                <a:ext uri="{FF2B5EF4-FFF2-40B4-BE49-F238E27FC236}">
                  <a16:creationId xmlns:a16="http://schemas.microsoft.com/office/drawing/2014/main" id="{F762C143-10E8-40B9-8039-DA87D971471E}"/>
                </a:ext>
              </a:extLst>
            </p:cNvPr>
            <p:cNvCxnSpPr>
              <a:cxnSpLocks/>
            </p:cNvCxnSpPr>
            <p:nvPr/>
          </p:nvCxnSpPr>
          <p:spPr>
            <a:xfrm>
              <a:off x="4192423" y="1524000"/>
              <a:ext cx="20836" cy="3001722"/>
            </a:xfrm>
            <a:prstGeom prst="line">
              <a:avLst/>
            </a:prstGeom>
            <a:noFill/>
            <a:ln w="25400" cap="flat" cmpd="sng" algn="ctr">
              <a:solidFill>
                <a:schemeClr val="bg1">
                  <a:lumMod val="50000"/>
                </a:schemeClr>
              </a:solidFill>
              <a:prstDash val="sysDot"/>
            </a:ln>
            <a:effectLst/>
          </p:spPr>
        </p:cxnSp>
        <p:sp>
          <p:nvSpPr>
            <p:cNvPr id="50" name="Freeform 49">
              <a:extLst>
                <a:ext uri="{FF2B5EF4-FFF2-40B4-BE49-F238E27FC236}">
                  <a16:creationId xmlns:a16="http://schemas.microsoft.com/office/drawing/2014/main" id="{38872087-D174-4F63-82F8-E25DDFA28FEF}"/>
                </a:ext>
              </a:extLst>
            </p:cNvPr>
            <p:cNvSpPr>
              <a:spLocks/>
            </p:cNvSpPr>
            <p:nvPr/>
          </p:nvSpPr>
          <p:spPr bwMode="auto">
            <a:xfrm>
              <a:off x="3838098" y="2931680"/>
              <a:ext cx="1613961" cy="417636"/>
            </a:xfrm>
            <a:custGeom>
              <a:avLst/>
              <a:gdLst>
                <a:gd name="T0" fmla="*/ 0 w 1305"/>
                <a:gd name="T1" fmla="*/ 2 h 472"/>
                <a:gd name="T2" fmla="*/ 1091 w 1305"/>
                <a:gd name="T3" fmla="*/ 0 h 472"/>
                <a:gd name="T4" fmla="*/ 1305 w 1305"/>
                <a:gd name="T5" fmla="*/ 236 h 472"/>
                <a:gd name="T6" fmla="*/ 1091 w 1305"/>
                <a:gd name="T7" fmla="*/ 471 h 472"/>
                <a:gd name="T8" fmla="*/ 0 w 1305"/>
                <a:gd name="T9" fmla="*/ 472 h 472"/>
                <a:gd name="T10" fmla="*/ 0 w 1305"/>
                <a:gd name="T11" fmla="*/ 2 h 472"/>
              </a:gdLst>
              <a:ahLst/>
              <a:cxnLst>
                <a:cxn ang="0">
                  <a:pos x="T0" y="T1"/>
                </a:cxn>
                <a:cxn ang="0">
                  <a:pos x="T2" y="T3"/>
                </a:cxn>
                <a:cxn ang="0">
                  <a:pos x="T4" y="T5"/>
                </a:cxn>
                <a:cxn ang="0">
                  <a:pos x="T6" y="T7"/>
                </a:cxn>
                <a:cxn ang="0">
                  <a:pos x="T8" y="T9"/>
                </a:cxn>
                <a:cxn ang="0">
                  <a:pos x="T10" y="T11"/>
                </a:cxn>
              </a:cxnLst>
              <a:rect l="0" t="0" r="r" b="b"/>
              <a:pathLst>
                <a:path w="1305" h="472">
                  <a:moveTo>
                    <a:pt x="0" y="2"/>
                  </a:moveTo>
                  <a:lnTo>
                    <a:pt x="1091" y="0"/>
                  </a:lnTo>
                  <a:lnTo>
                    <a:pt x="1305" y="236"/>
                  </a:lnTo>
                  <a:lnTo>
                    <a:pt x="1091" y="471"/>
                  </a:lnTo>
                  <a:lnTo>
                    <a:pt x="0" y="472"/>
                  </a:lnTo>
                  <a:lnTo>
                    <a:pt x="0" y="2"/>
                  </a:lnTo>
                  <a:close/>
                </a:path>
              </a:pathLst>
            </a:custGeom>
            <a:solidFill>
              <a:srgbClr val="CC0505"/>
            </a:solidFill>
            <a:ln w="25400">
              <a:solidFill>
                <a:sysClr val="window" lastClr="FFFFFF"/>
              </a:solidFill>
              <a:round/>
              <a:headEnd/>
              <a:tailEnd/>
            </a:ln>
            <a:effectLst>
              <a:innerShdw blurRad="190500" dist="139700" dir="5400000">
                <a:prstClr val="black">
                  <a:alpha val="50000"/>
                </a:prstClr>
              </a:innerShdw>
            </a:effectLst>
          </p:spPr>
          <p:txBody>
            <a:bodyPr vert="horz" wrap="square" lIns="121920" tIns="60960" rIns="121920" bIns="60960" numCol="1" anchor="ctr" anchorCtr="0" compatLnSpc="1">
              <a:prstTxWarp prst="textNoShape">
                <a:avLst/>
              </a:prstTxWarp>
            </a:bodyPr>
            <a:lstStyle/>
            <a:p>
              <a:pPr algn="ctr" defTabSz="1219110"/>
              <a:r>
                <a:rPr lang="en-US" sz="1333" b="1" kern="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EUA and BLA </a:t>
              </a:r>
            </a:p>
            <a:p>
              <a:pPr algn="ctr" defTabSz="1219110"/>
              <a:r>
                <a:rPr lang="en-US" sz="1333" b="1" kern="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reparation &amp; Filing</a:t>
              </a:r>
            </a:p>
          </p:txBody>
        </p:sp>
        <p:cxnSp>
          <p:nvCxnSpPr>
            <p:cNvPr id="48" name="Straight Connector 47">
              <a:extLst>
                <a:ext uri="{FF2B5EF4-FFF2-40B4-BE49-F238E27FC236}">
                  <a16:creationId xmlns:a16="http://schemas.microsoft.com/office/drawing/2014/main" id="{9B82BE62-2089-4EBF-9865-73F7011E6766}"/>
                </a:ext>
              </a:extLst>
            </p:cNvPr>
            <p:cNvCxnSpPr>
              <a:cxnSpLocks/>
            </p:cNvCxnSpPr>
            <p:nvPr/>
          </p:nvCxnSpPr>
          <p:spPr>
            <a:xfrm>
              <a:off x="3467795" y="1504950"/>
              <a:ext cx="12287" cy="3033296"/>
            </a:xfrm>
            <a:prstGeom prst="line">
              <a:avLst/>
            </a:prstGeom>
            <a:noFill/>
            <a:ln w="25400" cap="flat" cmpd="sng" algn="ctr">
              <a:solidFill>
                <a:schemeClr val="bg1">
                  <a:lumMod val="50000"/>
                </a:schemeClr>
              </a:solidFill>
              <a:prstDash val="sysDot"/>
            </a:ln>
            <a:effectLst/>
          </p:spPr>
        </p:cxnSp>
        <p:sp>
          <p:nvSpPr>
            <p:cNvPr id="148" name="Rectangle 147">
              <a:extLst>
                <a:ext uri="{FF2B5EF4-FFF2-40B4-BE49-F238E27FC236}">
                  <a16:creationId xmlns:a16="http://schemas.microsoft.com/office/drawing/2014/main" id="{ED9E6D96-0B69-45E2-B917-34E46AF5F3E9}"/>
                </a:ext>
              </a:extLst>
            </p:cNvPr>
            <p:cNvSpPr/>
            <p:nvPr/>
          </p:nvSpPr>
          <p:spPr>
            <a:xfrm>
              <a:off x="2616540" y="1166776"/>
              <a:ext cx="3661668" cy="243398"/>
            </a:xfrm>
            <a:prstGeom prst="rect">
              <a:avLst/>
            </a:prstGeom>
            <a:solidFill>
              <a:srgbClr val="7030A0"/>
            </a:solidFill>
            <a:ln>
              <a:solidFill>
                <a:schemeClr val="bg1"/>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10"/>
              <a:r>
                <a:rPr lang="en-US" sz="1400" b="1" kern="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dvanced Manufacturing</a:t>
              </a:r>
            </a:p>
          </p:txBody>
        </p:sp>
        <p:sp>
          <p:nvSpPr>
            <p:cNvPr id="5" name="Rounded Rectangle 4"/>
            <p:cNvSpPr/>
            <p:nvPr/>
          </p:nvSpPr>
          <p:spPr>
            <a:xfrm>
              <a:off x="6379657" y="1331677"/>
              <a:ext cx="2630629" cy="2171364"/>
            </a:xfrm>
            <a:prstGeom prst="roundRect">
              <a:avLst/>
            </a:prstGeom>
            <a:solidFill>
              <a:schemeClr val="tx1">
                <a:lumMod val="20000"/>
                <a:lumOff val="80000"/>
              </a:schemeClr>
            </a:solidFill>
          </p:spPr>
          <p:style>
            <a:lnRef idx="0">
              <a:schemeClr val="accent4"/>
            </a:lnRef>
            <a:fillRef idx="3">
              <a:schemeClr val="accent4"/>
            </a:fillRef>
            <a:effectRef idx="3">
              <a:schemeClr val="accent4"/>
            </a:effectRef>
            <a:fontRef idx="minor">
              <a:schemeClr val="lt1"/>
            </a:fontRef>
          </p:style>
          <p:txBody>
            <a:bodyPr rtlCol="0" anchor="ctr"/>
            <a:lstStyle/>
            <a:p>
              <a:pPr algn="ctr" defTabSz="1219110"/>
              <a:r>
                <a:rPr lang="en-US" sz="2400" b="1" dirty="0">
                  <a:solidFill>
                    <a:prstClr val="white"/>
                  </a:solidFill>
                  <a:latin typeface="Arial" panose="020B0604020202020204" pitchFamily="34" charset="0"/>
                  <a:cs typeface="Arial" panose="020B0604020202020204" pitchFamily="34" charset="0"/>
                </a:rPr>
                <a:t> </a:t>
              </a:r>
            </a:p>
          </p:txBody>
        </p:sp>
        <p:sp>
          <p:nvSpPr>
            <p:cNvPr id="54" name="Freeform 61">
              <a:extLst>
                <a:ext uri="{FF2B5EF4-FFF2-40B4-BE49-F238E27FC236}">
                  <a16:creationId xmlns:a16="http://schemas.microsoft.com/office/drawing/2014/main" id="{40C90B3C-7236-4772-8A96-157FCAAA9310}"/>
                </a:ext>
              </a:extLst>
            </p:cNvPr>
            <p:cNvSpPr>
              <a:spLocks/>
            </p:cNvSpPr>
            <p:nvPr/>
          </p:nvSpPr>
          <p:spPr bwMode="auto">
            <a:xfrm>
              <a:off x="1640658" y="1504950"/>
              <a:ext cx="987160" cy="417636"/>
            </a:xfrm>
            <a:custGeom>
              <a:avLst/>
              <a:gdLst>
                <a:gd name="T0" fmla="*/ 0 w 1305"/>
                <a:gd name="T1" fmla="*/ 2 h 472"/>
                <a:gd name="T2" fmla="*/ 1091 w 1305"/>
                <a:gd name="T3" fmla="*/ 0 h 472"/>
                <a:gd name="T4" fmla="*/ 1305 w 1305"/>
                <a:gd name="T5" fmla="*/ 236 h 472"/>
                <a:gd name="T6" fmla="*/ 1091 w 1305"/>
                <a:gd name="T7" fmla="*/ 471 h 472"/>
                <a:gd name="T8" fmla="*/ 0 w 1305"/>
                <a:gd name="T9" fmla="*/ 472 h 472"/>
                <a:gd name="T10" fmla="*/ 0 w 1305"/>
                <a:gd name="T11" fmla="*/ 2 h 472"/>
              </a:gdLst>
              <a:ahLst/>
              <a:cxnLst>
                <a:cxn ang="0">
                  <a:pos x="T0" y="T1"/>
                </a:cxn>
                <a:cxn ang="0">
                  <a:pos x="T2" y="T3"/>
                </a:cxn>
                <a:cxn ang="0">
                  <a:pos x="T4" y="T5"/>
                </a:cxn>
                <a:cxn ang="0">
                  <a:pos x="T6" y="T7"/>
                </a:cxn>
                <a:cxn ang="0">
                  <a:pos x="T8" y="T9"/>
                </a:cxn>
                <a:cxn ang="0">
                  <a:pos x="T10" y="T11"/>
                </a:cxn>
              </a:cxnLst>
              <a:rect l="0" t="0" r="r" b="b"/>
              <a:pathLst>
                <a:path w="1305" h="472">
                  <a:moveTo>
                    <a:pt x="0" y="2"/>
                  </a:moveTo>
                  <a:lnTo>
                    <a:pt x="1091" y="0"/>
                  </a:lnTo>
                  <a:lnTo>
                    <a:pt x="1305" y="236"/>
                  </a:lnTo>
                  <a:lnTo>
                    <a:pt x="1091" y="471"/>
                  </a:lnTo>
                  <a:lnTo>
                    <a:pt x="0" y="472"/>
                  </a:lnTo>
                  <a:lnTo>
                    <a:pt x="0" y="2"/>
                  </a:lnTo>
                  <a:close/>
                </a:path>
              </a:pathLst>
            </a:custGeom>
            <a:gradFill flip="none" rotWithShape="1">
              <a:gsLst>
                <a:gs pos="71000">
                  <a:srgbClr val="00B050"/>
                </a:gs>
                <a:gs pos="0">
                  <a:schemeClr val="tx1"/>
                </a:gs>
                <a:gs pos="100000">
                  <a:srgbClr val="00B050"/>
                </a:gs>
              </a:gsLst>
              <a:lin ang="0" scaled="1"/>
              <a:tileRect/>
            </a:gradFill>
            <a:ln w="25400">
              <a:solidFill>
                <a:sysClr val="window" lastClr="FFFFFF"/>
              </a:solidFill>
              <a:round/>
              <a:headEnd/>
              <a:tailEnd/>
            </a:ln>
            <a:effectLst>
              <a:innerShdw blurRad="190500" dist="139700" dir="5400000">
                <a:prstClr val="black">
                  <a:alpha val="50000"/>
                </a:prstClr>
              </a:innerShdw>
            </a:effectLst>
          </p:spPr>
          <p:txBody>
            <a:bodyPr vert="horz" wrap="square" lIns="121920" tIns="60960" rIns="121920" bIns="60960" numCol="1" anchor="ctr" anchorCtr="0" compatLnSpc="1">
              <a:prstTxWarp prst="textNoShape">
                <a:avLst/>
              </a:prstTxWarp>
            </a:bodyPr>
            <a:lstStyle/>
            <a:p>
              <a:pPr algn="ctr" defTabSz="1219110"/>
              <a:r>
                <a:rPr lang="en-US" sz="1267" b="1" kern="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reclinical Development</a:t>
              </a:r>
            </a:p>
          </p:txBody>
        </p:sp>
        <p:sp>
          <p:nvSpPr>
            <p:cNvPr id="55" name="Freeform 64">
              <a:extLst>
                <a:ext uri="{FF2B5EF4-FFF2-40B4-BE49-F238E27FC236}">
                  <a16:creationId xmlns:a16="http://schemas.microsoft.com/office/drawing/2014/main" id="{C28BB1AF-A0D7-4274-9909-07EE4661D02D}"/>
                </a:ext>
              </a:extLst>
            </p:cNvPr>
            <p:cNvSpPr>
              <a:spLocks/>
            </p:cNvSpPr>
            <p:nvPr/>
          </p:nvSpPr>
          <p:spPr bwMode="auto">
            <a:xfrm>
              <a:off x="915414" y="1504950"/>
              <a:ext cx="826860" cy="417636"/>
            </a:xfrm>
            <a:custGeom>
              <a:avLst/>
              <a:gdLst>
                <a:gd name="T0" fmla="*/ 0 w 1305"/>
                <a:gd name="T1" fmla="*/ 2 h 472"/>
                <a:gd name="T2" fmla="*/ 1091 w 1305"/>
                <a:gd name="T3" fmla="*/ 0 h 472"/>
                <a:gd name="T4" fmla="*/ 1305 w 1305"/>
                <a:gd name="T5" fmla="*/ 236 h 472"/>
                <a:gd name="T6" fmla="*/ 1091 w 1305"/>
                <a:gd name="T7" fmla="*/ 471 h 472"/>
                <a:gd name="T8" fmla="*/ 0 w 1305"/>
                <a:gd name="T9" fmla="*/ 472 h 472"/>
                <a:gd name="T10" fmla="*/ 0 w 1305"/>
                <a:gd name="T11" fmla="*/ 2 h 472"/>
              </a:gdLst>
              <a:ahLst/>
              <a:cxnLst>
                <a:cxn ang="0">
                  <a:pos x="T0" y="T1"/>
                </a:cxn>
                <a:cxn ang="0">
                  <a:pos x="T2" y="T3"/>
                </a:cxn>
                <a:cxn ang="0">
                  <a:pos x="T4" y="T5"/>
                </a:cxn>
                <a:cxn ang="0">
                  <a:pos x="T6" y="T7"/>
                </a:cxn>
                <a:cxn ang="0">
                  <a:pos x="T8" y="T9"/>
                </a:cxn>
                <a:cxn ang="0">
                  <a:pos x="T10" y="T11"/>
                </a:cxn>
              </a:cxnLst>
              <a:rect l="0" t="0" r="r" b="b"/>
              <a:pathLst>
                <a:path w="1305" h="472">
                  <a:moveTo>
                    <a:pt x="0" y="2"/>
                  </a:moveTo>
                  <a:lnTo>
                    <a:pt x="1091" y="0"/>
                  </a:lnTo>
                  <a:lnTo>
                    <a:pt x="1305" y="236"/>
                  </a:lnTo>
                  <a:lnTo>
                    <a:pt x="1091" y="471"/>
                  </a:lnTo>
                  <a:lnTo>
                    <a:pt x="0" y="472"/>
                  </a:lnTo>
                  <a:lnTo>
                    <a:pt x="0" y="2"/>
                  </a:lnTo>
                  <a:close/>
                </a:path>
              </a:pathLst>
            </a:custGeom>
            <a:gradFill flip="none" rotWithShape="1">
              <a:gsLst>
                <a:gs pos="71000">
                  <a:srgbClr val="00B050"/>
                </a:gs>
                <a:gs pos="0">
                  <a:schemeClr val="tx1"/>
                </a:gs>
                <a:gs pos="100000">
                  <a:srgbClr val="00B050"/>
                </a:gs>
              </a:gsLst>
              <a:lin ang="0" scaled="1"/>
              <a:tileRect/>
            </a:gradFill>
            <a:ln w="25400">
              <a:solidFill>
                <a:sysClr val="window" lastClr="FFFFFF"/>
              </a:solidFill>
              <a:round/>
              <a:headEnd/>
              <a:tailEnd/>
            </a:ln>
            <a:effectLst>
              <a:innerShdw blurRad="190500" dist="139700" dir="5400000">
                <a:prstClr val="black">
                  <a:alpha val="50000"/>
                </a:prstClr>
              </a:innerShdw>
            </a:effectLst>
          </p:spPr>
          <p:txBody>
            <a:bodyPr vert="horz" wrap="square" lIns="121920" tIns="60960" rIns="121920" bIns="60960" numCol="1" anchor="ctr" anchorCtr="0" compatLnSpc="1">
              <a:prstTxWarp prst="textNoShape">
                <a:avLst/>
              </a:prstTxWarp>
            </a:bodyPr>
            <a:lstStyle/>
            <a:p>
              <a:pPr algn="ctr" defTabSz="1219110"/>
              <a:r>
                <a:rPr lang="en-US" sz="1333" b="1" kern="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Discovery</a:t>
              </a:r>
            </a:p>
          </p:txBody>
        </p:sp>
        <p:grpSp>
          <p:nvGrpSpPr>
            <p:cNvPr id="65" name="Group 64">
              <a:extLst>
                <a:ext uri="{FF2B5EF4-FFF2-40B4-BE49-F238E27FC236}">
                  <a16:creationId xmlns:a16="http://schemas.microsoft.com/office/drawing/2014/main" id="{967F26D5-6422-424C-86F7-60874045BC26}"/>
                </a:ext>
              </a:extLst>
            </p:cNvPr>
            <p:cNvGrpSpPr/>
            <p:nvPr/>
          </p:nvGrpSpPr>
          <p:grpSpPr>
            <a:xfrm>
              <a:off x="1665125" y="1969005"/>
              <a:ext cx="673866" cy="270624"/>
              <a:chOff x="2883766" y="641368"/>
              <a:chExt cx="924125" cy="371128"/>
            </a:xfrm>
          </p:grpSpPr>
          <p:sp>
            <p:nvSpPr>
              <p:cNvPr id="74" name="5-Point Star 44">
                <a:extLst>
                  <a:ext uri="{FF2B5EF4-FFF2-40B4-BE49-F238E27FC236}">
                    <a16:creationId xmlns:a16="http://schemas.microsoft.com/office/drawing/2014/main" id="{9A95F3C1-3E15-4375-81E7-B76A620E51D7}"/>
                  </a:ext>
                </a:extLst>
              </p:cNvPr>
              <p:cNvSpPr/>
              <p:nvPr/>
            </p:nvSpPr>
            <p:spPr>
              <a:xfrm>
                <a:off x="3261889" y="670497"/>
                <a:ext cx="329288" cy="341999"/>
              </a:xfrm>
              <a:prstGeom prst="star5">
                <a:avLst>
                  <a:gd name="adj" fmla="val 19098"/>
                  <a:gd name="hf" fmla="val 105146"/>
                  <a:gd name="vf" fmla="val 110557"/>
                </a:avLst>
              </a:prstGeom>
              <a:solidFill>
                <a:srgbClr val="FFFF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1219110">
                  <a:defRPr/>
                </a:pPr>
                <a:endParaRPr lang="en-US" sz="1867" kern="0" dirty="0">
                  <a:solidFill>
                    <a:prstClr val="white"/>
                  </a:solidFill>
                  <a:latin typeface="Arial" panose="020B0604020202020204" pitchFamily="34" charset="0"/>
                  <a:cs typeface="Arial" panose="020B0604020202020204" pitchFamily="34" charset="0"/>
                </a:endParaRPr>
              </a:p>
            </p:txBody>
          </p:sp>
          <p:sp>
            <p:nvSpPr>
              <p:cNvPr id="75" name="Rectangle: Rounded Corners 74">
                <a:extLst>
                  <a:ext uri="{FF2B5EF4-FFF2-40B4-BE49-F238E27FC236}">
                    <a16:creationId xmlns:a16="http://schemas.microsoft.com/office/drawing/2014/main" id="{510B4058-C0B3-421D-8DD2-9DCFD5BFB1F4}"/>
                  </a:ext>
                </a:extLst>
              </p:cNvPr>
              <p:cNvSpPr/>
              <p:nvPr/>
            </p:nvSpPr>
            <p:spPr>
              <a:xfrm>
                <a:off x="2883766" y="641368"/>
                <a:ext cx="924125" cy="92485"/>
              </a:xfrm>
              <a:prstGeom prst="roundRect">
                <a:avLst/>
              </a:prstGeom>
              <a:noFill/>
              <a:ln>
                <a:noFill/>
              </a:ln>
              <a:effectLst/>
              <a:scene3d>
                <a:camera prst="orthographicFront">
                  <a:rot lat="0" lon="0" rev="0"/>
                </a:camera>
                <a:lightRig rig="threePt" dir="t">
                  <a:rot lat="0" lon="0" rev="1200000"/>
                </a:lightRig>
              </a:scene3d>
              <a:sp3d>
                <a:bevelT w="63500" h="25400"/>
              </a:sp3d>
            </p:spPr>
            <p:txBody>
              <a:bodyPr lIns="121920" rIns="121920" rtlCol="0" anchor="ctr"/>
              <a:lstStyle/>
              <a:p>
                <a:pPr defTabSz="1219110">
                  <a:defRPr/>
                </a:pPr>
                <a:r>
                  <a:rPr lang="en-US" sz="1400" b="1" i="1" kern="0" dirty="0">
                    <a:solidFill>
                      <a:srgbClr val="031B1A"/>
                    </a:solidFill>
                    <a:latin typeface="Arial" panose="020B0604020202020204" pitchFamily="34" charset="0"/>
                    <a:cs typeface="Arial" panose="020B0604020202020204" pitchFamily="34" charset="0"/>
                  </a:rPr>
                  <a:t>IND</a:t>
                </a:r>
              </a:p>
            </p:txBody>
          </p:sp>
        </p:grpSp>
        <p:sp>
          <p:nvSpPr>
            <p:cNvPr id="53" name="Freeform 58">
              <a:extLst>
                <a:ext uri="{FF2B5EF4-FFF2-40B4-BE49-F238E27FC236}">
                  <a16:creationId xmlns:a16="http://schemas.microsoft.com/office/drawing/2014/main" id="{36E0B580-417A-4BFE-8FF5-DC529C44F2FA}"/>
                </a:ext>
              </a:extLst>
            </p:cNvPr>
            <p:cNvSpPr>
              <a:spLocks/>
            </p:cNvSpPr>
            <p:nvPr/>
          </p:nvSpPr>
          <p:spPr bwMode="auto">
            <a:xfrm>
              <a:off x="2174454" y="1912456"/>
              <a:ext cx="1453498" cy="412823"/>
            </a:xfrm>
            <a:custGeom>
              <a:avLst/>
              <a:gdLst>
                <a:gd name="T0" fmla="*/ 0 w 1306"/>
                <a:gd name="T1" fmla="*/ 2 h 472"/>
                <a:gd name="T2" fmla="*/ 1092 w 1306"/>
                <a:gd name="T3" fmla="*/ 0 h 472"/>
                <a:gd name="T4" fmla="*/ 1306 w 1306"/>
                <a:gd name="T5" fmla="*/ 236 h 472"/>
                <a:gd name="T6" fmla="*/ 1092 w 1306"/>
                <a:gd name="T7" fmla="*/ 471 h 472"/>
                <a:gd name="T8" fmla="*/ 0 w 1306"/>
                <a:gd name="T9" fmla="*/ 472 h 472"/>
                <a:gd name="T10" fmla="*/ 0 w 1306"/>
                <a:gd name="T11" fmla="*/ 2 h 472"/>
              </a:gdLst>
              <a:ahLst/>
              <a:cxnLst>
                <a:cxn ang="0">
                  <a:pos x="T0" y="T1"/>
                </a:cxn>
                <a:cxn ang="0">
                  <a:pos x="T2" y="T3"/>
                </a:cxn>
                <a:cxn ang="0">
                  <a:pos x="T4" y="T5"/>
                </a:cxn>
                <a:cxn ang="0">
                  <a:pos x="T6" y="T7"/>
                </a:cxn>
                <a:cxn ang="0">
                  <a:pos x="T8" y="T9"/>
                </a:cxn>
                <a:cxn ang="0">
                  <a:pos x="T10" y="T11"/>
                </a:cxn>
              </a:cxnLst>
              <a:rect l="0" t="0" r="r" b="b"/>
              <a:pathLst>
                <a:path w="1306" h="472">
                  <a:moveTo>
                    <a:pt x="0" y="2"/>
                  </a:moveTo>
                  <a:lnTo>
                    <a:pt x="1092" y="0"/>
                  </a:lnTo>
                  <a:lnTo>
                    <a:pt x="1306" y="236"/>
                  </a:lnTo>
                  <a:lnTo>
                    <a:pt x="1092" y="471"/>
                  </a:lnTo>
                  <a:lnTo>
                    <a:pt x="0" y="472"/>
                  </a:lnTo>
                  <a:lnTo>
                    <a:pt x="0" y="2"/>
                  </a:lnTo>
                  <a:close/>
                </a:path>
              </a:pathLst>
            </a:custGeom>
            <a:gradFill flip="none" rotWithShape="1">
              <a:gsLst>
                <a:gs pos="71000">
                  <a:srgbClr val="00B050"/>
                </a:gs>
                <a:gs pos="0">
                  <a:schemeClr val="tx1"/>
                </a:gs>
                <a:gs pos="100000">
                  <a:srgbClr val="00B050"/>
                </a:gs>
              </a:gsLst>
              <a:lin ang="0" scaled="1"/>
              <a:tileRect/>
            </a:gradFill>
            <a:ln w="25400">
              <a:solidFill>
                <a:sysClr val="window" lastClr="FFFFFF"/>
              </a:solidFill>
              <a:round/>
              <a:headEnd/>
              <a:tailEnd/>
            </a:ln>
            <a:effectLst>
              <a:innerShdw blurRad="190500" dist="139700" dir="5400000">
                <a:prstClr val="black">
                  <a:alpha val="50000"/>
                </a:prstClr>
              </a:innerShdw>
            </a:effectLst>
          </p:spPr>
          <p:txBody>
            <a:bodyPr vert="horz" wrap="square" lIns="121920" tIns="60960" rIns="121920" bIns="60960" numCol="1" anchor="ctr" anchorCtr="0" compatLnSpc="1">
              <a:prstTxWarp prst="textNoShape">
                <a:avLst/>
              </a:prstTxWarp>
            </a:bodyPr>
            <a:lstStyle/>
            <a:p>
              <a:pPr algn="ctr" defTabSz="1219110"/>
              <a:r>
                <a:rPr lang="en-US" sz="1333" b="1" kern="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hase I</a:t>
              </a:r>
            </a:p>
          </p:txBody>
        </p:sp>
        <p:sp>
          <p:nvSpPr>
            <p:cNvPr id="52" name="Freeform 55">
              <a:extLst>
                <a:ext uri="{FF2B5EF4-FFF2-40B4-BE49-F238E27FC236}">
                  <a16:creationId xmlns:a16="http://schemas.microsoft.com/office/drawing/2014/main" id="{A404F039-AA33-4B03-A10D-5D92E0C21D85}"/>
                </a:ext>
              </a:extLst>
            </p:cNvPr>
            <p:cNvSpPr>
              <a:spLocks/>
            </p:cNvSpPr>
            <p:nvPr/>
          </p:nvSpPr>
          <p:spPr bwMode="auto">
            <a:xfrm>
              <a:off x="2799390" y="2222816"/>
              <a:ext cx="1452386" cy="412823"/>
            </a:xfrm>
            <a:custGeom>
              <a:avLst/>
              <a:gdLst>
                <a:gd name="T0" fmla="*/ 0 w 1305"/>
                <a:gd name="T1" fmla="*/ 2 h 472"/>
                <a:gd name="T2" fmla="*/ 1091 w 1305"/>
                <a:gd name="T3" fmla="*/ 0 h 472"/>
                <a:gd name="T4" fmla="*/ 1305 w 1305"/>
                <a:gd name="T5" fmla="*/ 236 h 472"/>
                <a:gd name="T6" fmla="*/ 1091 w 1305"/>
                <a:gd name="T7" fmla="*/ 471 h 472"/>
                <a:gd name="T8" fmla="*/ 0 w 1305"/>
                <a:gd name="T9" fmla="*/ 472 h 472"/>
                <a:gd name="T10" fmla="*/ 0 w 1305"/>
                <a:gd name="T11" fmla="*/ 2 h 472"/>
              </a:gdLst>
              <a:ahLst/>
              <a:cxnLst>
                <a:cxn ang="0">
                  <a:pos x="T0" y="T1"/>
                </a:cxn>
                <a:cxn ang="0">
                  <a:pos x="T2" y="T3"/>
                </a:cxn>
                <a:cxn ang="0">
                  <a:pos x="T4" y="T5"/>
                </a:cxn>
                <a:cxn ang="0">
                  <a:pos x="T6" y="T7"/>
                </a:cxn>
                <a:cxn ang="0">
                  <a:pos x="T8" y="T9"/>
                </a:cxn>
                <a:cxn ang="0">
                  <a:pos x="T10" y="T11"/>
                </a:cxn>
              </a:cxnLst>
              <a:rect l="0" t="0" r="r" b="b"/>
              <a:pathLst>
                <a:path w="1305" h="472">
                  <a:moveTo>
                    <a:pt x="0" y="2"/>
                  </a:moveTo>
                  <a:lnTo>
                    <a:pt x="1091" y="0"/>
                  </a:lnTo>
                  <a:lnTo>
                    <a:pt x="1305" y="236"/>
                  </a:lnTo>
                  <a:lnTo>
                    <a:pt x="1091" y="471"/>
                  </a:lnTo>
                  <a:lnTo>
                    <a:pt x="0" y="472"/>
                  </a:lnTo>
                  <a:lnTo>
                    <a:pt x="0" y="2"/>
                  </a:lnTo>
                  <a:close/>
                </a:path>
              </a:pathLst>
            </a:custGeom>
            <a:gradFill flip="none" rotWithShape="1">
              <a:gsLst>
                <a:gs pos="71000">
                  <a:srgbClr val="00B050"/>
                </a:gs>
                <a:gs pos="0">
                  <a:schemeClr val="tx1"/>
                </a:gs>
                <a:gs pos="100000">
                  <a:srgbClr val="00B050"/>
                </a:gs>
              </a:gsLst>
              <a:lin ang="0" scaled="1"/>
              <a:tileRect/>
            </a:gradFill>
            <a:ln w="25400">
              <a:solidFill>
                <a:sysClr val="window" lastClr="FFFFFF"/>
              </a:solidFill>
              <a:round/>
              <a:headEnd/>
              <a:tailEnd/>
            </a:ln>
            <a:effectLst>
              <a:innerShdw blurRad="190500" dist="139700" dir="5400000">
                <a:prstClr val="black">
                  <a:alpha val="50000"/>
                </a:prstClr>
              </a:innerShdw>
            </a:effectLst>
          </p:spPr>
          <p:txBody>
            <a:bodyPr vert="horz" wrap="square" lIns="121920" tIns="60960" rIns="121920" bIns="60960" numCol="1" anchor="ctr" anchorCtr="0" compatLnSpc="1">
              <a:prstTxWarp prst="textNoShape">
                <a:avLst/>
              </a:prstTxWarp>
            </a:bodyPr>
            <a:lstStyle/>
            <a:p>
              <a:pPr algn="ctr" defTabSz="1219110"/>
              <a:r>
                <a:rPr lang="en-US" sz="1333" b="1" kern="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hase II</a:t>
              </a:r>
            </a:p>
          </p:txBody>
        </p:sp>
        <p:sp>
          <p:nvSpPr>
            <p:cNvPr id="51" name="Freeform 52">
              <a:extLst>
                <a:ext uri="{FF2B5EF4-FFF2-40B4-BE49-F238E27FC236}">
                  <a16:creationId xmlns:a16="http://schemas.microsoft.com/office/drawing/2014/main" id="{B18E8360-609F-4B62-98D3-B219BAB90D4C}"/>
                </a:ext>
              </a:extLst>
            </p:cNvPr>
            <p:cNvSpPr>
              <a:spLocks/>
            </p:cNvSpPr>
            <p:nvPr/>
          </p:nvSpPr>
          <p:spPr bwMode="auto">
            <a:xfrm>
              <a:off x="3467796" y="2534470"/>
              <a:ext cx="1453498" cy="412823"/>
            </a:xfrm>
            <a:custGeom>
              <a:avLst/>
              <a:gdLst>
                <a:gd name="T0" fmla="*/ 0 w 1306"/>
                <a:gd name="T1" fmla="*/ 2 h 472"/>
                <a:gd name="T2" fmla="*/ 1091 w 1306"/>
                <a:gd name="T3" fmla="*/ 0 h 472"/>
                <a:gd name="T4" fmla="*/ 1306 w 1306"/>
                <a:gd name="T5" fmla="*/ 236 h 472"/>
                <a:gd name="T6" fmla="*/ 1091 w 1306"/>
                <a:gd name="T7" fmla="*/ 471 h 472"/>
                <a:gd name="T8" fmla="*/ 0 w 1306"/>
                <a:gd name="T9" fmla="*/ 472 h 472"/>
                <a:gd name="T10" fmla="*/ 0 w 1306"/>
                <a:gd name="T11" fmla="*/ 2 h 472"/>
              </a:gdLst>
              <a:ahLst/>
              <a:cxnLst>
                <a:cxn ang="0">
                  <a:pos x="T0" y="T1"/>
                </a:cxn>
                <a:cxn ang="0">
                  <a:pos x="T2" y="T3"/>
                </a:cxn>
                <a:cxn ang="0">
                  <a:pos x="T4" y="T5"/>
                </a:cxn>
                <a:cxn ang="0">
                  <a:pos x="T6" y="T7"/>
                </a:cxn>
                <a:cxn ang="0">
                  <a:pos x="T8" y="T9"/>
                </a:cxn>
                <a:cxn ang="0">
                  <a:pos x="T10" y="T11"/>
                </a:cxn>
              </a:cxnLst>
              <a:rect l="0" t="0" r="r" b="b"/>
              <a:pathLst>
                <a:path w="1306" h="472">
                  <a:moveTo>
                    <a:pt x="0" y="2"/>
                  </a:moveTo>
                  <a:lnTo>
                    <a:pt x="1091" y="0"/>
                  </a:lnTo>
                  <a:lnTo>
                    <a:pt x="1306" y="236"/>
                  </a:lnTo>
                  <a:lnTo>
                    <a:pt x="1091" y="471"/>
                  </a:lnTo>
                  <a:lnTo>
                    <a:pt x="0" y="472"/>
                  </a:lnTo>
                  <a:lnTo>
                    <a:pt x="0" y="2"/>
                  </a:lnTo>
                  <a:close/>
                </a:path>
              </a:pathLst>
            </a:custGeom>
            <a:gradFill flip="none" rotWithShape="1">
              <a:gsLst>
                <a:gs pos="71000">
                  <a:srgbClr val="00B050"/>
                </a:gs>
                <a:gs pos="0">
                  <a:schemeClr val="tx1"/>
                </a:gs>
                <a:gs pos="100000">
                  <a:srgbClr val="00B050"/>
                </a:gs>
              </a:gsLst>
              <a:lin ang="0" scaled="1"/>
              <a:tileRect/>
            </a:gradFill>
            <a:ln w="25400">
              <a:solidFill>
                <a:sysClr val="window" lastClr="FFFFFF"/>
              </a:solidFill>
              <a:round/>
              <a:headEnd/>
              <a:tailEnd/>
            </a:ln>
            <a:effectLst>
              <a:innerShdw blurRad="190500" dist="139700" dir="5400000">
                <a:prstClr val="black">
                  <a:alpha val="50000"/>
                </a:prstClr>
              </a:innerShdw>
            </a:effectLst>
          </p:spPr>
          <p:txBody>
            <a:bodyPr vert="horz" wrap="square" lIns="121920" tIns="60960" rIns="121920" bIns="60960" numCol="1" anchor="ctr" anchorCtr="0" compatLnSpc="1">
              <a:prstTxWarp prst="textNoShape">
                <a:avLst/>
              </a:prstTxWarp>
            </a:bodyPr>
            <a:lstStyle/>
            <a:p>
              <a:pPr algn="ctr" defTabSz="1219110"/>
              <a:r>
                <a:rPr lang="en-US" sz="1333" b="1" kern="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hase III</a:t>
              </a:r>
            </a:p>
          </p:txBody>
        </p:sp>
        <p:grpSp>
          <p:nvGrpSpPr>
            <p:cNvPr id="64" name="Group 63">
              <a:extLst>
                <a:ext uri="{FF2B5EF4-FFF2-40B4-BE49-F238E27FC236}">
                  <a16:creationId xmlns:a16="http://schemas.microsoft.com/office/drawing/2014/main" id="{F8CE4D9F-AF32-4831-A1CA-0EE8987DD1E6}"/>
                </a:ext>
              </a:extLst>
            </p:cNvPr>
            <p:cNvGrpSpPr/>
            <p:nvPr/>
          </p:nvGrpSpPr>
          <p:grpSpPr>
            <a:xfrm>
              <a:off x="5317473" y="2852053"/>
              <a:ext cx="1151411" cy="314941"/>
              <a:chOff x="8018102" y="548254"/>
              <a:chExt cx="1579020" cy="431903"/>
            </a:xfrm>
          </p:grpSpPr>
          <p:sp>
            <p:nvSpPr>
              <p:cNvPr id="76" name="5-Point Star 44">
                <a:extLst>
                  <a:ext uri="{FF2B5EF4-FFF2-40B4-BE49-F238E27FC236}">
                    <a16:creationId xmlns:a16="http://schemas.microsoft.com/office/drawing/2014/main" id="{4169620C-C70C-4555-98E8-B0ECF066CBAB}"/>
                  </a:ext>
                </a:extLst>
              </p:cNvPr>
              <p:cNvSpPr/>
              <p:nvPr/>
            </p:nvSpPr>
            <p:spPr>
              <a:xfrm>
                <a:off x="8018102" y="548254"/>
                <a:ext cx="444627" cy="431903"/>
              </a:xfrm>
              <a:prstGeom prst="star5">
                <a:avLst>
                  <a:gd name="adj" fmla="val 19098"/>
                  <a:gd name="hf" fmla="val 105146"/>
                  <a:gd name="vf" fmla="val 110557"/>
                </a:avLst>
              </a:prstGeom>
              <a:solidFill>
                <a:srgbClr val="FFFF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algn="ctr" defTabSz="1219110">
                  <a:defRPr/>
                </a:pPr>
                <a:endParaRPr lang="en-US" sz="1867" kern="0" dirty="0">
                  <a:solidFill>
                    <a:prstClr val="white"/>
                  </a:solidFill>
                  <a:latin typeface="Arial" panose="020B0604020202020204" pitchFamily="34" charset="0"/>
                  <a:cs typeface="Arial" panose="020B0604020202020204" pitchFamily="34" charset="0"/>
                </a:endParaRPr>
              </a:p>
            </p:txBody>
          </p:sp>
          <p:sp>
            <p:nvSpPr>
              <p:cNvPr id="77" name="Rectangle: Rounded Corners 76">
                <a:extLst>
                  <a:ext uri="{FF2B5EF4-FFF2-40B4-BE49-F238E27FC236}">
                    <a16:creationId xmlns:a16="http://schemas.microsoft.com/office/drawing/2014/main" id="{60B4543C-4EDE-4568-9738-60F78EC9197F}"/>
                  </a:ext>
                </a:extLst>
              </p:cNvPr>
              <p:cNvSpPr/>
              <p:nvPr/>
            </p:nvSpPr>
            <p:spPr>
              <a:xfrm>
                <a:off x="8301777" y="758138"/>
                <a:ext cx="1295345" cy="174585"/>
              </a:xfrm>
              <a:prstGeom prst="roundRect">
                <a:avLst/>
              </a:prstGeom>
              <a:noFill/>
              <a:ln>
                <a:noFill/>
              </a:ln>
              <a:effectLst/>
              <a:scene3d>
                <a:camera prst="orthographicFront">
                  <a:rot lat="0" lon="0" rev="0"/>
                </a:camera>
                <a:lightRig rig="threePt" dir="t">
                  <a:rot lat="0" lon="0" rev="1200000"/>
                </a:lightRig>
              </a:scene3d>
              <a:sp3d>
                <a:bevelT w="63500" h="25400"/>
              </a:sp3d>
            </p:spPr>
            <p:txBody>
              <a:bodyPr lIns="121920" rIns="121920" rtlCol="0" anchor="ctr"/>
              <a:lstStyle/>
              <a:p>
                <a:pPr defTabSz="1219110">
                  <a:defRPr/>
                </a:pPr>
                <a:r>
                  <a:rPr lang="en-US" sz="1400" b="1" i="1" kern="0" dirty="0">
                    <a:solidFill>
                      <a:srgbClr val="031B1A"/>
                    </a:solidFill>
                    <a:latin typeface="Arial" panose="020B0604020202020204" pitchFamily="34" charset="0"/>
                    <a:cs typeface="Arial" panose="020B0604020202020204" pitchFamily="34" charset="0"/>
                  </a:rPr>
                  <a:t>EUA/BLA</a:t>
                </a:r>
              </a:p>
            </p:txBody>
          </p:sp>
        </p:grpSp>
        <p:sp>
          <p:nvSpPr>
            <p:cNvPr id="2" name="TextBox 1"/>
            <p:cNvSpPr txBox="1"/>
            <p:nvPr/>
          </p:nvSpPr>
          <p:spPr>
            <a:xfrm>
              <a:off x="6353981" y="1438185"/>
              <a:ext cx="2656305" cy="1915908"/>
            </a:xfrm>
            <a:prstGeom prst="rect">
              <a:avLst/>
            </a:prstGeom>
            <a:noFill/>
          </p:spPr>
          <p:txBody>
            <a:bodyPr wrap="square" rtlCol="0">
              <a:spAutoFit/>
            </a:bodyPr>
            <a:lstStyle/>
            <a:p>
              <a:pPr marL="380990" indent="-380990" defTabSz="1219110">
                <a:buFont typeface="Arial" panose="020B0604020202020204" pitchFamily="34" charset="0"/>
                <a:buChar char="•"/>
              </a:pPr>
              <a:r>
                <a:rPr lang="en-US" sz="1600" b="1" dirty="0">
                  <a:solidFill>
                    <a:srgbClr val="102B62">
                      <a:lumMod val="50000"/>
                    </a:srgbClr>
                  </a:solidFill>
                  <a:latin typeface="Arial" panose="020B0604020202020204" pitchFamily="34" charset="0"/>
                  <a:cs typeface="Arial" panose="020B0604020202020204" pitchFamily="34" charset="0"/>
                </a:rPr>
                <a:t>Platform Technologies</a:t>
              </a:r>
            </a:p>
            <a:p>
              <a:pPr marL="380990" indent="-380990" defTabSz="1219110">
                <a:buFont typeface="Arial" panose="020B0604020202020204" pitchFamily="34" charset="0"/>
                <a:buChar char="•"/>
              </a:pPr>
              <a:r>
                <a:rPr lang="en-US" sz="1600" b="1" dirty="0">
                  <a:solidFill>
                    <a:srgbClr val="102B62">
                      <a:lumMod val="50000"/>
                    </a:srgbClr>
                  </a:solidFill>
                  <a:latin typeface="Arial" panose="020B0604020202020204" pitchFamily="34" charset="0"/>
                  <a:cs typeface="Arial" panose="020B0604020202020204" pitchFamily="34" charset="0"/>
                </a:rPr>
                <a:t>Multiple Candidates</a:t>
              </a:r>
            </a:p>
            <a:p>
              <a:pPr marL="380990" indent="-380990" defTabSz="1219110">
                <a:buFont typeface="Arial" panose="020B0604020202020204" pitchFamily="34" charset="0"/>
                <a:buChar char="•"/>
              </a:pPr>
              <a:r>
                <a:rPr lang="en-US" sz="1600" b="1" dirty="0">
                  <a:solidFill>
                    <a:srgbClr val="102B62">
                      <a:lumMod val="50000"/>
                    </a:srgbClr>
                  </a:solidFill>
                  <a:latin typeface="Arial" panose="020B0604020202020204" pitchFamily="34" charset="0"/>
                  <a:cs typeface="Arial" panose="020B0604020202020204" pitchFamily="34" charset="0"/>
                </a:rPr>
                <a:t>Large Scale Manufacturing in Parallel with Clinical Trials</a:t>
              </a:r>
            </a:p>
            <a:p>
              <a:pPr marL="380990" indent="-380990" defTabSz="1219110">
                <a:buFont typeface="Arial" panose="020B0604020202020204" pitchFamily="34" charset="0"/>
                <a:buChar char="•"/>
              </a:pPr>
              <a:r>
                <a:rPr lang="en-US" sz="1600" b="1" dirty="0">
                  <a:solidFill>
                    <a:srgbClr val="102B62">
                      <a:lumMod val="50000"/>
                    </a:srgbClr>
                  </a:solidFill>
                  <a:latin typeface="Arial" panose="020B0604020202020204" pitchFamily="34" charset="0"/>
                  <a:cs typeface="Arial" panose="020B0604020202020204" pitchFamily="34" charset="0"/>
                </a:rPr>
                <a:t>Large Phase III Trials</a:t>
              </a:r>
            </a:p>
            <a:p>
              <a:pPr marL="380990" indent="-380990" defTabSz="1219110">
                <a:buFont typeface="Arial" panose="020B0604020202020204" pitchFamily="34" charset="0"/>
                <a:buChar char="•"/>
              </a:pPr>
              <a:r>
                <a:rPr lang="en-US" sz="1600" b="1" dirty="0">
                  <a:solidFill>
                    <a:srgbClr val="102B62">
                      <a:lumMod val="50000"/>
                    </a:srgbClr>
                  </a:solidFill>
                  <a:latin typeface="Arial" panose="020B0604020202020204" pitchFamily="34" charset="0"/>
                  <a:cs typeface="Arial" panose="020B0604020202020204" pitchFamily="34" charset="0"/>
                </a:rPr>
                <a:t>Strong Partnerships Among FDA, CDC, NIH, BARDA, MCM TF and Industry</a:t>
              </a:r>
            </a:p>
            <a:p>
              <a:pPr marL="380990" indent="-380990" defTabSz="1219110">
                <a:buFont typeface="Arial" panose="020B0604020202020204" pitchFamily="34" charset="0"/>
                <a:buChar char="•"/>
              </a:pPr>
              <a:r>
                <a:rPr lang="en-US" sz="1600" b="1" dirty="0">
                  <a:solidFill>
                    <a:srgbClr val="102B62">
                      <a:lumMod val="50000"/>
                    </a:srgbClr>
                  </a:solidFill>
                  <a:latin typeface="Arial" panose="020B0604020202020204" pitchFamily="34" charset="0"/>
                  <a:cs typeface="Arial" panose="020B0604020202020204" pitchFamily="34" charset="0"/>
                </a:rPr>
                <a:t>End to End solution </a:t>
              </a:r>
            </a:p>
            <a:p>
              <a:pPr marL="380990" indent="-380990" defTabSz="1219110">
                <a:buFont typeface="Arial" panose="020B0604020202020204" pitchFamily="34" charset="0"/>
                <a:buChar char="•"/>
              </a:pPr>
              <a:r>
                <a:rPr lang="en-US" sz="1600" b="1" dirty="0">
                  <a:solidFill>
                    <a:srgbClr val="102B62">
                      <a:lumMod val="50000"/>
                    </a:srgbClr>
                  </a:solidFill>
                  <a:latin typeface="Arial" panose="020B0604020202020204" pitchFamily="34" charset="0"/>
                  <a:cs typeface="Arial" panose="020B0604020202020204" pitchFamily="34" charset="0"/>
                </a:rPr>
                <a:t>Expertise and Resources</a:t>
              </a:r>
            </a:p>
          </p:txBody>
        </p:sp>
        <p:sp>
          <p:nvSpPr>
            <p:cNvPr id="133" name="Freeform 44">
              <a:extLst>
                <a:ext uri="{FF2B5EF4-FFF2-40B4-BE49-F238E27FC236}">
                  <a16:creationId xmlns:a16="http://schemas.microsoft.com/office/drawing/2014/main" id="{D0F9ADFF-98EE-44E7-BBA3-82B67741368B}"/>
                </a:ext>
              </a:extLst>
            </p:cNvPr>
            <p:cNvSpPr>
              <a:spLocks/>
            </p:cNvSpPr>
            <p:nvPr/>
          </p:nvSpPr>
          <p:spPr bwMode="auto">
            <a:xfrm>
              <a:off x="3495300" y="1458077"/>
              <a:ext cx="945539" cy="417636"/>
            </a:xfrm>
            <a:prstGeom prst="rect">
              <a:avLst/>
            </a:prstGeom>
            <a:solidFill>
              <a:srgbClr val="7030A0"/>
            </a:solidFill>
            <a:ln w="25400">
              <a:solidFill>
                <a:sysClr val="window" lastClr="FFFFFF"/>
              </a:solidFill>
              <a:round/>
              <a:headEnd/>
              <a:tailEnd/>
            </a:ln>
            <a:effectLst>
              <a:innerShdw blurRad="190500" dist="139700" dir="5400000">
                <a:prstClr val="black">
                  <a:alpha val="50000"/>
                </a:prstClr>
              </a:innerShdw>
            </a:effectLst>
          </p:spPr>
          <p:txBody>
            <a:bodyPr vert="horz" wrap="square" lIns="121920" tIns="60960" rIns="121920" bIns="60960" numCol="1" anchor="ctr" anchorCtr="0" compatLnSpc="1">
              <a:prstTxWarp prst="textNoShape">
                <a:avLst/>
              </a:prstTxWarp>
            </a:bodyPr>
            <a:lstStyle/>
            <a:p>
              <a:pPr algn="ctr" defTabSz="1219110">
                <a:defRPr/>
              </a:pPr>
              <a:r>
                <a:rPr lang="en-US" sz="1200" kern="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alidate</a:t>
              </a:r>
            </a:p>
          </p:txBody>
        </p:sp>
        <p:sp>
          <p:nvSpPr>
            <p:cNvPr id="134" name="Freeform 44">
              <a:extLst>
                <a:ext uri="{FF2B5EF4-FFF2-40B4-BE49-F238E27FC236}">
                  <a16:creationId xmlns:a16="http://schemas.microsoft.com/office/drawing/2014/main" id="{6538F62F-D9B8-4D89-9DBD-9EE81D96CCBA}"/>
                </a:ext>
              </a:extLst>
            </p:cNvPr>
            <p:cNvSpPr>
              <a:spLocks/>
            </p:cNvSpPr>
            <p:nvPr/>
          </p:nvSpPr>
          <p:spPr bwMode="auto">
            <a:xfrm>
              <a:off x="4385649" y="1458077"/>
              <a:ext cx="945539" cy="417636"/>
            </a:xfrm>
            <a:prstGeom prst="rect">
              <a:avLst/>
            </a:prstGeom>
            <a:solidFill>
              <a:srgbClr val="7030A0"/>
            </a:solidFill>
            <a:ln w="25400">
              <a:solidFill>
                <a:sysClr val="window" lastClr="FFFFFF"/>
              </a:solidFill>
              <a:round/>
              <a:headEnd/>
              <a:tailEnd/>
            </a:ln>
            <a:effectLst>
              <a:innerShdw blurRad="190500" dist="139700" dir="5400000">
                <a:prstClr val="black">
                  <a:alpha val="50000"/>
                </a:prstClr>
              </a:innerShdw>
            </a:effectLst>
          </p:spPr>
          <p:txBody>
            <a:bodyPr vert="horz" wrap="square" lIns="121920" tIns="60960" rIns="121920" bIns="60960" numCol="1" anchor="ctr" anchorCtr="0" compatLnSpc="1">
              <a:prstTxWarp prst="textNoShape">
                <a:avLst/>
              </a:prstTxWarp>
            </a:bodyPr>
            <a:lstStyle/>
            <a:p>
              <a:pPr algn="ctr" defTabSz="1219110">
                <a:defRPr/>
              </a:pPr>
              <a:r>
                <a:rPr lang="en-US" sz="1200" kern="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PQ</a:t>
              </a:r>
            </a:p>
          </p:txBody>
        </p:sp>
        <p:sp>
          <p:nvSpPr>
            <p:cNvPr id="136" name="Freeform 44">
              <a:extLst>
                <a:ext uri="{FF2B5EF4-FFF2-40B4-BE49-F238E27FC236}">
                  <a16:creationId xmlns:a16="http://schemas.microsoft.com/office/drawing/2014/main" id="{66CC99BD-B26F-4375-868A-9C1CE29D33BA}"/>
                </a:ext>
              </a:extLst>
            </p:cNvPr>
            <p:cNvSpPr>
              <a:spLocks/>
            </p:cNvSpPr>
            <p:nvPr/>
          </p:nvSpPr>
          <p:spPr bwMode="auto">
            <a:xfrm>
              <a:off x="2604951" y="1458077"/>
              <a:ext cx="945539" cy="417636"/>
            </a:xfrm>
            <a:prstGeom prst="rect">
              <a:avLst/>
            </a:prstGeom>
            <a:solidFill>
              <a:srgbClr val="7030A0"/>
            </a:solidFill>
            <a:ln w="25400">
              <a:solidFill>
                <a:sysClr val="window" lastClr="FFFFFF"/>
              </a:solidFill>
              <a:round/>
              <a:headEnd/>
              <a:tailEnd/>
            </a:ln>
            <a:effectLst>
              <a:innerShdw blurRad="190500" dist="139700" dir="5400000">
                <a:prstClr val="black">
                  <a:alpha val="50000"/>
                </a:prstClr>
              </a:innerShdw>
            </a:effectLst>
          </p:spPr>
          <p:txBody>
            <a:bodyPr vert="horz" wrap="square" lIns="121920" tIns="60960" rIns="121920" bIns="60960" numCol="1" anchor="ctr" anchorCtr="0" compatLnSpc="1">
              <a:prstTxWarp prst="textNoShape">
                <a:avLst/>
              </a:prstTxWarp>
            </a:bodyPr>
            <a:lstStyle/>
            <a:p>
              <a:pPr algn="ctr" defTabSz="1219110">
                <a:defRPr/>
              </a:pPr>
              <a:r>
                <a:rPr lang="en-US" sz="1200" kern="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cale-Up</a:t>
              </a:r>
            </a:p>
          </p:txBody>
        </p:sp>
        <p:sp>
          <p:nvSpPr>
            <p:cNvPr id="142" name="Freeform 44">
              <a:extLst>
                <a:ext uri="{FF2B5EF4-FFF2-40B4-BE49-F238E27FC236}">
                  <a16:creationId xmlns:a16="http://schemas.microsoft.com/office/drawing/2014/main" id="{D0F9ADFF-98EE-44E7-BBA3-82B67741368B}"/>
                </a:ext>
              </a:extLst>
            </p:cNvPr>
            <p:cNvSpPr>
              <a:spLocks/>
            </p:cNvSpPr>
            <p:nvPr/>
          </p:nvSpPr>
          <p:spPr bwMode="auto">
            <a:xfrm>
              <a:off x="5332663" y="1460510"/>
              <a:ext cx="945539" cy="417636"/>
            </a:xfrm>
            <a:prstGeom prst="rect">
              <a:avLst/>
            </a:prstGeom>
            <a:solidFill>
              <a:srgbClr val="7030A0"/>
            </a:solidFill>
            <a:ln w="25400">
              <a:solidFill>
                <a:sysClr val="window" lastClr="FFFFFF"/>
              </a:solidFill>
              <a:round/>
              <a:headEnd/>
              <a:tailEnd/>
            </a:ln>
            <a:effectLst>
              <a:innerShdw blurRad="190500" dist="139700" dir="5400000">
                <a:prstClr val="black">
                  <a:alpha val="50000"/>
                </a:prstClr>
              </a:innerShdw>
            </a:effectLst>
          </p:spPr>
          <p:txBody>
            <a:bodyPr vert="horz" wrap="square" lIns="121920" tIns="60960" rIns="121920" bIns="60960" numCol="1" anchor="ctr" anchorCtr="0" compatLnSpc="1">
              <a:prstTxWarp prst="textNoShape">
                <a:avLst/>
              </a:prstTxWarp>
            </a:bodyPr>
            <a:lstStyle/>
            <a:p>
              <a:pPr algn="ctr" defTabSz="1219110">
                <a:defRPr/>
              </a:pPr>
              <a:r>
                <a:rPr lang="en-US" sz="1200" kern="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Large Scale Production and Storage</a:t>
              </a:r>
            </a:p>
          </p:txBody>
        </p:sp>
      </p:grpSp>
      <p:sp>
        <p:nvSpPr>
          <p:cNvPr id="123" name="Rectangle: Rounded Corners 122">
            <a:extLst>
              <a:ext uri="{FF2B5EF4-FFF2-40B4-BE49-F238E27FC236}">
                <a16:creationId xmlns:a16="http://schemas.microsoft.com/office/drawing/2014/main" id="{EB8B2213-DA98-4B89-8022-A9D1569ECB83}"/>
              </a:ext>
            </a:extLst>
          </p:cNvPr>
          <p:cNvSpPr/>
          <p:nvPr/>
        </p:nvSpPr>
        <p:spPr>
          <a:xfrm>
            <a:off x="48052" y="5649729"/>
            <a:ext cx="1331561" cy="525052"/>
          </a:xfrm>
          <a:prstGeom prst="roundRect">
            <a:avLst/>
          </a:prstGeom>
          <a:noFill/>
          <a:ln>
            <a:noFill/>
          </a:ln>
          <a:effectLst/>
          <a:scene3d>
            <a:camera prst="orthographicFront">
              <a:rot lat="0" lon="0" rev="0"/>
            </a:camera>
            <a:lightRig rig="threePt" dir="t">
              <a:rot lat="0" lon="0" rev="1200000"/>
            </a:lightRig>
          </a:scene3d>
          <a:sp3d>
            <a:bevelT w="63500" h="25400"/>
          </a:sp3d>
        </p:spPr>
        <p:txBody>
          <a:bodyPr lIns="121920" rIns="121920" rtlCol="0" anchor="ctr"/>
          <a:lstStyle/>
          <a:p>
            <a:pPr algn="r" defTabSz="1219140">
              <a:defRPr/>
            </a:pPr>
            <a:r>
              <a:rPr lang="en-US" sz="1200" b="1" kern="0" dirty="0">
                <a:solidFill>
                  <a:srgbClr val="031B1A"/>
                </a:solidFill>
                <a:latin typeface="Arial"/>
              </a:rPr>
              <a:t>TIME</a:t>
            </a:r>
          </a:p>
          <a:p>
            <a:pPr algn="r" defTabSz="1219140">
              <a:defRPr/>
            </a:pPr>
            <a:r>
              <a:rPr lang="en-US" sz="1200" b="1" kern="0" dirty="0">
                <a:solidFill>
                  <a:srgbClr val="031B1A"/>
                </a:solidFill>
                <a:latin typeface="Arial"/>
              </a:rPr>
              <a:t>PIPELINE</a:t>
            </a:r>
          </a:p>
        </p:txBody>
      </p:sp>
      <p:sp>
        <p:nvSpPr>
          <p:cNvPr id="125" name="Rectangle 124">
            <a:extLst>
              <a:ext uri="{FF2B5EF4-FFF2-40B4-BE49-F238E27FC236}">
                <a16:creationId xmlns:a16="http://schemas.microsoft.com/office/drawing/2014/main" id="{8A2B170D-99BF-4977-B17C-4D78491FA421}"/>
              </a:ext>
            </a:extLst>
          </p:cNvPr>
          <p:cNvSpPr/>
          <p:nvPr/>
        </p:nvSpPr>
        <p:spPr>
          <a:xfrm>
            <a:off x="1254439" y="5619647"/>
            <a:ext cx="1503531" cy="585216"/>
          </a:xfrm>
          <a:prstGeom prst="rect">
            <a:avLst/>
          </a:prstGeom>
          <a:solidFill>
            <a:sysClr val="window" lastClr="FFFFFF">
              <a:lumMod val="85000"/>
            </a:sysClr>
          </a:solidFill>
          <a:ln w="25400">
            <a:noFill/>
            <a:round/>
            <a:headEnd/>
            <a:tailEnd/>
          </a:ln>
          <a:effectLst>
            <a:innerShdw blurRad="241300">
              <a:prstClr val="black"/>
            </a:innerShdw>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40">
              <a:defRPr/>
            </a:pPr>
            <a:r>
              <a:rPr lang="en-US" sz="1333" b="1" kern="0" dirty="0">
                <a:solidFill>
                  <a:srgbClr val="000000"/>
                </a:solidFill>
                <a:latin typeface="Arial"/>
              </a:rPr>
              <a:t>Platform Tech.</a:t>
            </a:r>
          </a:p>
        </p:txBody>
      </p:sp>
      <p:sp>
        <p:nvSpPr>
          <p:cNvPr id="126" name="Rectangle 125">
            <a:extLst>
              <a:ext uri="{FF2B5EF4-FFF2-40B4-BE49-F238E27FC236}">
                <a16:creationId xmlns:a16="http://schemas.microsoft.com/office/drawing/2014/main" id="{45A7B670-0371-408E-8767-7C54D51A73AC}"/>
              </a:ext>
            </a:extLst>
          </p:cNvPr>
          <p:cNvSpPr/>
          <p:nvPr/>
        </p:nvSpPr>
        <p:spPr>
          <a:xfrm>
            <a:off x="2732927" y="5619647"/>
            <a:ext cx="3873428" cy="585216"/>
          </a:xfrm>
          <a:prstGeom prst="rect">
            <a:avLst/>
          </a:prstGeom>
          <a:gradFill>
            <a:gsLst>
              <a:gs pos="0">
                <a:srgbClr val="FF0000"/>
              </a:gs>
              <a:gs pos="100000">
                <a:srgbClr val="0066FF"/>
              </a:gs>
            </a:gsLst>
            <a:lin ang="5400000" scaled="1"/>
          </a:gradFill>
          <a:ln w="25400">
            <a:noFill/>
            <a:round/>
            <a:headEnd/>
            <a:tailEnd/>
          </a:ln>
          <a:effectLst>
            <a:innerShdw blurRad="241300">
              <a:prstClr val="black"/>
            </a:innerShdw>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40">
              <a:defRPr/>
            </a:pPr>
            <a:r>
              <a:rPr lang="en-US" sz="2133" b="1" kern="0" dirty="0">
                <a:solidFill>
                  <a:prstClr val="white"/>
                </a:solidFill>
                <a:latin typeface="Arial"/>
              </a:rPr>
              <a:t>Emergency Time Scale</a:t>
            </a:r>
          </a:p>
        </p:txBody>
      </p:sp>
      <p:sp>
        <p:nvSpPr>
          <p:cNvPr id="127" name="Freeform 52">
            <a:extLst>
              <a:ext uri="{FF2B5EF4-FFF2-40B4-BE49-F238E27FC236}">
                <a16:creationId xmlns:a16="http://schemas.microsoft.com/office/drawing/2014/main" id="{C0DACB92-4510-413D-85DB-B26D1CBA7E89}"/>
              </a:ext>
            </a:extLst>
          </p:cNvPr>
          <p:cNvSpPr>
            <a:spLocks/>
          </p:cNvSpPr>
          <p:nvPr/>
        </p:nvSpPr>
        <p:spPr bwMode="auto">
          <a:xfrm>
            <a:off x="4618412" y="4901425"/>
            <a:ext cx="1239464" cy="345995"/>
          </a:xfrm>
          <a:prstGeom prst="rect">
            <a:avLst/>
          </a:prstGeom>
          <a:solidFill>
            <a:srgbClr val="FF6600"/>
          </a:solidFill>
          <a:ln w="25400">
            <a:solidFill>
              <a:sysClr val="window" lastClr="FFFFFF"/>
            </a:solidFill>
            <a:round/>
            <a:headEnd/>
            <a:tailEnd/>
          </a:ln>
          <a:effectLst>
            <a:innerShdw blurRad="190500" dist="139700" dir="5400000">
              <a:prstClr val="black">
                <a:alpha val="50000"/>
              </a:prstClr>
            </a:innerShdw>
          </a:effectLst>
        </p:spPr>
        <p:txBody>
          <a:bodyPr vert="horz" wrap="square" lIns="121920" tIns="60960" rIns="121920" bIns="60960" numCol="1" anchor="ctr" anchorCtr="0" compatLnSpc="1">
            <a:prstTxWarp prst="textNoShape">
              <a:avLst/>
            </a:prstTxWarp>
          </a:bodyPr>
          <a:lstStyle/>
          <a:p>
            <a:pPr algn="ctr" defTabSz="1219110">
              <a:defRPr/>
            </a:pPr>
            <a:r>
              <a:rPr lang="en-US" sz="1200" kern="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Kitting</a:t>
            </a:r>
          </a:p>
        </p:txBody>
      </p:sp>
      <p:sp>
        <p:nvSpPr>
          <p:cNvPr id="128" name="Freeform 44">
            <a:extLst>
              <a:ext uri="{FF2B5EF4-FFF2-40B4-BE49-F238E27FC236}">
                <a16:creationId xmlns:a16="http://schemas.microsoft.com/office/drawing/2014/main" id="{14A5030B-7674-4420-A8C4-5959FA1C39B9}"/>
              </a:ext>
            </a:extLst>
          </p:cNvPr>
          <p:cNvSpPr>
            <a:spLocks/>
          </p:cNvSpPr>
          <p:nvPr/>
        </p:nvSpPr>
        <p:spPr bwMode="auto">
          <a:xfrm>
            <a:off x="5938222" y="4901425"/>
            <a:ext cx="1031707" cy="556848"/>
          </a:xfrm>
          <a:prstGeom prst="rect">
            <a:avLst/>
          </a:prstGeom>
          <a:solidFill>
            <a:srgbClr val="FF6600"/>
          </a:solidFill>
          <a:ln w="25400">
            <a:solidFill>
              <a:sysClr val="window" lastClr="FFFFFF"/>
            </a:solidFill>
            <a:round/>
            <a:headEnd/>
            <a:tailEnd/>
          </a:ln>
          <a:effectLst>
            <a:innerShdw blurRad="190500" dist="139700" dir="5400000">
              <a:prstClr val="black">
                <a:alpha val="50000"/>
              </a:prstClr>
            </a:innerShdw>
          </a:effectLst>
        </p:spPr>
        <p:txBody>
          <a:bodyPr vert="horz" wrap="square" lIns="121920" tIns="60960" rIns="121920" bIns="60960" numCol="1" anchor="ctr" anchorCtr="0" compatLnSpc="1">
            <a:prstTxWarp prst="textNoShape">
              <a:avLst/>
            </a:prstTxWarp>
          </a:bodyPr>
          <a:lstStyle/>
          <a:p>
            <a:pPr algn="ctr" defTabSz="1219110">
              <a:defRPr/>
            </a:pPr>
            <a:r>
              <a:rPr lang="en-US" sz="1200" kern="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hipping to Vaccination Sites</a:t>
            </a:r>
          </a:p>
        </p:txBody>
      </p:sp>
      <p:sp>
        <p:nvSpPr>
          <p:cNvPr id="129" name="Freeform 44">
            <a:extLst>
              <a:ext uri="{FF2B5EF4-FFF2-40B4-BE49-F238E27FC236}">
                <a16:creationId xmlns:a16="http://schemas.microsoft.com/office/drawing/2014/main" id="{99B20F3B-5A0A-4DE7-853A-0CE64566F85E}"/>
              </a:ext>
            </a:extLst>
          </p:cNvPr>
          <p:cNvSpPr>
            <a:spLocks/>
          </p:cNvSpPr>
          <p:nvPr/>
        </p:nvSpPr>
        <p:spPr bwMode="auto">
          <a:xfrm>
            <a:off x="7411722" y="4896793"/>
            <a:ext cx="1591783" cy="556848"/>
          </a:xfrm>
          <a:prstGeom prst="rect">
            <a:avLst/>
          </a:prstGeom>
          <a:solidFill>
            <a:srgbClr val="FF6600"/>
          </a:solidFill>
          <a:ln w="25400">
            <a:solidFill>
              <a:sysClr val="window" lastClr="FFFFFF"/>
            </a:solidFill>
            <a:round/>
            <a:headEnd/>
            <a:tailEnd/>
          </a:ln>
          <a:effectLst>
            <a:innerShdw blurRad="190500" dist="139700" dir="5400000">
              <a:prstClr val="black">
                <a:alpha val="50000"/>
              </a:prstClr>
            </a:innerShdw>
          </a:effectLst>
        </p:spPr>
        <p:txBody>
          <a:bodyPr vert="horz" wrap="square" lIns="121920" tIns="60960" rIns="121920" bIns="60960" numCol="1" anchor="ctr" anchorCtr="0" compatLnSpc="1">
            <a:prstTxWarp prst="textNoShape">
              <a:avLst/>
            </a:prstTxWarp>
          </a:bodyPr>
          <a:lstStyle/>
          <a:p>
            <a:pPr algn="ctr" defTabSz="1219110">
              <a:defRPr/>
            </a:pPr>
            <a:r>
              <a:rPr lang="en-US" sz="1200" kern="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harmacovigilance</a:t>
            </a:r>
          </a:p>
        </p:txBody>
      </p:sp>
      <p:sp>
        <p:nvSpPr>
          <p:cNvPr id="130" name="Freeform 52">
            <a:extLst>
              <a:ext uri="{FF2B5EF4-FFF2-40B4-BE49-F238E27FC236}">
                <a16:creationId xmlns:a16="http://schemas.microsoft.com/office/drawing/2014/main" id="{18C09D6A-4303-4F0B-9644-1D5813CA8D94}"/>
              </a:ext>
            </a:extLst>
          </p:cNvPr>
          <p:cNvSpPr>
            <a:spLocks/>
          </p:cNvSpPr>
          <p:nvPr/>
        </p:nvSpPr>
        <p:spPr bwMode="auto">
          <a:xfrm>
            <a:off x="4618412" y="5272911"/>
            <a:ext cx="1239464" cy="345995"/>
          </a:xfrm>
          <a:prstGeom prst="rect">
            <a:avLst/>
          </a:prstGeom>
          <a:solidFill>
            <a:srgbClr val="FF6600"/>
          </a:solidFill>
          <a:ln w="25400">
            <a:solidFill>
              <a:sysClr val="window" lastClr="FFFFFF"/>
            </a:solidFill>
            <a:round/>
            <a:headEnd/>
            <a:tailEnd/>
          </a:ln>
          <a:effectLst>
            <a:innerShdw blurRad="190500" dist="139700" dir="5400000">
              <a:prstClr val="black">
                <a:alpha val="50000"/>
              </a:prstClr>
            </a:innerShdw>
          </a:effectLst>
        </p:spPr>
        <p:txBody>
          <a:bodyPr vert="horz" wrap="square" lIns="121920" tIns="60960" rIns="121920" bIns="60960" numCol="1" anchor="ctr" anchorCtr="0" compatLnSpc="1">
            <a:prstTxWarp prst="textNoShape">
              <a:avLst/>
            </a:prstTxWarp>
          </a:bodyPr>
          <a:lstStyle/>
          <a:p>
            <a:pPr algn="ctr" defTabSz="1219110">
              <a:defRPr/>
            </a:pPr>
            <a:r>
              <a:rPr lang="en-US" sz="1200" kern="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tability Testing</a:t>
            </a:r>
          </a:p>
        </p:txBody>
      </p:sp>
      <p:sp>
        <p:nvSpPr>
          <p:cNvPr id="131" name="Freeform 44">
            <a:extLst>
              <a:ext uri="{FF2B5EF4-FFF2-40B4-BE49-F238E27FC236}">
                <a16:creationId xmlns:a16="http://schemas.microsoft.com/office/drawing/2014/main" id="{DCA7D76B-15B0-4864-A9BB-FE302FB39B0C}"/>
              </a:ext>
            </a:extLst>
          </p:cNvPr>
          <p:cNvSpPr>
            <a:spLocks/>
          </p:cNvSpPr>
          <p:nvPr/>
        </p:nvSpPr>
        <p:spPr bwMode="auto">
          <a:xfrm>
            <a:off x="7411722" y="5458930"/>
            <a:ext cx="1591783" cy="468161"/>
          </a:xfrm>
          <a:prstGeom prst="rect">
            <a:avLst/>
          </a:prstGeom>
          <a:solidFill>
            <a:srgbClr val="FF6600"/>
          </a:solidFill>
          <a:ln w="25400">
            <a:solidFill>
              <a:sysClr val="window" lastClr="FFFFFF"/>
            </a:solidFill>
            <a:round/>
            <a:headEnd/>
            <a:tailEnd/>
          </a:ln>
          <a:effectLst>
            <a:innerShdw blurRad="190500" dist="139700" dir="5400000">
              <a:prstClr val="black">
                <a:alpha val="50000"/>
              </a:prstClr>
            </a:innerShdw>
          </a:effectLst>
        </p:spPr>
        <p:txBody>
          <a:bodyPr vert="horz" wrap="square" lIns="121920" tIns="60960" rIns="121920" bIns="60960" numCol="1" anchor="ctr" anchorCtr="0" compatLnSpc="1">
            <a:prstTxWarp prst="textNoShape">
              <a:avLst/>
            </a:prstTxWarp>
          </a:bodyPr>
          <a:lstStyle/>
          <a:p>
            <a:pPr algn="ctr" defTabSz="1219110">
              <a:defRPr/>
            </a:pPr>
            <a:r>
              <a:rPr lang="en-US" sz="1200" kern="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racking for Second Dose</a:t>
            </a:r>
          </a:p>
        </p:txBody>
      </p:sp>
      <p:sp>
        <p:nvSpPr>
          <p:cNvPr id="132" name="Rectangle 131">
            <a:extLst>
              <a:ext uri="{FF2B5EF4-FFF2-40B4-BE49-F238E27FC236}">
                <a16:creationId xmlns:a16="http://schemas.microsoft.com/office/drawing/2014/main" id="{54438CDC-E0AD-4A98-9887-D02E8ABA28F0}"/>
              </a:ext>
            </a:extLst>
          </p:cNvPr>
          <p:cNvSpPr/>
          <p:nvPr/>
        </p:nvSpPr>
        <p:spPr>
          <a:xfrm>
            <a:off x="4612366" y="4553821"/>
            <a:ext cx="2358619" cy="324531"/>
          </a:xfrm>
          <a:prstGeom prst="rect">
            <a:avLst/>
          </a:prstGeom>
          <a:solidFill>
            <a:srgbClr val="FF6600"/>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10"/>
            <a:r>
              <a:rPr lang="en-US" sz="1400" b="1" kern="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accine Delivery</a:t>
            </a:r>
          </a:p>
        </p:txBody>
      </p:sp>
      <p:sp>
        <p:nvSpPr>
          <p:cNvPr id="135" name="Rectangle 134">
            <a:extLst>
              <a:ext uri="{FF2B5EF4-FFF2-40B4-BE49-F238E27FC236}">
                <a16:creationId xmlns:a16="http://schemas.microsoft.com/office/drawing/2014/main" id="{E25AD827-FBFF-4FCA-AEC1-032B246CB0BF}"/>
              </a:ext>
            </a:extLst>
          </p:cNvPr>
          <p:cNvSpPr/>
          <p:nvPr/>
        </p:nvSpPr>
        <p:spPr>
          <a:xfrm>
            <a:off x="7056182" y="4553821"/>
            <a:ext cx="2256093" cy="324531"/>
          </a:xfrm>
          <a:prstGeom prst="rect">
            <a:avLst/>
          </a:prstGeom>
          <a:solidFill>
            <a:srgbClr val="FF6600"/>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10"/>
            <a:r>
              <a:rPr lang="en-US" sz="1400" b="1" kern="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accine Administration</a:t>
            </a:r>
          </a:p>
        </p:txBody>
      </p:sp>
      <p:sp>
        <p:nvSpPr>
          <p:cNvPr id="7" name="Slide Number Placeholder 6">
            <a:extLst>
              <a:ext uri="{FF2B5EF4-FFF2-40B4-BE49-F238E27FC236}">
                <a16:creationId xmlns:a16="http://schemas.microsoft.com/office/drawing/2014/main" id="{6A3A146A-44A6-4041-91B8-2AF9D1DBE4FF}"/>
              </a:ext>
            </a:extLst>
          </p:cNvPr>
          <p:cNvSpPr>
            <a:spLocks noGrp="1"/>
          </p:cNvSpPr>
          <p:nvPr>
            <p:ph type="sldNum" sz="quarter" idx="12"/>
          </p:nvPr>
        </p:nvSpPr>
        <p:spPr/>
        <p:txBody>
          <a:bodyPr/>
          <a:lstStyle/>
          <a:p>
            <a:fld id="{D1541BB9-6530-43D2-B7E0-33A89042A350}" type="slidenum">
              <a:rPr lang="en-US" smtClean="0"/>
              <a:t>22</a:t>
            </a:fld>
            <a:endParaRPr lang="en-US"/>
          </a:p>
        </p:txBody>
      </p:sp>
    </p:spTree>
    <p:extLst>
      <p:ext uri="{BB962C8B-B14F-4D97-AF65-F5344CB8AC3E}">
        <p14:creationId xmlns:p14="http://schemas.microsoft.com/office/powerpoint/2010/main" val="13461284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3C2C2A-CD8B-4C27-892F-0445AAD8B824}"/>
              </a:ext>
            </a:extLst>
          </p:cNvPr>
          <p:cNvSpPr>
            <a:spLocks noGrp="1"/>
          </p:cNvSpPr>
          <p:nvPr>
            <p:ph type="title"/>
          </p:nvPr>
        </p:nvSpPr>
        <p:spPr/>
        <p:txBody>
          <a:bodyPr>
            <a:normAutofit fontScale="90000"/>
          </a:bodyPr>
          <a:lstStyle/>
          <a:p>
            <a:pPr algn="ctr"/>
            <a:r>
              <a:rPr lang="en-US" dirty="0">
                <a:solidFill>
                  <a:schemeClr val="bg1"/>
                </a:solidFill>
              </a:rPr>
              <a:t>MCM Development – Vaccine Horse Race</a:t>
            </a:r>
          </a:p>
        </p:txBody>
      </p:sp>
      <p:grpSp>
        <p:nvGrpSpPr>
          <p:cNvPr id="13" name="Group 12">
            <a:extLst>
              <a:ext uri="{FF2B5EF4-FFF2-40B4-BE49-F238E27FC236}">
                <a16:creationId xmlns:a16="http://schemas.microsoft.com/office/drawing/2014/main" id="{F7C6F842-ECE5-4DC8-8845-ECB93B4CC760}"/>
              </a:ext>
            </a:extLst>
          </p:cNvPr>
          <p:cNvGrpSpPr/>
          <p:nvPr/>
        </p:nvGrpSpPr>
        <p:grpSpPr>
          <a:xfrm>
            <a:off x="661322" y="1025462"/>
            <a:ext cx="11029375" cy="5715190"/>
            <a:chOff x="5320190" y="1218306"/>
            <a:chExt cx="10907169" cy="5639694"/>
          </a:xfrm>
        </p:grpSpPr>
        <p:pic>
          <p:nvPicPr>
            <p:cNvPr id="4" name="Picture 3">
              <a:extLst>
                <a:ext uri="{FF2B5EF4-FFF2-40B4-BE49-F238E27FC236}">
                  <a16:creationId xmlns:a16="http://schemas.microsoft.com/office/drawing/2014/main" id="{07D669B0-421C-4BB6-B68C-93C553829C93}"/>
                </a:ext>
              </a:extLst>
            </p:cNvPr>
            <p:cNvPicPr>
              <a:picLocks noChangeAspect="1"/>
            </p:cNvPicPr>
            <p:nvPr/>
          </p:nvPicPr>
          <p:blipFill>
            <a:blip r:embed="rId2"/>
            <a:stretch>
              <a:fillRect/>
            </a:stretch>
          </p:blipFill>
          <p:spPr>
            <a:xfrm>
              <a:off x="5320190" y="1218306"/>
              <a:ext cx="10907169" cy="5639694"/>
            </a:xfrm>
            <a:prstGeom prst="rect">
              <a:avLst/>
            </a:prstGeom>
          </p:spPr>
        </p:pic>
        <p:sp>
          <p:nvSpPr>
            <p:cNvPr id="5" name="TextBox 4">
              <a:extLst>
                <a:ext uri="{FF2B5EF4-FFF2-40B4-BE49-F238E27FC236}">
                  <a16:creationId xmlns:a16="http://schemas.microsoft.com/office/drawing/2014/main" id="{E303BC4A-E54F-4AC7-903B-942C03143B7F}"/>
                </a:ext>
              </a:extLst>
            </p:cNvPr>
            <p:cNvSpPr txBox="1"/>
            <p:nvPr/>
          </p:nvSpPr>
          <p:spPr>
            <a:xfrm>
              <a:off x="11200108" y="3866077"/>
              <a:ext cx="991892" cy="369332"/>
            </a:xfrm>
            <a:prstGeom prst="rect">
              <a:avLst/>
            </a:prstGeom>
            <a:noFill/>
          </p:spPr>
          <p:txBody>
            <a:bodyPr wrap="square" rtlCol="0">
              <a:spAutoFit/>
            </a:bodyPr>
            <a:lstStyle/>
            <a:p>
              <a:r>
                <a:rPr lang="en-US" b="1" dirty="0">
                  <a:solidFill>
                    <a:srgbClr val="FF0000"/>
                  </a:solidFill>
                </a:rPr>
                <a:t>mRNA</a:t>
              </a:r>
            </a:p>
          </p:txBody>
        </p:sp>
        <p:sp>
          <p:nvSpPr>
            <p:cNvPr id="6" name="TextBox 5">
              <a:extLst>
                <a:ext uri="{FF2B5EF4-FFF2-40B4-BE49-F238E27FC236}">
                  <a16:creationId xmlns:a16="http://schemas.microsoft.com/office/drawing/2014/main" id="{82A37989-4703-44EC-BA59-BA72E2142214}"/>
                </a:ext>
              </a:extLst>
            </p:cNvPr>
            <p:cNvSpPr txBox="1"/>
            <p:nvPr/>
          </p:nvSpPr>
          <p:spPr>
            <a:xfrm>
              <a:off x="8826131" y="4918753"/>
              <a:ext cx="1495587" cy="369332"/>
            </a:xfrm>
            <a:prstGeom prst="rect">
              <a:avLst/>
            </a:prstGeom>
            <a:noFill/>
          </p:spPr>
          <p:txBody>
            <a:bodyPr wrap="square" rtlCol="0">
              <a:spAutoFit/>
            </a:bodyPr>
            <a:lstStyle/>
            <a:p>
              <a:r>
                <a:rPr lang="en-US" b="1" dirty="0">
                  <a:solidFill>
                    <a:srgbClr val="FF0000"/>
                  </a:solidFill>
                </a:rPr>
                <a:t>Adeno Virus </a:t>
              </a:r>
            </a:p>
          </p:txBody>
        </p:sp>
        <p:sp>
          <p:nvSpPr>
            <p:cNvPr id="7" name="TextBox 6">
              <a:extLst>
                <a:ext uri="{FF2B5EF4-FFF2-40B4-BE49-F238E27FC236}">
                  <a16:creationId xmlns:a16="http://schemas.microsoft.com/office/drawing/2014/main" id="{34D81F39-A4E0-42C2-BCC8-C44C1E0CD2A9}"/>
                </a:ext>
              </a:extLst>
            </p:cNvPr>
            <p:cNvSpPr txBox="1"/>
            <p:nvPr/>
          </p:nvSpPr>
          <p:spPr>
            <a:xfrm>
              <a:off x="8737168" y="2476395"/>
              <a:ext cx="991892" cy="369332"/>
            </a:xfrm>
            <a:prstGeom prst="rect">
              <a:avLst/>
            </a:prstGeom>
            <a:noFill/>
          </p:spPr>
          <p:txBody>
            <a:bodyPr wrap="square" rtlCol="0">
              <a:spAutoFit/>
            </a:bodyPr>
            <a:lstStyle/>
            <a:p>
              <a:r>
                <a:rPr lang="en-US" b="1" dirty="0">
                  <a:solidFill>
                    <a:srgbClr val="FF0000"/>
                  </a:solidFill>
                </a:rPr>
                <a:t>DNA</a:t>
              </a:r>
            </a:p>
          </p:txBody>
        </p:sp>
        <p:sp>
          <p:nvSpPr>
            <p:cNvPr id="9" name="TextBox 8">
              <a:extLst>
                <a:ext uri="{FF2B5EF4-FFF2-40B4-BE49-F238E27FC236}">
                  <a16:creationId xmlns:a16="http://schemas.microsoft.com/office/drawing/2014/main" id="{2D6138DC-CB20-49EA-AAA7-499B3F84FC2C}"/>
                </a:ext>
              </a:extLst>
            </p:cNvPr>
            <p:cNvSpPr txBox="1"/>
            <p:nvPr/>
          </p:nvSpPr>
          <p:spPr>
            <a:xfrm>
              <a:off x="8304119" y="3080376"/>
              <a:ext cx="1424941" cy="637793"/>
            </a:xfrm>
            <a:prstGeom prst="rect">
              <a:avLst/>
            </a:prstGeom>
            <a:noFill/>
          </p:spPr>
          <p:txBody>
            <a:bodyPr wrap="square" rtlCol="0">
              <a:spAutoFit/>
            </a:bodyPr>
            <a:lstStyle/>
            <a:p>
              <a:r>
                <a:rPr lang="en-US" b="1" dirty="0">
                  <a:solidFill>
                    <a:srgbClr val="FF0000"/>
                  </a:solidFill>
                </a:rPr>
                <a:t>Recombinant  Protein </a:t>
              </a:r>
            </a:p>
          </p:txBody>
        </p:sp>
        <p:sp>
          <p:nvSpPr>
            <p:cNvPr id="10" name="TextBox 9">
              <a:extLst>
                <a:ext uri="{FF2B5EF4-FFF2-40B4-BE49-F238E27FC236}">
                  <a16:creationId xmlns:a16="http://schemas.microsoft.com/office/drawing/2014/main" id="{381FEF79-6005-4DF8-9A33-77AFA687FB1B}"/>
                </a:ext>
              </a:extLst>
            </p:cNvPr>
            <p:cNvSpPr txBox="1"/>
            <p:nvPr/>
          </p:nvSpPr>
          <p:spPr>
            <a:xfrm>
              <a:off x="7972197" y="6034150"/>
              <a:ext cx="663845" cy="369332"/>
            </a:xfrm>
            <a:prstGeom prst="rect">
              <a:avLst/>
            </a:prstGeom>
            <a:noFill/>
          </p:spPr>
          <p:txBody>
            <a:bodyPr wrap="square" rtlCol="0">
              <a:spAutoFit/>
            </a:bodyPr>
            <a:lstStyle/>
            <a:p>
              <a:r>
                <a:rPr lang="en-US" b="1" dirty="0">
                  <a:solidFill>
                    <a:srgbClr val="FF0000"/>
                  </a:solidFill>
                </a:rPr>
                <a:t>VSV</a:t>
              </a:r>
              <a:r>
                <a:rPr lang="en-US" dirty="0"/>
                <a:t> </a:t>
              </a:r>
            </a:p>
          </p:txBody>
        </p:sp>
      </p:grpSp>
      <p:sp>
        <p:nvSpPr>
          <p:cNvPr id="8" name="Slide Number Placeholder 7">
            <a:extLst>
              <a:ext uri="{FF2B5EF4-FFF2-40B4-BE49-F238E27FC236}">
                <a16:creationId xmlns:a16="http://schemas.microsoft.com/office/drawing/2014/main" id="{352FA535-44DA-41F8-9B6C-D3989E6B3729}"/>
              </a:ext>
            </a:extLst>
          </p:cNvPr>
          <p:cNvSpPr>
            <a:spLocks noGrp="1"/>
          </p:cNvSpPr>
          <p:nvPr>
            <p:ph type="sldNum" sz="quarter" idx="12"/>
          </p:nvPr>
        </p:nvSpPr>
        <p:spPr/>
        <p:txBody>
          <a:bodyPr/>
          <a:lstStyle/>
          <a:p>
            <a:fld id="{D1541BB9-6530-43D2-B7E0-33A89042A350}" type="slidenum">
              <a:rPr lang="en-US" smtClean="0"/>
              <a:t>23</a:t>
            </a:fld>
            <a:endParaRPr lang="en-US"/>
          </a:p>
        </p:txBody>
      </p:sp>
    </p:spTree>
    <p:extLst>
      <p:ext uri="{BB962C8B-B14F-4D97-AF65-F5344CB8AC3E}">
        <p14:creationId xmlns:p14="http://schemas.microsoft.com/office/powerpoint/2010/main" val="251745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9412129-ABF4-4839-A59C-070C41D2B897}"/>
              </a:ext>
            </a:extLst>
          </p:cNvPr>
          <p:cNvSpPr/>
          <p:nvPr/>
        </p:nvSpPr>
        <p:spPr>
          <a:xfrm>
            <a:off x="55418" y="2079798"/>
            <a:ext cx="12046527" cy="4097165"/>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Content Placeholder 11" descr="Diagram&#10;&#10;Description automatically generated">
            <a:extLst>
              <a:ext uri="{FF2B5EF4-FFF2-40B4-BE49-F238E27FC236}">
                <a16:creationId xmlns:a16="http://schemas.microsoft.com/office/drawing/2014/main" id="{FF48BBFA-44B7-4D93-A6DE-529EB78C25C4}"/>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381001" y="2519848"/>
            <a:ext cx="5181600" cy="2888391"/>
          </a:xfrm>
        </p:spPr>
      </p:pic>
      <p:pic>
        <p:nvPicPr>
          <p:cNvPr id="14" name="Content Placeholder 13" descr="Diagram&#10;&#10;Description automatically generated">
            <a:extLst>
              <a:ext uri="{FF2B5EF4-FFF2-40B4-BE49-F238E27FC236}">
                <a16:creationId xmlns:a16="http://schemas.microsoft.com/office/drawing/2014/main" id="{0C000942-9BB5-408B-99A7-E21766FEC9E6}"/>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6492785" y="2562266"/>
            <a:ext cx="5181600" cy="2921463"/>
          </a:xfrm>
        </p:spPr>
      </p:pic>
      <p:sp>
        <p:nvSpPr>
          <p:cNvPr id="2" name="Title 1">
            <a:extLst>
              <a:ext uri="{FF2B5EF4-FFF2-40B4-BE49-F238E27FC236}">
                <a16:creationId xmlns:a16="http://schemas.microsoft.com/office/drawing/2014/main" id="{D0F568E5-1E0C-4D39-86EB-15840BD07DC5}"/>
              </a:ext>
            </a:extLst>
          </p:cNvPr>
          <p:cNvSpPr>
            <a:spLocks noGrp="1"/>
          </p:cNvSpPr>
          <p:nvPr>
            <p:ph type="title"/>
          </p:nvPr>
        </p:nvSpPr>
        <p:spPr>
          <a:xfrm>
            <a:off x="1540297" y="247105"/>
            <a:ext cx="9552992" cy="623919"/>
          </a:xfrm>
        </p:spPr>
        <p:txBody>
          <a:bodyPr>
            <a:normAutofit fontScale="90000"/>
          </a:bodyPr>
          <a:lstStyle/>
          <a:p>
            <a:pPr algn="ctr"/>
            <a:r>
              <a:rPr lang="en-US" dirty="0">
                <a:solidFill>
                  <a:schemeClr val="bg1"/>
                </a:solidFill>
              </a:rPr>
              <a:t>Overview of Two COVID Vaccine Platforms</a:t>
            </a:r>
          </a:p>
        </p:txBody>
      </p:sp>
      <p:sp>
        <p:nvSpPr>
          <p:cNvPr id="5" name="TextBox 4">
            <a:extLst>
              <a:ext uri="{FF2B5EF4-FFF2-40B4-BE49-F238E27FC236}">
                <a16:creationId xmlns:a16="http://schemas.microsoft.com/office/drawing/2014/main" id="{DAADCC72-3A8C-40AD-88EF-40D05A8034B2}"/>
              </a:ext>
            </a:extLst>
          </p:cNvPr>
          <p:cNvSpPr txBox="1"/>
          <p:nvPr/>
        </p:nvSpPr>
        <p:spPr>
          <a:xfrm>
            <a:off x="6492785" y="6140916"/>
            <a:ext cx="5181600" cy="600164"/>
          </a:xfrm>
          <a:prstGeom prst="rect">
            <a:avLst/>
          </a:prstGeom>
          <a:noFill/>
        </p:spPr>
        <p:txBody>
          <a:bodyPr wrap="square" rtlCol="0">
            <a:spAutoFit/>
          </a:bodyPr>
          <a:lstStyle/>
          <a:p>
            <a:r>
              <a:rPr lang="en-US" sz="1100" dirty="0"/>
              <a:t>https://www.fda.gov/advisory-committees/advisory-committee-calendar/vaccines-and-related-biological-products-advisory-committee-february-26-2021-meeting-announcement</a:t>
            </a:r>
          </a:p>
        </p:txBody>
      </p:sp>
      <p:sp>
        <p:nvSpPr>
          <p:cNvPr id="7" name="TextBox 6">
            <a:extLst>
              <a:ext uri="{FF2B5EF4-FFF2-40B4-BE49-F238E27FC236}">
                <a16:creationId xmlns:a16="http://schemas.microsoft.com/office/drawing/2014/main" id="{F66A0967-E85E-4741-A5FF-0D281F2555D7}"/>
              </a:ext>
            </a:extLst>
          </p:cNvPr>
          <p:cNvSpPr txBox="1"/>
          <p:nvPr/>
        </p:nvSpPr>
        <p:spPr>
          <a:xfrm>
            <a:off x="381001" y="6194314"/>
            <a:ext cx="5181600" cy="600164"/>
          </a:xfrm>
          <a:prstGeom prst="rect">
            <a:avLst/>
          </a:prstGeom>
          <a:noFill/>
        </p:spPr>
        <p:txBody>
          <a:bodyPr wrap="square" rtlCol="0">
            <a:spAutoFit/>
          </a:bodyPr>
          <a:lstStyle/>
          <a:p>
            <a:r>
              <a:rPr lang="en-US" sz="1100" dirty="0"/>
              <a:t>https://www.fda.gov/advisory-committees/advisory-committee-calendar/vaccines-and-related-biological-products-advisory-committee-december-17-2020-meeting-announcement</a:t>
            </a:r>
          </a:p>
        </p:txBody>
      </p:sp>
      <p:sp>
        <p:nvSpPr>
          <p:cNvPr id="8" name="TextBox 7">
            <a:extLst>
              <a:ext uri="{FF2B5EF4-FFF2-40B4-BE49-F238E27FC236}">
                <a16:creationId xmlns:a16="http://schemas.microsoft.com/office/drawing/2014/main" id="{D63070CE-CA64-417B-96AF-69DBF87A6E6D}"/>
              </a:ext>
            </a:extLst>
          </p:cNvPr>
          <p:cNvSpPr txBox="1"/>
          <p:nvPr/>
        </p:nvSpPr>
        <p:spPr>
          <a:xfrm>
            <a:off x="381001" y="1331615"/>
            <a:ext cx="5181600" cy="707886"/>
          </a:xfrm>
          <a:prstGeom prst="rect">
            <a:avLst/>
          </a:prstGeom>
          <a:noFill/>
        </p:spPr>
        <p:txBody>
          <a:bodyPr wrap="square" rtlCol="0">
            <a:spAutoFit/>
          </a:bodyPr>
          <a:lstStyle/>
          <a:p>
            <a:pPr algn="ctr"/>
            <a:r>
              <a:rPr lang="en-US" sz="2000" dirty="0">
                <a:latin typeface="Noto Sans" panose="020B0502040504020204" pitchFamily="34" charset="0"/>
                <a:ea typeface="Noto Sans" panose="020B0502040504020204" pitchFamily="34" charset="0"/>
                <a:cs typeface="Noto Sans" panose="020B0502040504020204" pitchFamily="34" charset="0"/>
              </a:rPr>
              <a:t>Moderna </a:t>
            </a:r>
          </a:p>
          <a:p>
            <a:pPr algn="ctr"/>
            <a:r>
              <a:rPr lang="en-US" sz="2000" b="0" i="0" dirty="0">
                <a:solidFill>
                  <a:srgbClr val="000000"/>
                </a:solidFill>
                <a:effectLst/>
                <a:latin typeface="Noto Sans" panose="020B0502040504020204" pitchFamily="34" charset="0"/>
                <a:ea typeface="Noto Sans" panose="020B0502040504020204" pitchFamily="34" charset="0"/>
                <a:cs typeface="Noto Sans" panose="020B0502040504020204" pitchFamily="34" charset="0"/>
              </a:rPr>
              <a:t>SPIKEVAX (COVID-19 Vaccine, mRNA)</a:t>
            </a:r>
            <a:endParaRPr lang="en-US" sz="2000" dirty="0">
              <a:latin typeface="Noto Sans" panose="020B0502040504020204" pitchFamily="34" charset="0"/>
              <a:ea typeface="Noto Sans" panose="020B0502040504020204" pitchFamily="34" charset="0"/>
              <a:cs typeface="Noto Sans" panose="020B0502040504020204" pitchFamily="34" charset="0"/>
            </a:endParaRPr>
          </a:p>
        </p:txBody>
      </p:sp>
      <p:sp>
        <p:nvSpPr>
          <p:cNvPr id="10" name="TextBox 9">
            <a:extLst>
              <a:ext uri="{FF2B5EF4-FFF2-40B4-BE49-F238E27FC236}">
                <a16:creationId xmlns:a16="http://schemas.microsoft.com/office/drawing/2014/main" id="{FD02FD60-0EA7-43A0-B83A-2E54F00285EB}"/>
              </a:ext>
            </a:extLst>
          </p:cNvPr>
          <p:cNvSpPr txBox="1"/>
          <p:nvPr/>
        </p:nvSpPr>
        <p:spPr>
          <a:xfrm>
            <a:off x="6492785" y="1410744"/>
            <a:ext cx="5181600" cy="707886"/>
          </a:xfrm>
          <a:prstGeom prst="rect">
            <a:avLst/>
          </a:prstGeom>
          <a:noFill/>
        </p:spPr>
        <p:txBody>
          <a:bodyPr wrap="square" rtlCol="0">
            <a:spAutoFit/>
          </a:bodyPr>
          <a:lstStyle/>
          <a:p>
            <a:pPr algn="ctr"/>
            <a:r>
              <a:rPr lang="en-US" sz="2000" dirty="0">
                <a:latin typeface="Noto Sans" panose="020B0502040504020204" pitchFamily="34" charset="0"/>
                <a:ea typeface="Noto Sans" panose="020B0502040504020204" pitchFamily="34" charset="0"/>
                <a:cs typeface="Noto Sans" panose="020B0502040504020204" pitchFamily="34" charset="0"/>
              </a:rPr>
              <a:t>Janssen </a:t>
            </a:r>
          </a:p>
          <a:p>
            <a:pPr algn="ctr"/>
            <a:r>
              <a:rPr lang="en-US" sz="2000" b="0" i="0" dirty="0">
                <a:solidFill>
                  <a:srgbClr val="000000"/>
                </a:solidFill>
                <a:effectLst/>
                <a:latin typeface="Noto Sans" panose="020B0502040504020204" pitchFamily="34" charset="0"/>
                <a:ea typeface="Noto Sans" panose="020B0502040504020204" pitchFamily="34" charset="0"/>
                <a:cs typeface="Noto Sans" panose="020B0502040504020204" pitchFamily="34" charset="0"/>
              </a:rPr>
              <a:t>COVID-19 Vaccine (Ad26 COV2.S)</a:t>
            </a:r>
            <a:endParaRPr lang="en-US" sz="2000" dirty="0">
              <a:latin typeface="Noto Sans" panose="020B0502040504020204" pitchFamily="34" charset="0"/>
              <a:ea typeface="Noto Sans" panose="020B0502040504020204" pitchFamily="34" charset="0"/>
              <a:cs typeface="Noto Sans" panose="020B0502040504020204" pitchFamily="34" charset="0"/>
            </a:endParaRPr>
          </a:p>
        </p:txBody>
      </p:sp>
      <p:sp>
        <p:nvSpPr>
          <p:cNvPr id="15" name="Slide Number Placeholder 14">
            <a:extLst>
              <a:ext uri="{FF2B5EF4-FFF2-40B4-BE49-F238E27FC236}">
                <a16:creationId xmlns:a16="http://schemas.microsoft.com/office/drawing/2014/main" id="{B08ED236-74BE-4B29-A3A6-B0F2B8CA8692}"/>
              </a:ext>
            </a:extLst>
          </p:cNvPr>
          <p:cNvSpPr>
            <a:spLocks noGrp="1"/>
          </p:cNvSpPr>
          <p:nvPr>
            <p:ph type="sldNum" sz="quarter" idx="12"/>
          </p:nvPr>
        </p:nvSpPr>
        <p:spPr/>
        <p:txBody>
          <a:bodyPr/>
          <a:lstStyle/>
          <a:p>
            <a:fld id="{D1541BB9-6530-43D2-B7E0-33A89042A350}" type="slidenum">
              <a:rPr lang="en-US" smtClean="0"/>
              <a:t>24</a:t>
            </a:fld>
            <a:endParaRPr lang="en-US"/>
          </a:p>
        </p:txBody>
      </p:sp>
      <p:pic>
        <p:nvPicPr>
          <p:cNvPr id="3" name="Picture 2">
            <a:extLst>
              <a:ext uri="{FF2B5EF4-FFF2-40B4-BE49-F238E27FC236}">
                <a16:creationId xmlns:a16="http://schemas.microsoft.com/office/drawing/2014/main" id="{5DC1D374-C953-4528-8DB1-5C2AB9C8D517}"/>
              </a:ext>
            </a:extLst>
          </p:cNvPr>
          <p:cNvPicPr>
            <a:picLocks noChangeAspect="1"/>
          </p:cNvPicPr>
          <p:nvPr/>
        </p:nvPicPr>
        <p:blipFill>
          <a:blip r:embed="rId4"/>
          <a:stretch>
            <a:fillRect/>
          </a:stretch>
        </p:blipFill>
        <p:spPr>
          <a:xfrm>
            <a:off x="5952457" y="2082157"/>
            <a:ext cx="115834" cy="4176122"/>
          </a:xfrm>
          <a:prstGeom prst="rect">
            <a:avLst/>
          </a:prstGeom>
        </p:spPr>
      </p:pic>
    </p:spTree>
    <p:extLst>
      <p:ext uri="{BB962C8B-B14F-4D97-AF65-F5344CB8AC3E}">
        <p14:creationId xmlns:p14="http://schemas.microsoft.com/office/powerpoint/2010/main" val="14893154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9412129-ABF4-4839-A59C-070C41D2B897}"/>
              </a:ext>
            </a:extLst>
          </p:cNvPr>
          <p:cNvSpPr/>
          <p:nvPr/>
        </p:nvSpPr>
        <p:spPr>
          <a:xfrm>
            <a:off x="55418" y="2079798"/>
            <a:ext cx="12046527" cy="4097165"/>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Content Placeholder 11">
            <a:extLst>
              <a:ext uri="{FF2B5EF4-FFF2-40B4-BE49-F238E27FC236}">
                <a16:creationId xmlns:a16="http://schemas.microsoft.com/office/drawing/2014/main" id="{FF48BBFA-44B7-4D93-A6DE-529EB78C25C4}"/>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rcRect/>
          <a:stretch/>
        </p:blipFill>
        <p:spPr>
          <a:xfrm>
            <a:off x="413595" y="2519848"/>
            <a:ext cx="5171828" cy="2888391"/>
          </a:xfrm>
        </p:spPr>
      </p:pic>
      <p:pic>
        <p:nvPicPr>
          <p:cNvPr id="14" name="Content Placeholder 13">
            <a:extLst>
              <a:ext uri="{FF2B5EF4-FFF2-40B4-BE49-F238E27FC236}">
                <a16:creationId xmlns:a16="http://schemas.microsoft.com/office/drawing/2014/main" id="{0C000942-9BB5-408B-99A7-E21766FEC9E6}"/>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rcRect/>
          <a:stretch/>
        </p:blipFill>
        <p:spPr>
          <a:xfrm>
            <a:off x="6594406" y="2519848"/>
            <a:ext cx="5122466" cy="2921463"/>
          </a:xfrm>
        </p:spPr>
      </p:pic>
      <p:sp>
        <p:nvSpPr>
          <p:cNvPr id="2" name="Title 1">
            <a:extLst>
              <a:ext uri="{FF2B5EF4-FFF2-40B4-BE49-F238E27FC236}">
                <a16:creationId xmlns:a16="http://schemas.microsoft.com/office/drawing/2014/main" id="{D0F568E5-1E0C-4D39-86EB-15840BD07DC5}"/>
              </a:ext>
            </a:extLst>
          </p:cNvPr>
          <p:cNvSpPr>
            <a:spLocks noGrp="1"/>
          </p:cNvSpPr>
          <p:nvPr>
            <p:ph type="title"/>
          </p:nvPr>
        </p:nvSpPr>
        <p:spPr>
          <a:xfrm>
            <a:off x="1540297" y="247105"/>
            <a:ext cx="9552992" cy="623919"/>
          </a:xfrm>
        </p:spPr>
        <p:txBody>
          <a:bodyPr>
            <a:normAutofit fontScale="90000"/>
          </a:bodyPr>
          <a:lstStyle/>
          <a:p>
            <a:pPr algn="ctr"/>
            <a:r>
              <a:rPr lang="en-US" dirty="0">
                <a:solidFill>
                  <a:schemeClr val="bg1"/>
                </a:solidFill>
              </a:rPr>
              <a:t>COVID Vaccine Development Pathway</a:t>
            </a:r>
          </a:p>
        </p:txBody>
      </p:sp>
      <p:sp>
        <p:nvSpPr>
          <p:cNvPr id="5" name="TextBox 4">
            <a:extLst>
              <a:ext uri="{FF2B5EF4-FFF2-40B4-BE49-F238E27FC236}">
                <a16:creationId xmlns:a16="http://schemas.microsoft.com/office/drawing/2014/main" id="{DAADCC72-3A8C-40AD-88EF-40D05A8034B2}"/>
              </a:ext>
            </a:extLst>
          </p:cNvPr>
          <p:cNvSpPr txBox="1"/>
          <p:nvPr/>
        </p:nvSpPr>
        <p:spPr>
          <a:xfrm>
            <a:off x="6492785" y="6140916"/>
            <a:ext cx="5181600"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https://www.fda.gov/advisory-committees/advisory-committee-calendar/vaccines-and-related-biological-products-advisory-committee-february-26-2021-meeting-announcement</a:t>
            </a:r>
          </a:p>
        </p:txBody>
      </p:sp>
      <p:sp>
        <p:nvSpPr>
          <p:cNvPr id="7" name="TextBox 6">
            <a:extLst>
              <a:ext uri="{FF2B5EF4-FFF2-40B4-BE49-F238E27FC236}">
                <a16:creationId xmlns:a16="http://schemas.microsoft.com/office/drawing/2014/main" id="{F66A0967-E85E-4741-A5FF-0D281F2555D7}"/>
              </a:ext>
            </a:extLst>
          </p:cNvPr>
          <p:cNvSpPr txBox="1"/>
          <p:nvPr/>
        </p:nvSpPr>
        <p:spPr>
          <a:xfrm>
            <a:off x="381001" y="6194314"/>
            <a:ext cx="5181600"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https://www.fda.gov/advisory-committees/advisory-committee-calendar/vaccines-and-related-biological-products-advisory-committee-december-17-2020-meeting-announcement</a:t>
            </a:r>
          </a:p>
        </p:txBody>
      </p:sp>
      <p:sp>
        <p:nvSpPr>
          <p:cNvPr id="8" name="TextBox 7">
            <a:extLst>
              <a:ext uri="{FF2B5EF4-FFF2-40B4-BE49-F238E27FC236}">
                <a16:creationId xmlns:a16="http://schemas.microsoft.com/office/drawing/2014/main" id="{D63070CE-CA64-417B-96AF-69DBF87A6E6D}"/>
              </a:ext>
            </a:extLst>
          </p:cNvPr>
          <p:cNvSpPr txBox="1"/>
          <p:nvPr/>
        </p:nvSpPr>
        <p:spPr>
          <a:xfrm>
            <a:off x="381001" y="1331615"/>
            <a:ext cx="518160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rPr>
              <a:t>Modern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Noto Sans" panose="020B0502040504020204" pitchFamily="34" charset="0"/>
                <a:ea typeface="Noto Sans" panose="020B0502040504020204" pitchFamily="34" charset="0"/>
                <a:cs typeface="Noto Sans" panose="020B0502040504020204" pitchFamily="34" charset="0"/>
              </a:rPr>
              <a:t>SPIKEVAX (COVID-19 Vaccine, mRNA)</a:t>
            </a:r>
            <a:endPar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10" name="TextBox 9">
            <a:extLst>
              <a:ext uri="{FF2B5EF4-FFF2-40B4-BE49-F238E27FC236}">
                <a16:creationId xmlns:a16="http://schemas.microsoft.com/office/drawing/2014/main" id="{FD02FD60-0EA7-43A0-B83A-2E54F00285EB}"/>
              </a:ext>
            </a:extLst>
          </p:cNvPr>
          <p:cNvSpPr txBox="1"/>
          <p:nvPr/>
        </p:nvSpPr>
        <p:spPr>
          <a:xfrm>
            <a:off x="6492785" y="1410744"/>
            <a:ext cx="518160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rPr>
              <a:t>Jansse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Noto Sans" panose="020B0502040504020204" pitchFamily="34" charset="0"/>
                <a:ea typeface="Noto Sans" panose="020B0502040504020204" pitchFamily="34" charset="0"/>
                <a:cs typeface="Noto Sans" panose="020B0502040504020204" pitchFamily="34" charset="0"/>
              </a:rPr>
              <a:t>COVID-19 Vaccine (Ad26 COV2.S)</a:t>
            </a:r>
            <a:endPar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15" name="Slide Number Placeholder 14">
            <a:extLst>
              <a:ext uri="{FF2B5EF4-FFF2-40B4-BE49-F238E27FC236}">
                <a16:creationId xmlns:a16="http://schemas.microsoft.com/office/drawing/2014/main" id="{B08ED236-74BE-4B29-A3A6-B0F2B8CA869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541BB9-6530-43D2-B7E0-33A89042A350}"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5DC1D374-C953-4528-8DB1-5C2AB9C8D517}"/>
              </a:ext>
            </a:extLst>
          </p:cNvPr>
          <p:cNvPicPr>
            <a:picLocks noChangeAspect="1"/>
          </p:cNvPicPr>
          <p:nvPr/>
        </p:nvPicPr>
        <p:blipFill>
          <a:blip r:embed="rId4"/>
          <a:stretch>
            <a:fillRect/>
          </a:stretch>
        </p:blipFill>
        <p:spPr>
          <a:xfrm>
            <a:off x="6038083" y="2082157"/>
            <a:ext cx="115834" cy="4176122"/>
          </a:xfrm>
          <a:prstGeom prst="rect">
            <a:avLst/>
          </a:prstGeom>
        </p:spPr>
      </p:pic>
    </p:spTree>
    <p:extLst>
      <p:ext uri="{BB962C8B-B14F-4D97-AF65-F5344CB8AC3E}">
        <p14:creationId xmlns:p14="http://schemas.microsoft.com/office/powerpoint/2010/main" val="12377176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9412129-ABF4-4839-A59C-070C41D2B897}"/>
              </a:ext>
            </a:extLst>
          </p:cNvPr>
          <p:cNvSpPr/>
          <p:nvPr/>
        </p:nvSpPr>
        <p:spPr>
          <a:xfrm>
            <a:off x="55418" y="2079798"/>
            <a:ext cx="12046527" cy="4097165"/>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Content Placeholder 11">
            <a:extLst>
              <a:ext uri="{FF2B5EF4-FFF2-40B4-BE49-F238E27FC236}">
                <a16:creationId xmlns:a16="http://schemas.microsoft.com/office/drawing/2014/main" id="{FF48BBFA-44B7-4D93-A6DE-529EB78C25C4}"/>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rcRect/>
          <a:stretch/>
        </p:blipFill>
        <p:spPr>
          <a:xfrm>
            <a:off x="413595" y="2520621"/>
            <a:ext cx="5171828" cy="2886845"/>
          </a:xfrm>
        </p:spPr>
      </p:pic>
      <p:pic>
        <p:nvPicPr>
          <p:cNvPr id="14" name="Content Placeholder 13">
            <a:extLst>
              <a:ext uri="{FF2B5EF4-FFF2-40B4-BE49-F238E27FC236}">
                <a16:creationId xmlns:a16="http://schemas.microsoft.com/office/drawing/2014/main" id="{0C000942-9BB5-408B-99A7-E21766FEC9E6}"/>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rcRect/>
          <a:stretch/>
        </p:blipFill>
        <p:spPr>
          <a:xfrm>
            <a:off x="6594406" y="2532417"/>
            <a:ext cx="5122466" cy="2896325"/>
          </a:xfrm>
        </p:spPr>
      </p:pic>
      <p:sp>
        <p:nvSpPr>
          <p:cNvPr id="2" name="Title 1">
            <a:extLst>
              <a:ext uri="{FF2B5EF4-FFF2-40B4-BE49-F238E27FC236}">
                <a16:creationId xmlns:a16="http://schemas.microsoft.com/office/drawing/2014/main" id="{D0F568E5-1E0C-4D39-86EB-15840BD07DC5}"/>
              </a:ext>
            </a:extLst>
          </p:cNvPr>
          <p:cNvSpPr>
            <a:spLocks noGrp="1"/>
          </p:cNvSpPr>
          <p:nvPr>
            <p:ph type="title"/>
          </p:nvPr>
        </p:nvSpPr>
        <p:spPr>
          <a:xfrm>
            <a:off x="1540297" y="247105"/>
            <a:ext cx="9552992" cy="623919"/>
          </a:xfrm>
        </p:spPr>
        <p:txBody>
          <a:bodyPr>
            <a:normAutofit fontScale="90000"/>
          </a:bodyPr>
          <a:lstStyle/>
          <a:p>
            <a:pPr algn="ctr"/>
            <a:r>
              <a:rPr lang="en-US" dirty="0">
                <a:solidFill>
                  <a:schemeClr val="bg1"/>
                </a:solidFill>
              </a:rPr>
              <a:t>Solicited Local Adverse Events</a:t>
            </a:r>
          </a:p>
        </p:txBody>
      </p:sp>
      <p:sp>
        <p:nvSpPr>
          <p:cNvPr id="5" name="TextBox 4">
            <a:extLst>
              <a:ext uri="{FF2B5EF4-FFF2-40B4-BE49-F238E27FC236}">
                <a16:creationId xmlns:a16="http://schemas.microsoft.com/office/drawing/2014/main" id="{DAADCC72-3A8C-40AD-88EF-40D05A8034B2}"/>
              </a:ext>
            </a:extLst>
          </p:cNvPr>
          <p:cNvSpPr txBox="1"/>
          <p:nvPr/>
        </p:nvSpPr>
        <p:spPr>
          <a:xfrm>
            <a:off x="6492785" y="6140916"/>
            <a:ext cx="5181600"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https://www.fda.gov/advisory-committees/advisory-committee-calendar/vaccines-and-related-biological-products-advisory-committee-february-26-2021-meeting-announcement</a:t>
            </a:r>
          </a:p>
        </p:txBody>
      </p:sp>
      <p:sp>
        <p:nvSpPr>
          <p:cNvPr id="7" name="TextBox 6">
            <a:extLst>
              <a:ext uri="{FF2B5EF4-FFF2-40B4-BE49-F238E27FC236}">
                <a16:creationId xmlns:a16="http://schemas.microsoft.com/office/drawing/2014/main" id="{F66A0967-E85E-4741-A5FF-0D281F2555D7}"/>
              </a:ext>
            </a:extLst>
          </p:cNvPr>
          <p:cNvSpPr txBox="1"/>
          <p:nvPr/>
        </p:nvSpPr>
        <p:spPr>
          <a:xfrm>
            <a:off x="381001" y="6194314"/>
            <a:ext cx="5181600"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https://www.fda.gov/advisory-committees/advisory-committee-calendar/vaccines-and-related-biological-products-advisory-committee-december-17-2020-meeting-announcement</a:t>
            </a:r>
          </a:p>
        </p:txBody>
      </p:sp>
      <p:sp>
        <p:nvSpPr>
          <p:cNvPr id="8" name="TextBox 7">
            <a:extLst>
              <a:ext uri="{FF2B5EF4-FFF2-40B4-BE49-F238E27FC236}">
                <a16:creationId xmlns:a16="http://schemas.microsoft.com/office/drawing/2014/main" id="{D63070CE-CA64-417B-96AF-69DBF87A6E6D}"/>
              </a:ext>
            </a:extLst>
          </p:cNvPr>
          <p:cNvSpPr txBox="1"/>
          <p:nvPr/>
        </p:nvSpPr>
        <p:spPr>
          <a:xfrm>
            <a:off x="381001" y="1331615"/>
            <a:ext cx="518160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rPr>
              <a:t>Modern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Noto Sans" panose="020B0502040504020204" pitchFamily="34" charset="0"/>
                <a:ea typeface="Noto Sans" panose="020B0502040504020204" pitchFamily="34" charset="0"/>
                <a:cs typeface="Noto Sans" panose="020B0502040504020204" pitchFamily="34" charset="0"/>
              </a:rPr>
              <a:t>SPIKEVAX (COVID-19 Vaccine, mRNA)</a:t>
            </a:r>
            <a:endPar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10" name="TextBox 9">
            <a:extLst>
              <a:ext uri="{FF2B5EF4-FFF2-40B4-BE49-F238E27FC236}">
                <a16:creationId xmlns:a16="http://schemas.microsoft.com/office/drawing/2014/main" id="{FD02FD60-0EA7-43A0-B83A-2E54F00285EB}"/>
              </a:ext>
            </a:extLst>
          </p:cNvPr>
          <p:cNvSpPr txBox="1"/>
          <p:nvPr/>
        </p:nvSpPr>
        <p:spPr>
          <a:xfrm>
            <a:off x="6492785" y="1410744"/>
            <a:ext cx="518160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rPr>
              <a:t>Jansse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Noto Sans" panose="020B0502040504020204" pitchFamily="34" charset="0"/>
                <a:ea typeface="Noto Sans" panose="020B0502040504020204" pitchFamily="34" charset="0"/>
                <a:cs typeface="Noto Sans" panose="020B0502040504020204" pitchFamily="34" charset="0"/>
              </a:rPr>
              <a:t>COVID-19 Vaccine (Ad26 COV2.S)</a:t>
            </a:r>
            <a:endPar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15" name="Slide Number Placeholder 14">
            <a:extLst>
              <a:ext uri="{FF2B5EF4-FFF2-40B4-BE49-F238E27FC236}">
                <a16:creationId xmlns:a16="http://schemas.microsoft.com/office/drawing/2014/main" id="{B08ED236-74BE-4B29-A3A6-B0F2B8CA869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541BB9-6530-43D2-B7E0-33A89042A350}"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5DC1D374-C953-4528-8DB1-5C2AB9C8D517}"/>
              </a:ext>
            </a:extLst>
          </p:cNvPr>
          <p:cNvPicPr>
            <a:picLocks noChangeAspect="1"/>
          </p:cNvPicPr>
          <p:nvPr/>
        </p:nvPicPr>
        <p:blipFill>
          <a:blip r:embed="rId4"/>
          <a:stretch>
            <a:fillRect/>
          </a:stretch>
        </p:blipFill>
        <p:spPr>
          <a:xfrm>
            <a:off x="6038083" y="2082157"/>
            <a:ext cx="115834" cy="4176122"/>
          </a:xfrm>
          <a:prstGeom prst="rect">
            <a:avLst/>
          </a:prstGeom>
        </p:spPr>
      </p:pic>
    </p:spTree>
    <p:extLst>
      <p:ext uri="{BB962C8B-B14F-4D97-AF65-F5344CB8AC3E}">
        <p14:creationId xmlns:p14="http://schemas.microsoft.com/office/powerpoint/2010/main" val="25192333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9412129-ABF4-4839-A59C-070C41D2B897}"/>
              </a:ext>
            </a:extLst>
          </p:cNvPr>
          <p:cNvSpPr/>
          <p:nvPr/>
        </p:nvSpPr>
        <p:spPr>
          <a:xfrm>
            <a:off x="55418" y="2079798"/>
            <a:ext cx="12046527" cy="4097165"/>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Content Placeholder 11">
            <a:extLst>
              <a:ext uri="{FF2B5EF4-FFF2-40B4-BE49-F238E27FC236}">
                <a16:creationId xmlns:a16="http://schemas.microsoft.com/office/drawing/2014/main" id="{FF48BBFA-44B7-4D93-A6DE-529EB78C25C4}"/>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rcRect/>
          <a:stretch/>
        </p:blipFill>
        <p:spPr>
          <a:xfrm>
            <a:off x="452569" y="2519848"/>
            <a:ext cx="5093880" cy="2888391"/>
          </a:xfrm>
        </p:spPr>
      </p:pic>
      <p:pic>
        <p:nvPicPr>
          <p:cNvPr id="14" name="Content Placeholder 13">
            <a:extLst>
              <a:ext uri="{FF2B5EF4-FFF2-40B4-BE49-F238E27FC236}">
                <a16:creationId xmlns:a16="http://schemas.microsoft.com/office/drawing/2014/main" id="{0C000942-9BB5-408B-99A7-E21766FEC9E6}"/>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rcRect/>
          <a:stretch/>
        </p:blipFill>
        <p:spPr>
          <a:xfrm>
            <a:off x="6594406" y="2543224"/>
            <a:ext cx="5122466" cy="2874711"/>
          </a:xfrm>
        </p:spPr>
      </p:pic>
      <p:sp>
        <p:nvSpPr>
          <p:cNvPr id="2" name="Title 1">
            <a:extLst>
              <a:ext uri="{FF2B5EF4-FFF2-40B4-BE49-F238E27FC236}">
                <a16:creationId xmlns:a16="http://schemas.microsoft.com/office/drawing/2014/main" id="{D0F568E5-1E0C-4D39-86EB-15840BD07DC5}"/>
              </a:ext>
            </a:extLst>
          </p:cNvPr>
          <p:cNvSpPr>
            <a:spLocks noGrp="1"/>
          </p:cNvSpPr>
          <p:nvPr>
            <p:ph type="title"/>
          </p:nvPr>
        </p:nvSpPr>
        <p:spPr>
          <a:xfrm>
            <a:off x="1540297" y="247105"/>
            <a:ext cx="9552992" cy="623919"/>
          </a:xfrm>
        </p:spPr>
        <p:txBody>
          <a:bodyPr>
            <a:normAutofit fontScale="90000"/>
          </a:bodyPr>
          <a:lstStyle/>
          <a:p>
            <a:pPr algn="ctr"/>
            <a:r>
              <a:rPr lang="en-US" dirty="0">
                <a:solidFill>
                  <a:schemeClr val="bg1"/>
                </a:solidFill>
              </a:rPr>
              <a:t>Solicited Systemic Adverse Events</a:t>
            </a:r>
          </a:p>
        </p:txBody>
      </p:sp>
      <p:sp>
        <p:nvSpPr>
          <p:cNvPr id="5" name="TextBox 4">
            <a:extLst>
              <a:ext uri="{FF2B5EF4-FFF2-40B4-BE49-F238E27FC236}">
                <a16:creationId xmlns:a16="http://schemas.microsoft.com/office/drawing/2014/main" id="{DAADCC72-3A8C-40AD-88EF-40D05A8034B2}"/>
              </a:ext>
            </a:extLst>
          </p:cNvPr>
          <p:cNvSpPr txBox="1"/>
          <p:nvPr/>
        </p:nvSpPr>
        <p:spPr>
          <a:xfrm>
            <a:off x="6492785" y="6140916"/>
            <a:ext cx="5181600"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https://www.fda.gov/advisory-committees/advisory-committee-calendar/vaccines-and-related-biological-products-advisory-committee-february-26-2021-meeting-announcement</a:t>
            </a:r>
          </a:p>
        </p:txBody>
      </p:sp>
      <p:sp>
        <p:nvSpPr>
          <p:cNvPr id="7" name="TextBox 6">
            <a:extLst>
              <a:ext uri="{FF2B5EF4-FFF2-40B4-BE49-F238E27FC236}">
                <a16:creationId xmlns:a16="http://schemas.microsoft.com/office/drawing/2014/main" id="{F66A0967-E85E-4741-A5FF-0D281F2555D7}"/>
              </a:ext>
            </a:extLst>
          </p:cNvPr>
          <p:cNvSpPr txBox="1"/>
          <p:nvPr/>
        </p:nvSpPr>
        <p:spPr>
          <a:xfrm>
            <a:off x="381001" y="6194314"/>
            <a:ext cx="5181600"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https://www.fda.gov/advisory-committees/advisory-committee-calendar/vaccines-and-related-biological-products-advisory-committee-december-17-2020-meeting-announcement</a:t>
            </a:r>
          </a:p>
        </p:txBody>
      </p:sp>
      <p:sp>
        <p:nvSpPr>
          <p:cNvPr id="8" name="TextBox 7">
            <a:extLst>
              <a:ext uri="{FF2B5EF4-FFF2-40B4-BE49-F238E27FC236}">
                <a16:creationId xmlns:a16="http://schemas.microsoft.com/office/drawing/2014/main" id="{D63070CE-CA64-417B-96AF-69DBF87A6E6D}"/>
              </a:ext>
            </a:extLst>
          </p:cNvPr>
          <p:cNvSpPr txBox="1"/>
          <p:nvPr/>
        </p:nvSpPr>
        <p:spPr>
          <a:xfrm>
            <a:off x="381001" y="1331615"/>
            <a:ext cx="518160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rPr>
              <a:t>Modern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Noto Sans" panose="020B0502040504020204" pitchFamily="34" charset="0"/>
                <a:ea typeface="Noto Sans" panose="020B0502040504020204" pitchFamily="34" charset="0"/>
                <a:cs typeface="Noto Sans" panose="020B0502040504020204" pitchFamily="34" charset="0"/>
              </a:rPr>
              <a:t>SPIKEVAX (COVID-19 Vaccine, mRNA)</a:t>
            </a:r>
            <a:endPar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10" name="TextBox 9">
            <a:extLst>
              <a:ext uri="{FF2B5EF4-FFF2-40B4-BE49-F238E27FC236}">
                <a16:creationId xmlns:a16="http://schemas.microsoft.com/office/drawing/2014/main" id="{FD02FD60-0EA7-43A0-B83A-2E54F00285EB}"/>
              </a:ext>
            </a:extLst>
          </p:cNvPr>
          <p:cNvSpPr txBox="1"/>
          <p:nvPr/>
        </p:nvSpPr>
        <p:spPr>
          <a:xfrm>
            <a:off x="6492785" y="1410744"/>
            <a:ext cx="518160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rPr>
              <a:t>Jansse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Noto Sans" panose="020B0502040504020204" pitchFamily="34" charset="0"/>
                <a:ea typeface="Noto Sans" panose="020B0502040504020204" pitchFamily="34" charset="0"/>
                <a:cs typeface="Noto Sans" panose="020B0502040504020204" pitchFamily="34" charset="0"/>
              </a:rPr>
              <a:t>COVID-19 Vaccine (Ad26 COV2.S)</a:t>
            </a:r>
            <a:endPar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15" name="Slide Number Placeholder 14">
            <a:extLst>
              <a:ext uri="{FF2B5EF4-FFF2-40B4-BE49-F238E27FC236}">
                <a16:creationId xmlns:a16="http://schemas.microsoft.com/office/drawing/2014/main" id="{B08ED236-74BE-4B29-A3A6-B0F2B8CA869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541BB9-6530-43D2-B7E0-33A89042A350}"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5DC1D374-C953-4528-8DB1-5C2AB9C8D517}"/>
              </a:ext>
            </a:extLst>
          </p:cNvPr>
          <p:cNvPicPr>
            <a:picLocks noChangeAspect="1"/>
          </p:cNvPicPr>
          <p:nvPr/>
        </p:nvPicPr>
        <p:blipFill>
          <a:blip r:embed="rId4"/>
          <a:stretch>
            <a:fillRect/>
          </a:stretch>
        </p:blipFill>
        <p:spPr>
          <a:xfrm>
            <a:off x="6038083" y="2082157"/>
            <a:ext cx="115834" cy="4176122"/>
          </a:xfrm>
          <a:prstGeom prst="rect">
            <a:avLst/>
          </a:prstGeom>
        </p:spPr>
      </p:pic>
    </p:spTree>
    <p:extLst>
      <p:ext uri="{BB962C8B-B14F-4D97-AF65-F5344CB8AC3E}">
        <p14:creationId xmlns:p14="http://schemas.microsoft.com/office/powerpoint/2010/main" val="8846708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9412129-ABF4-4839-A59C-070C41D2B897}"/>
              </a:ext>
            </a:extLst>
          </p:cNvPr>
          <p:cNvSpPr/>
          <p:nvPr/>
        </p:nvSpPr>
        <p:spPr>
          <a:xfrm>
            <a:off x="55418" y="2079798"/>
            <a:ext cx="12046527" cy="4097165"/>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Content Placeholder 11">
            <a:extLst>
              <a:ext uri="{FF2B5EF4-FFF2-40B4-BE49-F238E27FC236}">
                <a16:creationId xmlns:a16="http://schemas.microsoft.com/office/drawing/2014/main" id="{FF48BBFA-44B7-4D93-A6DE-529EB78C25C4}"/>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rcRect/>
          <a:stretch/>
        </p:blipFill>
        <p:spPr>
          <a:xfrm>
            <a:off x="420714" y="2519848"/>
            <a:ext cx="5157589" cy="2888391"/>
          </a:xfrm>
        </p:spPr>
      </p:pic>
      <p:pic>
        <p:nvPicPr>
          <p:cNvPr id="14" name="Content Placeholder 13">
            <a:extLst>
              <a:ext uri="{FF2B5EF4-FFF2-40B4-BE49-F238E27FC236}">
                <a16:creationId xmlns:a16="http://schemas.microsoft.com/office/drawing/2014/main" id="{0C000942-9BB5-408B-99A7-E21766FEC9E6}"/>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rcRect/>
          <a:stretch/>
        </p:blipFill>
        <p:spPr>
          <a:xfrm>
            <a:off x="6594406" y="2541920"/>
            <a:ext cx="5122466" cy="2877319"/>
          </a:xfrm>
        </p:spPr>
      </p:pic>
      <p:sp>
        <p:nvSpPr>
          <p:cNvPr id="2" name="Title 1">
            <a:extLst>
              <a:ext uri="{FF2B5EF4-FFF2-40B4-BE49-F238E27FC236}">
                <a16:creationId xmlns:a16="http://schemas.microsoft.com/office/drawing/2014/main" id="{D0F568E5-1E0C-4D39-86EB-15840BD07DC5}"/>
              </a:ext>
            </a:extLst>
          </p:cNvPr>
          <p:cNvSpPr>
            <a:spLocks noGrp="1"/>
          </p:cNvSpPr>
          <p:nvPr>
            <p:ph type="title"/>
          </p:nvPr>
        </p:nvSpPr>
        <p:spPr>
          <a:xfrm>
            <a:off x="1540297" y="247105"/>
            <a:ext cx="9552992" cy="623919"/>
          </a:xfrm>
        </p:spPr>
        <p:txBody>
          <a:bodyPr>
            <a:normAutofit fontScale="90000"/>
          </a:bodyPr>
          <a:lstStyle/>
          <a:p>
            <a:pPr algn="ctr"/>
            <a:r>
              <a:rPr lang="en-US" dirty="0">
                <a:solidFill>
                  <a:schemeClr val="bg1"/>
                </a:solidFill>
              </a:rPr>
              <a:t>Non-Solicited Adverse Events</a:t>
            </a:r>
          </a:p>
        </p:txBody>
      </p:sp>
      <p:sp>
        <p:nvSpPr>
          <p:cNvPr id="5" name="TextBox 4">
            <a:extLst>
              <a:ext uri="{FF2B5EF4-FFF2-40B4-BE49-F238E27FC236}">
                <a16:creationId xmlns:a16="http://schemas.microsoft.com/office/drawing/2014/main" id="{DAADCC72-3A8C-40AD-88EF-40D05A8034B2}"/>
              </a:ext>
            </a:extLst>
          </p:cNvPr>
          <p:cNvSpPr txBox="1"/>
          <p:nvPr/>
        </p:nvSpPr>
        <p:spPr>
          <a:xfrm>
            <a:off x="6492785" y="6140916"/>
            <a:ext cx="5181600"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https://www.fda.gov/advisory-committees/advisory-committee-calendar/vaccines-and-related-biological-products-advisory-committee-february-26-2021-meeting-announcement</a:t>
            </a:r>
          </a:p>
        </p:txBody>
      </p:sp>
      <p:sp>
        <p:nvSpPr>
          <p:cNvPr id="7" name="TextBox 6">
            <a:extLst>
              <a:ext uri="{FF2B5EF4-FFF2-40B4-BE49-F238E27FC236}">
                <a16:creationId xmlns:a16="http://schemas.microsoft.com/office/drawing/2014/main" id="{F66A0967-E85E-4741-A5FF-0D281F2555D7}"/>
              </a:ext>
            </a:extLst>
          </p:cNvPr>
          <p:cNvSpPr txBox="1"/>
          <p:nvPr/>
        </p:nvSpPr>
        <p:spPr>
          <a:xfrm>
            <a:off x="381001" y="6194314"/>
            <a:ext cx="5181600"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https://www.fda.gov/advisory-committees/advisory-committee-calendar/vaccines-and-related-biological-products-advisory-committee-december-17-2020-meeting-announcement</a:t>
            </a:r>
          </a:p>
        </p:txBody>
      </p:sp>
      <p:sp>
        <p:nvSpPr>
          <p:cNvPr id="8" name="TextBox 7">
            <a:extLst>
              <a:ext uri="{FF2B5EF4-FFF2-40B4-BE49-F238E27FC236}">
                <a16:creationId xmlns:a16="http://schemas.microsoft.com/office/drawing/2014/main" id="{D63070CE-CA64-417B-96AF-69DBF87A6E6D}"/>
              </a:ext>
            </a:extLst>
          </p:cNvPr>
          <p:cNvSpPr txBox="1"/>
          <p:nvPr/>
        </p:nvSpPr>
        <p:spPr>
          <a:xfrm>
            <a:off x="381001" y="1331615"/>
            <a:ext cx="518160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rPr>
              <a:t>Modern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Noto Sans" panose="020B0502040504020204" pitchFamily="34" charset="0"/>
                <a:ea typeface="Noto Sans" panose="020B0502040504020204" pitchFamily="34" charset="0"/>
                <a:cs typeface="Noto Sans" panose="020B0502040504020204" pitchFamily="34" charset="0"/>
              </a:rPr>
              <a:t>SPIKEVAX (COVID-19 Vaccine, mRNA)</a:t>
            </a:r>
            <a:endPar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10" name="TextBox 9">
            <a:extLst>
              <a:ext uri="{FF2B5EF4-FFF2-40B4-BE49-F238E27FC236}">
                <a16:creationId xmlns:a16="http://schemas.microsoft.com/office/drawing/2014/main" id="{FD02FD60-0EA7-43A0-B83A-2E54F00285EB}"/>
              </a:ext>
            </a:extLst>
          </p:cNvPr>
          <p:cNvSpPr txBox="1"/>
          <p:nvPr/>
        </p:nvSpPr>
        <p:spPr>
          <a:xfrm>
            <a:off x="6492785" y="1410744"/>
            <a:ext cx="518160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rPr>
              <a:t>Jansse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Noto Sans" panose="020B0502040504020204" pitchFamily="34" charset="0"/>
                <a:ea typeface="Noto Sans" panose="020B0502040504020204" pitchFamily="34" charset="0"/>
                <a:cs typeface="Noto Sans" panose="020B0502040504020204" pitchFamily="34" charset="0"/>
              </a:rPr>
              <a:t>COVID-19 Vaccine (Ad26 COV2.S)</a:t>
            </a:r>
            <a:endPar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15" name="Slide Number Placeholder 14">
            <a:extLst>
              <a:ext uri="{FF2B5EF4-FFF2-40B4-BE49-F238E27FC236}">
                <a16:creationId xmlns:a16="http://schemas.microsoft.com/office/drawing/2014/main" id="{B08ED236-74BE-4B29-A3A6-B0F2B8CA869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541BB9-6530-43D2-B7E0-33A89042A350}"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5DC1D374-C953-4528-8DB1-5C2AB9C8D517}"/>
              </a:ext>
            </a:extLst>
          </p:cNvPr>
          <p:cNvPicPr>
            <a:picLocks noChangeAspect="1"/>
          </p:cNvPicPr>
          <p:nvPr/>
        </p:nvPicPr>
        <p:blipFill>
          <a:blip r:embed="rId4"/>
          <a:stretch>
            <a:fillRect/>
          </a:stretch>
        </p:blipFill>
        <p:spPr>
          <a:xfrm>
            <a:off x="6038083" y="2082157"/>
            <a:ext cx="115834" cy="4176122"/>
          </a:xfrm>
          <a:prstGeom prst="rect">
            <a:avLst/>
          </a:prstGeom>
        </p:spPr>
      </p:pic>
    </p:spTree>
    <p:extLst>
      <p:ext uri="{BB962C8B-B14F-4D97-AF65-F5344CB8AC3E}">
        <p14:creationId xmlns:p14="http://schemas.microsoft.com/office/powerpoint/2010/main" val="39837137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9412129-ABF4-4839-A59C-070C41D2B897}"/>
              </a:ext>
            </a:extLst>
          </p:cNvPr>
          <p:cNvSpPr/>
          <p:nvPr/>
        </p:nvSpPr>
        <p:spPr>
          <a:xfrm>
            <a:off x="55418" y="2079798"/>
            <a:ext cx="12046527" cy="4097165"/>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Content Placeholder 11">
            <a:extLst>
              <a:ext uri="{FF2B5EF4-FFF2-40B4-BE49-F238E27FC236}">
                <a16:creationId xmlns:a16="http://schemas.microsoft.com/office/drawing/2014/main" id="{FF48BBFA-44B7-4D93-A6DE-529EB78C25C4}"/>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rcRect/>
          <a:stretch/>
        </p:blipFill>
        <p:spPr>
          <a:xfrm>
            <a:off x="413595" y="2527620"/>
            <a:ext cx="5171828" cy="2872846"/>
          </a:xfrm>
        </p:spPr>
      </p:pic>
      <p:pic>
        <p:nvPicPr>
          <p:cNvPr id="14" name="Content Placeholder 13">
            <a:extLst>
              <a:ext uri="{FF2B5EF4-FFF2-40B4-BE49-F238E27FC236}">
                <a16:creationId xmlns:a16="http://schemas.microsoft.com/office/drawing/2014/main" id="{0C000942-9BB5-408B-99A7-E21766FEC9E6}"/>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rcRect/>
          <a:stretch/>
        </p:blipFill>
        <p:spPr>
          <a:xfrm>
            <a:off x="6594406" y="2532146"/>
            <a:ext cx="5122466" cy="2896867"/>
          </a:xfrm>
        </p:spPr>
      </p:pic>
      <p:sp>
        <p:nvSpPr>
          <p:cNvPr id="2" name="Title 1">
            <a:extLst>
              <a:ext uri="{FF2B5EF4-FFF2-40B4-BE49-F238E27FC236}">
                <a16:creationId xmlns:a16="http://schemas.microsoft.com/office/drawing/2014/main" id="{D0F568E5-1E0C-4D39-86EB-15840BD07DC5}"/>
              </a:ext>
            </a:extLst>
          </p:cNvPr>
          <p:cNvSpPr>
            <a:spLocks noGrp="1"/>
          </p:cNvSpPr>
          <p:nvPr>
            <p:ph type="title"/>
          </p:nvPr>
        </p:nvSpPr>
        <p:spPr>
          <a:xfrm>
            <a:off x="1540297" y="247105"/>
            <a:ext cx="9552992" cy="623919"/>
          </a:xfrm>
        </p:spPr>
        <p:txBody>
          <a:bodyPr>
            <a:normAutofit fontScale="90000"/>
          </a:bodyPr>
          <a:lstStyle/>
          <a:p>
            <a:pPr algn="ctr"/>
            <a:r>
              <a:rPr lang="en-US" dirty="0">
                <a:solidFill>
                  <a:schemeClr val="bg1"/>
                </a:solidFill>
              </a:rPr>
              <a:t>Primary Efficacy Objectives</a:t>
            </a:r>
          </a:p>
        </p:txBody>
      </p:sp>
      <p:sp>
        <p:nvSpPr>
          <p:cNvPr id="5" name="TextBox 4">
            <a:extLst>
              <a:ext uri="{FF2B5EF4-FFF2-40B4-BE49-F238E27FC236}">
                <a16:creationId xmlns:a16="http://schemas.microsoft.com/office/drawing/2014/main" id="{DAADCC72-3A8C-40AD-88EF-40D05A8034B2}"/>
              </a:ext>
            </a:extLst>
          </p:cNvPr>
          <p:cNvSpPr txBox="1"/>
          <p:nvPr/>
        </p:nvSpPr>
        <p:spPr>
          <a:xfrm>
            <a:off x="6492785" y="6140916"/>
            <a:ext cx="5181600"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https://www.fda.gov/advisory-committees/advisory-committee-calendar/vaccines-and-related-biological-products-advisory-committee-february-26-2021-meeting-announcement</a:t>
            </a:r>
          </a:p>
        </p:txBody>
      </p:sp>
      <p:sp>
        <p:nvSpPr>
          <p:cNvPr id="7" name="TextBox 6">
            <a:extLst>
              <a:ext uri="{FF2B5EF4-FFF2-40B4-BE49-F238E27FC236}">
                <a16:creationId xmlns:a16="http://schemas.microsoft.com/office/drawing/2014/main" id="{F66A0967-E85E-4741-A5FF-0D281F2555D7}"/>
              </a:ext>
            </a:extLst>
          </p:cNvPr>
          <p:cNvSpPr txBox="1"/>
          <p:nvPr/>
        </p:nvSpPr>
        <p:spPr>
          <a:xfrm>
            <a:off x="381001" y="6194314"/>
            <a:ext cx="5181600"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https://www.fda.gov/advisory-committees/advisory-committee-calendar/vaccines-and-related-biological-products-advisory-committee-december-17-2020-meeting-announcement</a:t>
            </a:r>
          </a:p>
        </p:txBody>
      </p:sp>
      <p:sp>
        <p:nvSpPr>
          <p:cNvPr id="8" name="TextBox 7">
            <a:extLst>
              <a:ext uri="{FF2B5EF4-FFF2-40B4-BE49-F238E27FC236}">
                <a16:creationId xmlns:a16="http://schemas.microsoft.com/office/drawing/2014/main" id="{D63070CE-CA64-417B-96AF-69DBF87A6E6D}"/>
              </a:ext>
            </a:extLst>
          </p:cNvPr>
          <p:cNvSpPr txBox="1"/>
          <p:nvPr/>
        </p:nvSpPr>
        <p:spPr>
          <a:xfrm>
            <a:off x="381001" y="1331615"/>
            <a:ext cx="518160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rPr>
              <a:t>Modern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Noto Sans" panose="020B0502040504020204" pitchFamily="34" charset="0"/>
                <a:ea typeface="Noto Sans" panose="020B0502040504020204" pitchFamily="34" charset="0"/>
                <a:cs typeface="Noto Sans" panose="020B0502040504020204" pitchFamily="34" charset="0"/>
              </a:rPr>
              <a:t>SPIKEVAX (COVID-19 Vaccine, mRNA)</a:t>
            </a:r>
            <a:endPar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10" name="TextBox 9">
            <a:extLst>
              <a:ext uri="{FF2B5EF4-FFF2-40B4-BE49-F238E27FC236}">
                <a16:creationId xmlns:a16="http://schemas.microsoft.com/office/drawing/2014/main" id="{FD02FD60-0EA7-43A0-B83A-2E54F00285EB}"/>
              </a:ext>
            </a:extLst>
          </p:cNvPr>
          <p:cNvSpPr txBox="1"/>
          <p:nvPr/>
        </p:nvSpPr>
        <p:spPr>
          <a:xfrm>
            <a:off x="6492785" y="1410744"/>
            <a:ext cx="518160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rPr>
              <a:t>Jansse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Noto Sans" panose="020B0502040504020204" pitchFamily="34" charset="0"/>
                <a:ea typeface="Noto Sans" panose="020B0502040504020204" pitchFamily="34" charset="0"/>
                <a:cs typeface="Noto Sans" panose="020B0502040504020204" pitchFamily="34" charset="0"/>
              </a:rPr>
              <a:t>COVID-19 Vaccine (Ad26 COV2.S)</a:t>
            </a:r>
            <a:endPar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15" name="Slide Number Placeholder 14">
            <a:extLst>
              <a:ext uri="{FF2B5EF4-FFF2-40B4-BE49-F238E27FC236}">
                <a16:creationId xmlns:a16="http://schemas.microsoft.com/office/drawing/2014/main" id="{B08ED236-74BE-4B29-A3A6-B0F2B8CA869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541BB9-6530-43D2-B7E0-33A89042A350}"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5DC1D374-C953-4528-8DB1-5C2AB9C8D517}"/>
              </a:ext>
            </a:extLst>
          </p:cNvPr>
          <p:cNvPicPr>
            <a:picLocks noChangeAspect="1"/>
          </p:cNvPicPr>
          <p:nvPr/>
        </p:nvPicPr>
        <p:blipFill>
          <a:blip r:embed="rId4"/>
          <a:stretch>
            <a:fillRect/>
          </a:stretch>
        </p:blipFill>
        <p:spPr>
          <a:xfrm>
            <a:off x="6038083" y="2082157"/>
            <a:ext cx="115834" cy="4176122"/>
          </a:xfrm>
          <a:prstGeom prst="rect">
            <a:avLst/>
          </a:prstGeom>
        </p:spPr>
      </p:pic>
    </p:spTree>
    <p:extLst>
      <p:ext uri="{BB962C8B-B14F-4D97-AF65-F5344CB8AC3E}">
        <p14:creationId xmlns:p14="http://schemas.microsoft.com/office/powerpoint/2010/main" val="16500491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6F44F6-073D-461E-88D1-152509FA988A}"/>
              </a:ext>
            </a:extLst>
          </p:cNvPr>
          <p:cNvSpPr>
            <a:spLocks noGrp="1"/>
          </p:cNvSpPr>
          <p:nvPr>
            <p:ph type="title"/>
          </p:nvPr>
        </p:nvSpPr>
        <p:spPr/>
        <p:txBody>
          <a:bodyPr>
            <a:normAutofit fontScale="90000"/>
          </a:bodyPr>
          <a:lstStyle/>
          <a:p>
            <a:pPr algn="ctr"/>
            <a:r>
              <a:rPr lang="en-US" dirty="0">
                <a:solidFill>
                  <a:schemeClr val="bg1"/>
                </a:solidFill>
              </a:rPr>
              <a:t>Recent Outbreaks and Pandemics</a:t>
            </a:r>
          </a:p>
        </p:txBody>
      </p:sp>
      <p:sp>
        <p:nvSpPr>
          <p:cNvPr id="4" name="Rectangle 3">
            <a:extLst>
              <a:ext uri="{FF2B5EF4-FFF2-40B4-BE49-F238E27FC236}">
                <a16:creationId xmlns:a16="http://schemas.microsoft.com/office/drawing/2014/main" id="{C175C2B6-04F2-4A67-B99E-DFF88931062B}"/>
              </a:ext>
            </a:extLst>
          </p:cNvPr>
          <p:cNvSpPr/>
          <p:nvPr/>
        </p:nvSpPr>
        <p:spPr>
          <a:xfrm>
            <a:off x="1561042" y="5270960"/>
            <a:ext cx="2863088" cy="1036309"/>
          </a:xfrm>
          <a:prstGeom prst="rect">
            <a:avLst/>
          </a:prstGeom>
        </p:spPr>
        <p:txBody>
          <a:bodyPr wrap="square">
            <a:spAutoFit/>
          </a:bodyPr>
          <a:lstStyle/>
          <a:p>
            <a:pPr algn="ctr" defTabSz="976798" fontAlgn="base"/>
            <a:r>
              <a:rPr lang="en-US" sz="1600" b="1" i="1" dirty="0">
                <a:solidFill>
                  <a:srgbClr val="000104"/>
                </a:solidFill>
                <a:latin typeface="Arial"/>
              </a:rPr>
              <a:t>1981-</a:t>
            </a:r>
          </a:p>
          <a:p>
            <a:pPr algn="ctr" defTabSz="976798" fontAlgn="base"/>
            <a:r>
              <a:rPr lang="en-US" sz="1600" i="1" dirty="0">
                <a:solidFill>
                  <a:srgbClr val="000104"/>
                </a:solidFill>
                <a:latin typeface="Arial"/>
              </a:rPr>
              <a:t>First CDC reporting for </a:t>
            </a:r>
            <a:r>
              <a:rPr lang="en-US" sz="1600" b="1" i="1" dirty="0">
                <a:solidFill>
                  <a:srgbClr val="000104"/>
                </a:solidFill>
                <a:latin typeface="Arial"/>
              </a:rPr>
              <a:t>HIV </a:t>
            </a:r>
          </a:p>
          <a:p>
            <a:pPr algn="ctr" defTabSz="976798" fontAlgn="base"/>
            <a:r>
              <a:rPr lang="en-US" sz="1467" i="1" dirty="0">
                <a:solidFill>
                  <a:srgbClr val="000104"/>
                </a:solidFill>
                <a:latin typeface="Arial"/>
              </a:rPr>
              <a:t>36.9 M people living with HIV/AIDS worldwide in 2017</a:t>
            </a:r>
          </a:p>
        </p:txBody>
      </p:sp>
      <p:sp>
        <p:nvSpPr>
          <p:cNvPr id="7" name="Rectangle 6">
            <a:extLst>
              <a:ext uri="{FF2B5EF4-FFF2-40B4-BE49-F238E27FC236}">
                <a16:creationId xmlns:a16="http://schemas.microsoft.com/office/drawing/2014/main" id="{F80ED31B-274B-42EC-9ADE-0352EF097780}"/>
              </a:ext>
            </a:extLst>
          </p:cNvPr>
          <p:cNvSpPr/>
          <p:nvPr/>
        </p:nvSpPr>
        <p:spPr>
          <a:xfrm>
            <a:off x="558282" y="1121913"/>
            <a:ext cx="2400775" cy="1077218"/>
          </a:xfrm>
          <a:prstGeom prst="rect">
            <a:avLst/>
          </a:prstGeom>
        </p:spPr>
        <p:txBody>
          <a:bodyPr wrap="square">
            <a:spAutoFit/>
          </a:bodyPr>
          <a:lstStyle/>
          <a:p>
            <a:pPr algn="ctr" defTabSz="976798" fontAlgn="base"/>
            <a:r>
              <a:rPr lang="en-US" sz="1600" b="1" dirty="0">
                <a:solidFill>
                  <a:srgbClr val="000104"/>
                </a:solidFill>
                <a:latin typeface="Arial"/>
              </a:rPr>
              <a:t>1918-19</a:t>
            </a:r>
            <a:br>
              <a:rPr lang="en-US" sz="1600" b="1" dirty="0">
                <a:solidFill>
                  <a:srgbClr val="000104"/>
                </a:solidFill>
                <a:latin typeface="Arial"/>
              </a:rPr>
            </a:br>
            <a:r>
              <a:rPr lang="en-US" sz="1600" b="1" i="1" dirty="0">
                <a:solidFill>
                  <a:srgbClr val="000104"/>
                </a:solidFill>
                <a:latin typeface="Arial"/>
              </a:rPr>
              <a:t> Influenza A (H1N1) Pandemic </a:t>
            </a:r>
          </a:p>
          <a:p>
            <a:pPr algn="ctr" defTabSz="976798" fontAlgn="base"/>
            <a:r>
              <a:rPr lang="en-US" sz="1600" i="1" dirty="0">
                <a:solidFill>
                  <a:srgbClr val="000104"/>
                </a:solidFill>
                <a:latin typeface="Arial"/>
              </a:rPr>
              <a:t>~50M death worldwide</a:t>
            </a:r>
          </a:p>
        </p:txBody>
      </p:sp>
      <p:sp>
        <p:nvSpPr>
          <p:cNvPr id="8" name="Rectangle 7">
            <a:extLst>
              <a:ext uri="{FF2B5EF4-FFF2-40B4-BE49-F238E27FC236}">
                <a16:creationId xmlns:a16="http://schemas.microsoft.com/office/drawing/2014/main" id="{BE4C58D9-A6A2-4B11-AC77-0CEEF2D2402A}"/>
              </a:ext>
            </a:extLst>
          </p:cNvPr>
          <p:cNvSpPr/>
          <p:nvPr/>
        </p:nvSpPr>
        <p:spPr>
          <a:xfrm>
            <a:off x="3244501" y="1310481"/>
            <a:ext cx="2617148" cy="830997"/>
          </a:xfrm>
          <a:prstGeom prst="rect">
            <a:avLst/>
          </a:prstGeom>
        </p:spPr>
        <p:txBody>
          <a:bodyPr wrap="square">
            <a:spAutoFit/>
          </a:bodyPr>
          <a:lstStyle/>
          <a:p>
            <a:pPr algn="ctr" defTabSz="976798" fontAlgn="base"/>
            <a:r>
              <a:rPr lang="en-US" sz="1600" b="1" dirty="0">
                <a:solidFill>
                  <a:srgbClr val="000104"/>
                </a:solidFill>
                <a:latin typeface="Arial"/>
              </a:rPr>
              <a:t>2002-04</a:t>
            </a:r>
          </a:p>
          <a:p>
            <a:pPr algn="ctr" defTabSz="976798" fontAlgn="base"/>
            <a:r>
              <a:rPr lang="en-US" sz="1600" b="1" i="1" dirty="0">
                <a:solidFill>
                  <a:srgbClr val="000104"/>
                </a:solidFill>
                <a:latin typeface="Arial"/>
              </a:rPr>
              <a:t> SARS </a:t>
            </a:r>
            <a:r>
              <a:rPr lang="en-US" sz="1600" i="1" dirty="0">
                <a:solidFill>
                  <a:srgbClr val="000104"/>
                </a:solidFill>
                <a:latin typeface="Arial"/>
              </a:rPr>
              <a:t>emerged in China</a:t>
            </a:r>
          </a:p>
          <a:p>
            <a:pPr algn="ctr" defTabSz="976798" fontAlgn="base"/>
            <a:r>
              <a:rPr lang="en-US" sz="1600" i="1" dirty="0">
                <a:solidFill>
                  <a:srgbClr val="000104"/>
                </a:solidFill>
                <a:latin typeface="Arial"/>
              </a:rPr>
              <a:t>~1,000 deaths</a:t>
            </a:r>
          </a:p>
        </p:txBody>
      </p:sp>
      <p:sp>
        <p:nvSpPr>
          <p:cNvPr id="12" name="Oval 11">
            <a:extLst>
              <a:ext uri="{FF2B5EF4-FFF2-40B4-BE49-F238E27FC236}">
                <a16:creationId xmlns:a16="http://schemas.microsoft.com/office/drawing/2014/main" id="{C2C69D1F-A7EC-49E9-A7A6-048EA8F72A9F}"/>
              </a:ext>
            </a:extLst>
          </p:cNvPr>
          <p:cNvSpPr/>
          <p:nvPr/>
        </p:nvSpPr>
        <p:spPr>
          <a:xfrm>
            <a:off x="94334" y="3509656"/>
            <a:ext cx="355600" cy="355600"/>
          </a:xfrm>
          <a:prstGeom prst="ellipse">
            <a:avLst/>
          </a:prstGeom>
          <a:solidFill>
            <a:schemeClr val="bg1"/>
          </a:solidFill>
          <a:ln w="53975">
            <a:solidFill>
              <a:srgbClr val="447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6798"/>
            <a:endParaRPr lang="en-US" sz="1867" dirty="0">
              <a:solidFill>
                <a:prstClr val="white"/>
              </a:solidFill>
              <a:latin typeface="Arial"/>
            </a:endParaRPr>
          </a:p>
        </p:txBody>
      </p:sp>
      <p:cxnSp>
        <p:nvCxnSpPr>
          <p:cNvPr id="9" name="Straight Connector 8">
            <a:extLst>
              <a:ext uri="{FF2B5EF4-FFF2-40B4-BE49-F238E27FC236}">
                <a16:creationId xmlns:a16="http://schemas.microsoft.com/office/drawing/2014/main" id="{3D52C377-0FE1-49A1-B15C-3A3547EF6CF3}"/>
              </a:ext>
            </a:extLst>
          </p:cNvPr>
          <p:cNvCxnSpPr>
            <a:cxnSpLocks/>
            <a:endCxn id="30" idx="4"/>
          </p:cNvCxnSpPr>
          <p:nvPr/>
        </p:nvCxnSpPr>
        <p:spPr>
          <a:xfrm flipV="1">
            <a:off x="449934" y="3411397"/>
            <a:ext cx="1167640" cy="294348"/>
          </a:xfrm>
          <a:prstGeom prst="bentConnector2">
            <a:avLst/>
          </a:prstGeom>
          <a:ln w="41275">
            <a:solidFill>
              <a:srgbClr val="447484"/>
            </a:solidFill>
          </a:ln>
        </p:spPr>
        <p:style>
          <a:lnRef idx="1">
            <a:schemeClr val="accent1"/>
          </a:lnRef>
          <a:fillRef idx="0">
            <a:schemeClr val="accent1"/>
          </a:fillRef>
          <a:effectRef idx="0">
            <a:schemeClr val="accent1"/>
          </a:effectRef>
          <a:fontRef idx="minor">
            <a:schemeClr val="tx1"/>
          </a:fontRef>
        </p:style>
      </p:cxnSp>
      <p:cxnSp>
        <p:nvCxnSpPr>
          <p:cNvPr id="16" name="Straight Connector 8">
            <a:extLst>
              <a:ext uri="{FF2B5EF4-FFF2-40B4-BE49-F238E27FC236}">
                <a16:creationId xmlns:a16="http://schemas.microsoft.com/office/drawing/2014/main" id="{6790CA69-2484-45AD-A0D2-1461F385254E}"/>
              </a:ext>
            </a:extLst>
          </p:cNvPr>
          <p:cNvCxnSpPr>
            <a:cxnSpLocks/>
            <a:endCxn id="32" idx="0"/>
          </p:cNvCxnSpPr>
          <p:nvPr/>
        </p:nvCxnSpPr>
        <p:spPr>
          <a:xfrm>
            <a:off x="1806559" y="3700481"/>
            <a:ext cx="1186027" cy="311848"/>
          </a:xfrm>
          <a:prstGeom prst="bentConnector2">
            <a:avLst/>
          </a:prstGeom>
          <a:ln w="41275">
            <a:solidFill>
              <a:srgbClr val="1B2531"/>
            </a:solidFill>
          </a:ln>
        </p:spPr>
        <p:style>
          <a:lnRef idx="1">
            <a:schemeClr val="accent1"/>
          </a:lnRef>
          <a:fillRef idx="0">
            <a:schemeClr val="accent1"/>
          </a:fillRef>
          <a:effectRef idx="0">
            <a:schemeClr val="accent1"/>
          </a:effectRef>
          <a:fontRef idx="minor">
            <a:schemeClr val="tx1"/>
          </a:fontRef>
        </p:style>
      </p:cxnSp>
      <p:cxnSp>
        <p:nvCxnSpPr>
          <p:cNvPr id="20" name="Straight Connector 8">
            <a:extLst>
              <a:ext uri="{FF2B5EF4-FFF2-40B4-BE49-F238E27FC236}">
                <a16:creationId xmlns:a16="http://schemas.microsoft.com/office/drawing/2014/main" id="{2E66972D-DEF7-44D0-BED6-DC2057D7980A}"/>
              </a:ext>
            </a:extLst>
          </p:cNvPr>
          <p:cNvCxnSpPr>
            <a:cxnSpLocks/>
            <a:endCxn id="21" idx="0"/>
          </p:cNvCxnSpPr>
          <p:nvPr/>
        </p:nvCxnSpPr>
        <p:spPr>
          <a:xfrm>
            <a:off x="4512417" y="3692553"/>
            <a:ext cx="1186027" cy="319776"/>
          </a:xfrm>
          <a:prstGeom prst="bentConnector2">
            <a:avLst/>
          </a:prstGeom>
          <a:ln w="41275">
            <a:solidFill>
              <a:srgbClr val="2FB9B4"/>
            </a:solidFill>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9209C236-4174-4C87-AAB9-7D9046BCEA81}"/>
              </a:ext>
            </a:extLst>
          </p:cNvPr>
          <p:cNvSpPr/>
          <p:nvPr/>
        </p:nvSpPr>
        <p:spPr>
          <a:xfrm>
            <a:off x="5088843" y="4012329"/>
            <a:ext cx="1219200" cy="1219200"/>
          </a:xfrm>
          <a:prstGeom prst="ellipse">
            <a:avLst/>
          </a:prstGeom>
          <a:blipFill>
            <a:blip r:embed="rId3"/>
            <a:stretch>
              <a:fillRect/>
            </a:stretch>
          </a:blipFill>
          <a:ln w="41275">
            <a:solidFill>
              <a:srgbClr val="2FB9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6798"/>
            <a:endParaRPr lang="en-US" sz="1867" dirty="0">
              <a:solidFill>
                <a:prstClr val="white"/>
              </a:solidFill>
              <a:latin typeface="Arial"/>
            </a:endParaRPr>
          </a:p>
        </p:txBody>
      </p:sp>
      <p:sp>
        <p:nvSpPr>
          <p:cNvPr id="22" name="Oval 21">
            <a:extLst>
              <a:ext uri="{FF2B5EF4-FFF2-40B4-BE49-F238E27FC236}">
                <a16:creationId xmlns:a16="http://schemas.microsoft.com/office/drawing/2014/main" id="{0F3633E2-3409-436C-9294-5432CC879B15}"/>
              </a:ext>
            </a:extLst>
          </p:cNvPr>
          <p:cNvSpPr/>
          <p:nvPr/>
        </p:nvSpPr>
        <p:spPr>
          <a:xfrm>
            <a:off x="3739611" y="2183729"/>
            <a:ext cx="1219200" cy="1219200"/>
          </a:xfrm>
          <a:prstGeom prst="ellipse">
            <a:avLst/>
          </a:prstGeom>
          <a:blipFill>
            <a:blip r:embed="rId4"/>
            <a:stretch>
              <a:fillRect/>
            </a:stretch>
          </a:blipFill>
          <a:ln w="41275">
            <a:solidFill>
              <a:srgbClr val="7677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6798"/>
            <a:endParaRPr lang="en-US" sz="1867" dirty="0">
              <a:solidFill>
                <a:prstClr val="white"/>
              </a:solidFill>
              <a:latin typeface="Arial"/>
            </a:endParaRPr>
          </a:p>
        </p:txBody>
      </p:sp>
      <p:cxnSp>
        <p:nvCxnSpPr>
          <p:cNvPr id="23" name="Straight Connector 8">
            <a:extLst>
              <a:ext uri="{FF2B5EF4-FFF2-40B4-BE49-F238E27FC236}">
                <a16:creationId xmlns:a16="http://schemas.microsoft.com/office/drawing/2014/main" id="{1CC1D8BE-0237-4269-B585-2A64E8A78732}"/>
              </a:ext>
            </a:extLst>
          </p:cNvPr>
          <p:cNvCxnSpPr>
            <a:endCxn id="22" idx="4"/>
          </p:cNvCxnSpPr>
          <p:nvPr/>
        </p:nvCxnSpPr>
        <p:spPr>
          <a:xfrm flipV="1">
            <a:off x="3155792" y="3402930"/>
            <a:ext cx="1193420" cy="294348"/>
          </a:xfrm>
          <a:prstGeom prst="bentConnector2">
            <a:avLst/>
          </a:prstGeom>
          <a:ln w="41275">
            <a:solidFill>
              <a:srgbClr val="767779"/>
            </a:solidFill>
          </a:ln>
        </p:spPr>
        <p:style>
          <a:lnRef idx="1">
            <a:schemeClr val="accent1"/>
          </a:lnRef>
          <a:fillRef idx="0">
            <a:schemeClr val="accent1"/>
          </a:fillRef>
          <a:effectRef idx="0">
            <a:schemeClr val="accent1"/>
          </a:effectRef>
          <a:fontRef idx="minor">
            <a:schemeClr val="tx1"/>
          </a:fontRef>
        </p:style>
      </p:cxnSp>
      <p:cxnSp>
        <p:nvCxnSpPr>
          <p:cNvPr id="24" name="Straight Connector 8">
            <a:extLst>
              <a:ext uri="{FF2B5EF4-FFF2-40B4-BE49-F238E27FC236}">
                <a16:creationId xmlns:a16="http://schemas.microsoft.com/office/drawing/2014/main" id="{3A16A0CC-6B0F-4C50-815C-AC07489109B5}"/>
              </a:ext>
            </a:extLst>
          </p:cNvPr>
          <p:cNvCxnSpPr>
            <a:cxnSpLocks/>
            <a:endCxn id="25" idx="0"/>
          </p:cNvCxnSpPr>
          <p:nvPr/>
        </p:nvCxnSpPr>
        <p:spPr>
          <a:xfrm>
            <a:off x="7218274" y="3692553"/>
            <a:ext cx="1186027" cy="319776"/>
          </a:xfrm>
          <a:prstGeom prst="bentConnector2">
            <a:avLst/>
          </a:prstGeom>
          <a:ln w="41275">
            <a:solidFill>
              <a:srgbClr val="50457E"/>
            </a:solidFill>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9EC036EB-8B1F-474A-9DDA-8E0341759AD4}"/>
              </a:ext>
            </a:extLst>
          </p:cNvPr>
          <p:cNvSpPr/>
          <p:nvPr/>
        </p:nvSpPr>
        <p:spPr>
          <a:xfrm>
            <a:off x="7794701" y="4012329"/>
            <a:ext cx="1219200" cy="1219200"/>
          </a:xfrm>
          <a:prstGeom prst="ellipse">
            <a:avLst/>
          </a:prstGeom>
          <a:blipFill>
            <a:blip r:embed="rId5"/>
            <a:stretch>
              <a:fillRect/>
            </a:stretch>
          </a:blipFill>
          <a:ln w="41275">
            <a:solidFill>
              <a:srgbClr val="50457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6798"/>
            <a:endParaRPr lang="en-US" sz="1867" dirty="0">
              <a:solidFill>
                <a:prstClr val="white"/>
              </a:solidFill>
              <a:latin typeface="Arial"/>
            </a:endParaRPr>
          </a:p>
        </p:txBody>
      </p:sp>
      <p:sp>
        <p:nvSpPr>
          <p:cNvPr id="26" name="Oval 25">
            <a:extLst>
              <a:ext uri="{FF2B5EF4-FFF2-40B4-BE49-F238E27FC236}">
                <a16:creationId xmlns:a16="http://schemas.microsoft.com/office/drawing/2014/main" id="{1D121D33-9746-4E24-9F31-5AC9E58CEE9E}"/>
              </a:ext>
            </a:extLst>
          </p:cNvPr>
          <p:cNvSpPr/>
          <p:nvPr/>
        </p:nvSpPr>
        <p:spPr>
          <a:xfrm>
            <a:off x="6445469" y="2183729"/>
            <a:ext cx="1219200" cy="1219200"/>
          </a:xfrm>
          <a:prstGeom prst="ellipse">
            <a:avLst/>
          </a:prstGeom>
          <a:blipFill>
            <a:blip r:embed="rId6"/>
            <a:stretch>
              <a:fillRect/>
            </a:stretch>
          </a:blipFill>
          <a:ln w="41275">
            <a:solidFill>
              <a:srgbClr val="7073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6798"/>
            <a:endParaRPr lang="en-US" sz="1867" dirty="0">
              <a:solidFill>
                <a:prstClr val="white"/>
              </a:solidFill>
              <a:latin typeface="Arial"/>
            </a:endParaRPr>
          </a:p>
        </p:txBody>
      </p:sp>
      <p:cxnSp>
        <p:nvCxnSpPr>
          <p:cNvPr id="27" name="Straight Connector 8">
            <a:extLst>
              <a:ext uri="{FF2B5EF4-FFF2-40B4-BE49-F238E27FC236}">
                <a16:creationId xmlns:a16="http://schemas.microsoft.com/office/drawing/2014/main" id="{602CBB3D-B2C7-4A88-B1D8-E5B85B34D227}"/>
              </a:ext>
            </a:extLst>
          </p:cNvPr>
          <p:cNvCxnSpPr>
            <a:endCxn id="26" idx="4"/>
          </p:cNvCxnSpPr>
          <p:nvPr/>
        </p:nvCxnSpPr>
        <p:spPr>
          <a:xfrm flipV="1">
            <a:off x="5861649" y="3402930"/>
            <a:ext cx="1193420" cy="294348"/>
          </a:xfrm>
          <a:prstGeom prst="bentConnector2">
            <a:avLst/>
          </a:prstGeom>
          <a:ln w="41275">
            <a:solidFill>
              <a:srgbClr val="707386"/>
            </a:solidFill>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9B4A40EA-46CC-45E4-AF2F-2E8A28CD31EA}"/>
              </a:ext>
            </a:extLst>
          </p:cNvPr>
          <p:cNvSpPr/>
          <p:nvPr/>
        </p:nvSpPr>
        <p:spPr>
          <a:xfrm>
            <a:off x="9151326" y="2183729"/>
            <a:ext cx="1219200" cy="1219200"/>
          </a:xfrm>
          <a:prstGeom prst="ellipse">
            <a:avLst/>
          </a:prstGeom>
          <a:blipFill>
            <a:blip r:embed="rId7"/>
            <a:stretch>
              <a:fillRect/>
            </a:stretch>
          </a:blipFill>
          <a:ln w="41275">
            <a:solidFill>
              <a:srgbClr val="465D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6798"/>
            <a:endParaRPr lang="en-US" sz="1867" dirty="0">
              <a:solidFill>
                <a:prstClr val="white"/>
              </a:solidFill>
              <a:latin typeface="Arial"/>
            </a:endParaRPr>
          </a:p>
        </p:txBody>
      </p:sp>
      <p:cxnSp>
        <p:nvCxnSpPr>
          <p:cNvPr id="29" name="Straight Connector 8">
            <a:extLst>
              <a:ext uri="{FF2B5EF4-FFF2-40B4-BE49-F238E27FC236}">
                <a16:creationId xmlns:a16="http://schemas.microsoft.com/office/drawing/2014/main" id="{54F4E7DE-D66A-40BF-AD23-04BD86861616}"/>
              </a:ext>
            </a:extLst>
          </p:cNvPr>
          <p:cNvCxnSpPr>
            <a:endCxn id="28" idx="4"/>
          </p:cNvCxnSpPr>
          <p:nvPr/>
        </p:nvCxnSpPr>
        <p:spPr>
          <a:xfrm flipV="1">
            <a:off x="8567507" y="3402930"/>
            <a:ext cx="1193420" cy="294348"/>
          </a:xfrm>
          <a:prstGeom prst="bentConnector2">
            <a:avLst/>
          </a:prstGeom>
          <a:ln w="41275">
            <a:solidFill>
              <a:srgbClr val="465D7F"/>
            </a:solidFill>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AC1BEA0D-8083-4FA9-A58C-3A3050A1E0E0}"/>
              </a:ext>
            </a:extLst>
          </p:cNvPr>
          <p:cNvSpPr/>
          <p:nvPr/>
        </p:nvSpPr>
        <p:spPr>
          <a:xfrm>
            <a:off x="11582400" y="3506078"/>
            <a:ext cx="355600" cy="355600"/>
          </a:xfrm>
          <a:prstGeom prst="ellipse">
            <a:avLst/>
          </a:prstGeom>
          <a:solidFill>
            <a:schemeClr val="bg1"/>
          </a:solidFill>
          <a:ln w="53975">
            <a:solidFill>
              <a:srgbClr val="5C53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6798"/>
            <a:endParaRPr lang="en-US" sz="1867" dirty="0">
              <a:solidFill>
                <a:prstClr val="white"/>
              </a:solidFill>
              <a:latin typeface="Arial"/>
            </a:endParaRPr>
          </a:p>
        </p:txBody>
      </p:sp>
      <p:cxnSp>
        <p:nvCxnSpPr>
          <p:cNvPr id="17" name="Straight Connector 16">
            <a:extLst>
              <a:ext uri="{FF2B5EF4-FFF2-40B4-BE49-F238E27FC236}">
                <a16:creationId xmlns:a16="http://schemas.microsoft.com/office/drawing/2014/main" id="{7F5BCDA5-7B6A-4AFC-9354-6B10C0170947}"/>
              </a:ext>
            </a:extLst>
          </p:cNvPr>
          <p:cNvCxnSpPr>
            <a:cxnSpLocks/>
            <a:endCxn id="31" idx="2"/>
          </p:cNvCxnSpPr>
          <p:nvPr/>
        </p:nvCxnSpPr>
        <p:spPr>
          <a:xfrm>
            <a:off x="11259467" y="3683878"/>
            <a:ext cx="322933" cy="0"/>
          </a:xfrm>
          <a:prstGeom prst="line">
            <a:avLst/>
          </a:prstGeom>
          <a:ln w="41275">
            <a:solidFill>
              <a:srgbClr val="5C5358"/>
            </a:solidFill>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1A0B44D6-13D9-4CA0-9BF9-3AE030380652}"/>
              </a:ext>
            </a:extLst>
          </p:cNvPr>
          <p:cNvSpPr/>
          <p:nvPr/>
        </p:nvSpPr>
        <p:spPr>
          <a:xfrm>
            <a:off x="4512418" y="5249752"/>
            <a:ext cx="2465317" cy="1036309"/>
          </a:xfrm>
          <a:prstGeom prst="rect">
            <a:avLst/>
          </a:prstGeom>
        </p:spPr>
        <p:txBody>
          <a:bodyPr wrap="square">
            <a:spAutoFit/>
          </a:bodyPr>
          <a:lstStyle/>
          <a:p>
            <a:pPr algn="ctr" defTabSz="976798" fontAlgn="base"/>
            <a:r>
              <a:rPr lang="en-US" sz="1600" b="1" dirty="0">
                <a:solidFill>
                  <a:srgbClr val="000104"/>
                </a:solidFill>
                <a:latin typeface="Arial"/>
              </a:rPr>
              <a:t>2009-10</a:t>
            </a:r>
            <a:br>
              <a:rPr lang="en-US" sz="1600" b="1" dirty="0">
                <a:solidFill>
                  <a:srgbClr val="000104"/>
                </a:solidFill>
                <a:latin typeface="Arial"/>
              </a:rPr>
            </a:br>
            <a:r>
              <a:rPr lang="en-US" sz="1600" b="1" dirty="0">
                <a:solidFill>
                  <a:srgbClr val="000104"/>
                </a:solidFill>
                <a:latin typeface="Arial"/>
              </a:rPr>
              <a:t>Influenza A (H1N1)</a:t>
            </a:r>
          </a:p>
          <a:p>
            <a:pPr algn="ctr" defTabSz="976798" fontAlgn="base"/>
            <a:r>
              <a:rPr lang="en-US" sz="1467" i="1" dirty="0">
                <a:solidFill>
                  <a:srgbClr val="000104"/>
                </a:solidFill>
                <a:latin typeface="Arial"/>
              </a:rPr>
              <a:t>Estimated 151,700 - 575,400 deaths worldwide</a:t>
            </a:r>
          </a:p>
        </p:txBody>
      </p:sp>
      <p:sp>
        <p:nvSpPr>
          <p:cNvPr id="47" name="Rectangle 46">
            <a:extLst>
              <a:ext uri="{FF2B5EF4-FFF2-40B4-BE49-F238E27FC236}">
                <a16:creationId xmlns:a16="http://schemas.microsoft.com/office/drawing/2014/main" id="{AFAE0B42-3288-415B-AEDB-55DA861170EC}"/>
              </a:ext>
            </a:extLst>
          </p:cNvPr>
          <p:cNvSpPr/>
          <p:nvPr/>
        </p:nvSpPr>
        <p:spPr>
          <a:xfrm>
            <a:off x="5950359" y="1310481"/>
            <a:ext cx="2209420" cy="830997"/>
          </a:xfrm>
          <a:prstGeom prst="rect">
            <a:avLst/>
          </a:prstGeom>
        </p:spPr>
        <p:txBody>
          <a:bodyPr wrap="square">
            <a:spAutoFit/>
          </a:bodyPr>
          <a:lstStyle/>
          <a:p>
            <a:pPr algn="ctr" defTabSz="976798" fontAlgn="base"/>
            <a:r>
              <a:rPr lang="en-US" sz="1600" b="1" dirty="0">
                <a:solidFill>
                  <a:srgbClr val="000104"/>
                </a:solidFill>
                <a:latin typeface="Arial"/>
              </a:rPr>
              <a:t>2012-</a:t>
            </a:r>
          </a:p>
          <a:p>
            <a:pPr algn="ctr" defTabSz="976798" fontAlgn="base"/>
            <a:r>
              <a:rPr lang="en-US" sz="1600" b="1" i="1" dirty="0">
                <a:solidFill>
                  <a:srgbClr val="000104"/>
                </a:solidFill>
                <a:latin typeface="Arial"/>
              </a:rPr>
              <a:t>MERS</a:t>
            </a:r>
            <a:r>
              <a:rPr lang="en-US" sz="1600" i="1" dirty="0">
                <a:solidFill>
                  <a:srgbClr val="000104"/>
                </a:solidFill>
                <a:latin typeface="Arial"/>
              </a:rPr>
              <a:t> first identified in Saudi Arabia</a:t>
            </a:r>
          </a:p>
        </p:txBody>
      </p:sp>
      <p:sp>
        <p:nvSpPr>
          <p:cNvPr id="49" name="Rectangle 48">
            <a:extLst>
              <a:ext uri="{FF2B5EF4-FFF2-40B4-BE49-F238E27FC236}">
                <a16:creationId xmlns:a16="http://schemas.microsoft.com/office/drawing/2014/main" id="{D170B3F3-084C-48A6-85E4-5B2F170C76CF}"/>
              </a:ext>
            </a:extLst>
          </p:cNvPr>
          <p:cNvSpPr/>
          <p:nvPr/>
        </p:nvSpPr>
        <p:spPr>
          <a:xfrm>
            <a:off x="7293947" y="5270960"/>
            <a:ext cx="2230527" cy="1077218"/>
          </a:xfrm>
          <a:prstGeom prst="rect">
            <a:avLst/>
          </a:prstGeom>
        </p:spPr>
        <p:txBody>
          <a:bodyPr wrap="square">
            <a:spAutoFit/>
          </a:bodyPr>
          <a:lstStyle/>
          <a:p>
            <a:pPr algn="ctr" defTabSz="976798" fontAlgn="base"/>
            <a:r>
              <a:rPr lang="en-US" sz="1600" b="1" dirty="0">
                <a:solidFill>
                  <a:srgbClr val="000104"/>
                </a:solidFill>
                <a:latin typeface="Arial"/>
              </a:rPr>
              <a:t>2014-16</a:t>
            </a:r>
            <a:br>
              <a:rPr lang="en-US" sz="1600" b="1" dirty="0">
                <a:solidFill>
                  <a:srgbClr val="000104"/>
                </a:solidFill>
                <a:latin typeface="Arial"/>
              </a:rPr>
            </a:br>
            <a:r>
              <a:rPr lang="en-US" sz="1600" b="1" i="1" dirty="0">
                <a:solidFill>
                  <a:srgbClr val="000104"/>
                </a:solidFill>
                <a:latin typeface="Arial"/>
              </a:rPr>
              <a:t>Ebola </a:t>
            </a:r>
            <a:r>
              <a:rPr lang="en-US" sz="1600" i="1" dirty="0">
                <a:solidFill>
                  <a:srgbClr val="000104"/>
                </a:solidFill>
                <a:latin typeface="Arial"/>
              </a:rPr>
              <a:t>epidemic in West Africa</a:t>
            </a:r>
          </a:p>
          <a:p>
            <a:pPr algn="ctr" defTabSz="976798" fontAlgn="base"/>
            <a:r>
              <a:rPr lang="en-US" sz="1600" i="1" dirty="0">
                <a:solidFill>
                  <a:srgbClr val="000104"/>
                </a:solidFill>
                <a:latin typeface="Arial"/>
              </a:rPr>
              <a:t>Over 11K deaths </a:t>
            </a:r>
            <a:endParaRPr lang="en-US" sz="1467" i="1" dirty="0">
              <a:solidFill>
                <a:srgbClr val="000104"/>
              </a:solidFill>
              <a:latin typeface="Arial"/>
            </a:endParaRPr>
          </a:p>
        </p:txBody>
      </p:sp>
      <p:sp>
        <p:nvSpPr>
          <p:cNvPr id="50" name="Rectangle 49">
            <a:extLst>
              <a:ext uri="{FF2B5EF4-FFF2-40B4-BE49-F238E27FC236}">
                <a16:creationId xmlns:a16="http://schemas.microsoft.com/office/drawing/2014/main" id="{79147D22-915E-43F8-95F8-CD2C205D84FE}"/>
              </a:ext>
            </a:extLst>
          </p:cNvPr>
          <p:cNvSpPr/>
          <p:nvPr/>
        </p:nvSpPr>
        <p:spPr>
          <a:xfrm>
            <a:off x="8307600" y="1200431"/>
            <a:ext cx="3345061" cy="830997"/>
          </a:xfrm>
          <a:prstGeom prst="rect">
            <a:avLst/>
          </a:prstGeom>
        </p:spPr>
        <p:txBody>
          <a:bodyPr wrap="square">
            <a:spAutoFit/>
          </a:bodyPr>
          <a:lstStyle/>
          <a:p>
            <a:pPr algn="ctr" defTabSz="976798" fontAlgn="base"/>
            <a:r>
              <a:rPr lang="en-US" sz="1600" b="1" dirty="0">
                <a:solidFill>
                  <a:srgbClr val="000104"/>
                </a:solidFill>
                <a:latin typeface="Arial"/>
              </a:rPr>
              <a:t>2015- </a:t>
            </a:r>
          </a:p>
          <a:p>
            <a:pPr algn="ctr" defTabSz="976798" fontAlgn="base"/>
            <a:r>
              <a:rPr lang="en-US" sz="1600" b="1" i="1" dirty="0">
                <a:solidFill>
                  <a:srgbClr val="000104"/>
                </a:solidFill>
                <a:latin typeface="Arial"/>
              </a:rPr>
              <a:t>ZIKA</a:t>
            </a:r>
            <a:r>
              <a:rPr lang="en-US" sz="1600" i="1" dirty="0">
                <a:solidFill>
                  <a:srgbClr val="000104"/>
                </a:solidFill>
                <a:latin typeface="Arial"/>
              </a:rPr>
              <a:t> epidemic leading to Congenital Zika Syndrome, GBS  </a:t>
            </a:r>
          </a:p>
        </p:txBody>
      </p:sp>
      <p:sp>
        <p:nvSpPr>
          <p:cNvPr id="30" name="Oval 29">
            <a:extLst>
              <a:ext uri="{FF2B5EF4-FFF2-40B4-BE49-F238E27FC236}">
                <a16:creationId xmlns:a16="http://schemas.microsoft.com/office/drawing/2014/main" id="{D9A47D92-CABA-4BBF-8375-97FD5A1AB47C}"/>
              </a:ext>
            </a:extLst>
          </p:cNvPr>
          <p:cNvSpPr/>
          <p:nvPr/>
        </p:nvSpPr>
        <p:spPr>
          <a:xfrm>
            <a:off x="1007974" y="2192196"/>
            <a:ext cx="1219200" cy="1219200"/>
          </a:xfrm>
          <a:prstGeom prst="ellipse">
            <a:avLst/>
          </a:prstGeom>
          <a:blipFill>
            <a:blip r:embed="rId8"/>
            <a:stretch>
              <a:fillRect/>
            </a:stretch>
          </a:blipFill>
          <a:ln w="41275">
            <a:solidFill>
              <a:srgbClr val="447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6798"/>
            <a:endParaRPr lang="en-US" sz="1867" dirty="0">
              <a:solidFill>
                <a:prstClr val="white"/>
              </a:solidFill>
              <a:latin typeface="Arial"/>
            </a:endParaRPr>
          </a:p>
        </p:txBody>
      </p:sp>
      <p:sp>
        <p:nvSpPr>
          <p:cNvPr id="32" name="Oval 31">
            <a:extLst>
              <a:ext uri="{FF2B5EF4-FFF2-40B4-BE49-F238E27FC236}">
                <a16:creationId xmlns:a16="http://schemas.microsoft.com/office/drawing/2014/main" id="{6DC92048-CDF8-46E3-A7C5-74663B1DA0D8}"/>
              </a:ext>
            </a:extLst>
          </p:cNvPr>
          <p:cNvSpPr/>
          <p:nvPr/>
        </p:nvSpPr>
        <p:spPr>
          <a:xfrm>
            <a:off x="2382986" y="4012329"/>
            <a:ext cx="1219200" cy="1219200"/>
          </a:xfrm>
          <a:prstGeom prst="ellipse">
            <a:avLst/>
          </a:prstGeom>
          <a:blipFill>
            <a:blip r:embed="rId9"/>
            <a:stretch>
              <a:fillRect/>
            </a:stretch>
          </a:blipFill>
          <a:ln w="41275">
            <a:solidFill>
              <a:srgbClr val="1B25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6798"/>
            <a:endParaRPr lang="en-US" sz="1867" dirty="0">
              <a:solidFill>
                <a:prstClr val="white"/>
              </a:solidFill>
              <a:latin typeface="Arial"/>
            </a:endParaRPr>
          </a:p>
        </p:txBody>
      </p:sp>
      <p:cxnSp>
        <p:nvCxnSpPr>
          <p:cNvPr id="33" name="Straight Connector 8">
            <a:extLst>
              <a:ext uri="{FF2B5EF4-FFF2-40B4-BE49-F238E27FC236}">
                <a16:creationId xmlns:a16="http://schemas.microsoft.com/office/drawing/2014/main" id="{E5D55F68-FD3B-4A15-998A-F144416D4F5C}"/>
              </a:ext>
            </a:extLst>
          </p:cNvPr>
          <p:cNvCxnSpPr>
            <a:cxnSpLocks/>
            <a:endCxn id="34" idx="0"/>
          </p:cNvCxnSpPr>
          <p:nvPr/>
        </p:nvCxnSpPr>
        <p:spPr>
          <a:xfrm>
            <a:off x="9924132" y="3692553"/>
            <a:ext cx="1186027" cy="319776"/>
          </a:xfrm>
          <a:prstGeom prst="bentConnector2">
            <a:avLst/>
          </a:prstGeom>
          <a:ln w="41275">
            <a:solidFill>
              <a:srgbClr val="979797"/>
            </a:solidFill>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17B3E6AD-A0A1-482B-9385-1B6C884677AD}"/>
              </a:ext>
            </a:extLst>
          </p:cNvPr>
          <p:cNvSpPr/>
          <p:nvPr/>
        </p:nvSpPr>
        <p:spPr>
          <a:xfrm>
            <a:off x="10500559" y="4012329"/>
            <a:ext cx="1219200" cy="1219200"/>
          </a:xfrm>
          <a:prstGeom prst="ellipse">
            <a:avLst/>
          </a:prstGeom>
          <a:blipFill>
            <a:blip r:embed="rId10"/>
            <a:stretch>
              <a:fillRect/>
            </a:stretch>
          </a:blipFill>
          <a:ln w="41275">
            <a:solidFill>
              <a:srgbClr val="9797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6798"/>
            <a:endParaRPr lang="en-US" sz="1867" dirty="0">
              <a:solidFill>
                <a:prstClr val="white"/>
              </a:solidFill>
              <a:latin typeface="Arial"/>
            </a:endParaRPr>
          </a:p>
        </p:txBody>
      </p:sp>
      <p:sp>
        <p:nvSpPr>
          <p:cNvPr id="35" name="Rectangle 34">
            <a:extLst>
              <a:ext uri="{FF2B5EF4-FFF2-40B4-BE49-F238E27FC236}">
                <a16:creationId xmlns:a16="http://schemas.microsoft.com/office/drawing/2014/main" id="{19C17407-9F18-4CBC-802E-C278CE859033}"/>
              </a:ext>
            </a:extLst>
          </p:cNvPr>
          <p:cNvSpPr/>
          <p:nvPr/>
        </p:nvSpPr>
        <p:spPr>
          <a:xfrm>
            <a:off x="9840686" y="5249749"/>
            <a:ext cx="2253344" cy="1077218"/>
          </a:xfrm>
          <a:prstGeom prst="rect">
            <a:avLst/>
          </a:prstGeom>
        </p:spPr>
        <p:txBody>
          <a:bodyPr wrap="square">
            <a:spAutoFit/>
          </a:bodyPr>
          <a:lstStyle/>
          <a:p>
            <a:pPr algn="ctr" defTabSz="976798" fontAlgn="base"/>
            <a:r>
              <a:rPr lang="en-US" sz="1600" b="1" dirty="0">
                <a:solidFill>
                  <a:srgbClr val="000104"/>
                </a:solidFill>
                <a:latin typeface="Arial"/>
              </a:rPr>
              <a:t>2019 - Present</a:t>
            </a:r>
            <a:br>
              <a:rPr lang="en-US" sz="1600" b="1" dirty="0">
                <a:solidFill>
                  <a:srgbClr val="000104"/>
                </a:solidFill>
                <a:latin typeface="Arial"/>
              </a:rPr>
            </a:br>
            <a:r>
              <a:rPr lang="en-US" sz="1600" b="1" i="1" dirty="0">
                <a:solidFill>
                  <a:srgbClr val="000104"/>
                </a:solidFill>
                <a:latin typeface="Arial"/>
              </a:rPr>
              <a:t>SARS-CoV-2 global pandemic </a:t>
            </a:r>
            <a:endParaRPr lang="en-US" sz="1600" i="1" dirty="0">
              <a:solidFill>
                <a:srgbClr val="000104"/>
              </a:solidFill>
              <a:latin typeface="Arial"/>
            </a:endParaRPr>
          </a:p>
          <a:p>
            <a:pPr algn="ctr" defTabSz="976798" fontAlgn="base"/>
            <a:r>
              <a:rPr lang="en-US" sz="1600" i="1" dirty="0">
                <a:solidFill>
                  <a:srgbClr val="000104"/>
                </a:solidFill>
                <a:latin typeface="Arial"/>
              </a:rPr>
              <a:t>Over 6M deaths </a:t>
            </a:r>
            <a:endParaRPr lang="en-US" sz="1467" i="1" dirty="0">
              <a:solidFill>
                <a:srgbClr val="000104"/>
              </a:solidFill>
              <a:latin typeface="Arial"/>
            </a:endParaRPr>
          </a:p>
        </p:txBody>
      </p:sp>
      <p:sp>
        <p:nvSpPr>
          <p:cNvPr id="6" name="Slide Number Placeholder 5">
            <a:extLst>
              <a:ext uri="{FF2B5EF4-FFF2-40B4-BE49-F238E27FC236}">
                <a16:creationId xmlns:a16="http://schemas.microsoft.com/office/drawing/2014/main" id="{59F4F3A8-12A8-46C7-8E3C-134BABDD1C70}"/>
              </a:ext>
            </a:extLst>
          </p:cNvPr>
          <p:cNvSpPr>
            <a:spLocks noGrp="1"/>
          </p:cNvSpPr>
          <p:nvPr>
            <p:ph type="sldNum" sz="quarter" idx="12"/>
          </p:nvPr>
        </p:nvSpPr>
        <p:spPr/>
        <p:txBody>
          <a:bodyPr/>
          <a:lstStyle/>
          <a:p>
            <a:fld id="{D1541BB9-6530-43D2-B7E0-33A89042A350}" type="slidenum">
              <a:rPr lang="en-US" smtClean="0"/>
              <a:t>3</a:t>
            </a:fld>
            <a:endParaRPr lang="en-US"/>
          </a:p>
        </p:txBody>
      </p:sp>
    </p:spTree>
    <p:extLst>
      <p:ext uri="{BB962C8B-B14F-4D97-AF65-F5344CB8AC3E}">
        <p14:creationId xmlns:p14="http://schemas.microsoft.com/office/powerpoint/2010/main" val="37934323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9412129-ABF4-4839-A59C-070C41D2B897}"/>
              </a:ext>
            </a:extLst>
          </p:cNvPr>
          <p:cNvSpPr/>
          <p:nvPr/>
        </p:nvSpPr>
        <p:spPr>
          <a:xfrm>
            <a:off x="55418" y="2079798"/>
            <a:ext cx="12046527" cy="4097165"/>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Content Placeholder 11">
            <a:extLst>
              <a:ext uri="{FF2B5EF4-FFF2-40B4-BE49-F238E27FC236}">
                <a16:creationId xmlns:a16="http://schemas.microsoft.com/office/drawing/2014/main" id="{FF48BBFA-44B7-4D93-A6DE-529EB78C25C4}"/>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rcRect/>
          <a:stretch/>
        </p:blipFill>
        <p:spPr>
          <a:xfrm>
            <a:off x="420084" y="2519848"/>
            <a:ext cx="5158850" cy="2888391"/>
          </a:xfrm>
        </p:spPr>
      </p:pic>
      <p:pic>
        <p:nvPicPr>
          <p:cNvPr id="14" name="Content Placeholder 13">
            <a:extLst>
              <a:ext uri="{FF2B5EF4-FFF2-40B4-BE49-F238E27FC236}">
                <a16:creationId xmlns:a16="http://schemas.microsoft.com/office/drawing/2014/main" id="{0C000942-9BB5-408B-99A7-E21766FEC9E6}"/>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rcRect/>
          <a:stretch/>
        </p:blipFill>
        <p:spPr>
          <a:xfrm>
            <a:off x="6594406" y="2537882"/>
            <a:ext cx="5122466" cy="2885394"/>
          </a:xfrm>
        </p:spPr>
      </p:pic>
      <p:sp>
        <p:nvSpPr>
          <p:cNvPr id="2" name="Title 1">
            <a:extLst>
              <a:ext uri="{FF2B5EF4-FFF2-40B4-BE49-F238E27FC236}">
                <a16:creationId xmlns:a16="http://schemas.microsoft.com/office/drawing/2014/main" id="{D0F568E5-1E0C-4D39-86EB-15840BD07DC5}"/>
              </a:ext>
            </a:extLst>
          </p:cNvPr>
          <p:cNvSpPr>
            <a:spLocks noGrp="1"/>
          </p:cNvSpPr>
          <p:nvPr>
            <p:ph type="title"/>
          </p:nvPr>
        </p:nvSpPr>
        <p:spPr>
          <a:xfrm>
            <a:off x="1540297" y="247105"/>
            <a:ext cx="9552992" cy="623919"/>
          </a:xfrm>
        </p:spPr>
        <p:txBody>
          <a:bodyPr>
            <a:normAutofit fontScale="90000"/>
          </a:bodyPr>
          <a:lstStyle/>
          <a:p>
            <a:pPr algn="ctr"/>
            <a:r>
              <a:rPr lang="en-US" dirty="0">
                <a:solidFill>
                  <a:schemeClr val="bg1"/>
                </a:solidFill>
              </a:rPr>
              <a:t>Primary Endpoint Analysis</a:t>
            </a:r>
          </a:p>
        </p:txBody>
      </p:sp>
      <p:sp>
        <p:nvSpPr>
          <p:cNvPr id="5" name="TextBox 4">
            <a:extLst>
              <a:ext uri="{FF2B5EF4-FFF2-40B4-BE49-F238E27FC236}">
                <a16:creationId xmlns:a16="http://schemas.microsoft.com/office/drawing/2014/main" id="{DAADCC72-3A8C-40AD-88EF-40D05A8034B2}"/>
              </a:ext>
            </a:extLst>
          </p:cNvPr>
          <p:cNvSpPr txBox="1"/>
          <p:nvPr/>
        </p:nvSpPr>
        <p:spPr>
          <a:xfrm>
            <a:off x="6492785" y="6140916"/>
            <a:ext cx="5181600"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https://www.fda.gov/advisory-committees/advisory-committee-calendar/vaccines-and-related-biological-products-advisory-committee-february-26-2021-meeting-announcement</a:t>
            </a:r>
          </a:p>
        </p:txBody>
      </p:sp>
      <p:sp>
        <p:nvSpPr>
          <p:cNvPr id="7" name="TextBox 6">
            <a:extLst>
              <a:ext uri="{FF2B5EF4-FFF2-40B4-BE49-F238E27FC236}">
                <a16:creationId xmlns:a16="http://schemas.microsoft.com/office/drawing/2014/main" id="{F66A0967-E85E-4741-A5FF-0D281F2555D7}"/>
              </a:ext>
            </a:extLst>
          </p:cNvPr>
          <p:cNvSpPr txBox="1"/>
          <p:nvPr/>
        </p:nvSpPr>
        <p:spPr>
          <a:xfrm>
            <a:off x="381001" y="6194314"/>
            <a:ext cx="5181600"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https://www.fda.gov/advisory-committees/advisory-committee-calendar/vaccines-and-related-biological-products-advisory-committee-december-17-2020-meeting-announcement</a:t>
            </a:r>
          </a:p>
        </p:txBody>
      </p:sp>
      <p:sp>
        <p:nvSpPr>
          <p:cNvPr id="8" name="TextBox 7">
            <a:extLst>
              <a:ext uri="{FF2B5EF4-FFF2-40B4-BE49-F238E27FC236}">
                <a16:creationId xmlns:a16="http://schemas.microsoft.com/office/drawing/2014/main" id="{D63070CE-CA64-417B-96AF-69DBF87A6E6D}"/>
              </a:ext>
            </a:extLst>
          </p:cNvPr>
          <p:cNvSpPr txBox="1"/>
          <p:nvPr/>
        </p:nvSpPr>
        <p:spPr>
          <a:xfrm>
            <a:off x="381001" y="1331615"/>
            <a:ext cx="518160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rPr>
              <a:t>Modern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Noto Sans" panose="020B0502040504020204" pitchFamily="34" charset="0"/>
                <a:ea typeface="Noto Sans" panose="020B0502040504020204" pitchFamily="34" charset="0"/>
                <a:cs typeface="Noto Sans" panose="020B0502040504020204" pitchFamily="34" charset="0"/>
              </a:rPr>
              <a:t>SPIKEVAX (COVID-19 Vaccine, mRNA)</a:t>
            </a:r>
            <a:endPar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10" name="TextBox 9">
            <a:extLst>
              <a:ext uri="{FF2B5EF4-FFF2-40B4-BE49-F238E27FC236}">
                <a16:creationId xmlns:a16="http://schemas.microsoft.com/office/drawing/2014/main" id="{FD02FD60-0EA7-43A0-B83A-2E54F00285EB}"/>
              </a:ext>
            </a:extLst>
          </p:cNvPr>
          <p:cNvSpPr txBox="1"/>
          <p:nvPr/>
        </p:nvSpPr>
        <p:spPr>
          <a:xfrm>
            <a:off x="6492785" y="1410744"/>
            <a:ext cx="518160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rPr>
              <a:t>Jansse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Noto Sans" panose="020B0502040504020204" pitchFamily="34" charset="0"/>
                <a:ea typeface="Noto Sans" panose="020B0502040504020204" pitchFamily="34" charset="0"/>
                <a:cs typeface="Noto Sans" panose="020B0502040504020204" pitchFamily="34" charset="0"/>
              </a:rPr>
              <a:t>COVID-19 Vaccine (Ad26 COV2.S)</a:t>
            </a:r>
            <a:endPar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15" name="Slide Number Placeholder 14">
            <a:extLst>
              <a:ext uri="{FF2B5EF4-FFF2-40B4-BE49-F238E27FC236}">
                <a16:creationId xmlns:a16="http://schemas.microsoft.com/office/drawing/2014/main" id="{B08ED236-74BE-4B29-A3A6-B0F2B8CA869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541BB9-6530-43D2-B7E0-33A89042A350}"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5DC1D374-C953-4528-8DB1-5C2AB9C8D517}"/>
              </a:ext>
            </a:extLst>
          </p:cNvPr>
          <p:cNvPicPr>
            <a:picLocks noChangeAspect="1"/>
          </p:cNvPicPr>
          <p:nvPr/>
        </p:nvPicPr>
        <p:blipFill>
          <a:blip r:embed="rId4"/>
          <a:stretch>
            <a:fillRect/>
          </a:stretch>
        </p:blipFill>
        <p:spPr>
          <a:xfrm>
            <a:off x="6038083" y="2082157"/>
            <a:ext cx="115834" cy="4176122"/>
          </a:xfrm>
          <a:prstGeom prst="rect">
            <a:avLst/>
          </a:prstGeom>
        </p:spPr>
      </p:pic>
    </p:spTree>
    <p:extLst>
      <p:ext uri="{BB962C8B-B14F-4D97-AF65-F5344CB8AC3E}">
        <p14:creationId xmlns:p14="http://schemas.microsoft.com/office/powerpoint/2010/main" val="17469866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9412129-ABF4-4839-A59C-070C41D2B897}"/>
              </a:ext>
            </a:extLst>
          </p:cNvPr>
          <p:cNvSpPr/>
          <p:nvPr/>
        </p:nvSpPr>
        <p:spPr>
          <a:xfrm>
            <a:off x="55418" y="2079798"/>
            <a:ext cx="12046527" cy="4097165"/>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Content Placeholder 11">
            <a:extLst>
              <a:ext uri="{FF2B5EF4-FFF2-40B4-BE49-F238E27FC236}">
                <a16:creationId xmlns:a16="http://schemas.microsoft.com/office/drawing/2014/main" id="{FF48BBFA-44B7-4D93-A6DE-529EB78C25C4}"/>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rcRect/>
          <a:stretch/>
        </p:blipFill>
        <p:spPr>
          <a:xfrm>
            <a:off x="418323" y="2519848"/>
            <a:ext cx="5162372" cy="2888391"/>
          </a:xfrm>
        </p:spPr>
      </p:pic>
      <p:pic>
        <p:nvPicPr>
          <p:cNvPr id="14" name="Content Placeholder 13">
            <a:extLst>
              <a:ext uri="{FF2B5EF4-FFF2-40B4-BE49-F238E27FC236}">
                <a16:creationId xmlns:a16="http://schemas.microsoft.com/office/drawing/2014/main" id="{0C000942-9BB5-408B-99A7-E21766FEC9E6}"/>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rcRect/>
          <a:stretch/>
        </p:blipFill>
        <p:spPr>
          <a:xfrm>
            <a:off x="6594406" y="2540509"/>
            <a:ext cx="5122466" cy="2880141"/>
          </a:xfrm>
        </p:spPr>
      </p:pic>
      <p:sp>
        <p:nvSpPr>
          <p:cNvPr id="2" name="Title 1">
            <a:extLst>
              <a:ext uri="{FF2B5EF4-FFF2-40B4-BE49-F238E27FC236}">
                <a16:creationId xmlns:a16="http://schemas.microsoft.com/office/drawing/2014/main" id="{D0F568E5-1E0C-4D39-86EB-15840BD07DC5}"/>
              </a:ext>
            </a:extLst>
          </p:cNvPr>
          <p:cNvSpPr>
            <a:spLocks noGrp="1"/>
          </p:cNvSpPr>
          <p:nvPr>
            <p:ph type="title"/>
          </p:nvPr>
        </p:nvSpPr>
        <p:spPr>
          <a:xfrm>
            <a:off x="1540297" y="247105"/>
            <a:ext cx="9552992" cy="623919"/>
          </a:xfrm>
        </p:spPr>
        <p:txBody>
          <a:bodyPr>
            <a:normAutofit fontScale="90000"/>
          </a:bodyPr>
          <a:lstStyle/>
          <a:p>
            <a:pPr algn="ctr"/>
            <a:r>
              <a:rPr lang="en-US" dirty="0">
                <a:solidFill>
                  <a:schemeClr val="bg1"/>
                </a:solidFill>
              </a:rPr>
              <a:t>Immunogenicity Analysis</a:t>
            </a:r>
          </a:p>
        </p:txBody>
      </p:sp>
      <p:sp>
        <p:nvSpPr>
          <p:cNvPr id="5" name="TextBox 4">
            <a:extLst>
              <a:ext uri="{FF2B5EF4-FFF2-40B4-BE49-F238E27FC236}">
                <a16:creationId xmlns:a16="http://schemas.microsoft.com/office/drawing/2014/main" id="{DAADCC72-3A8C-40AD-88EF-40D05A8034B2}"/>
              </a:ext>
            </a:extLst>
          </p:cNvPr>
          <p:cNvSpPr txBox="1"/>
          <p:nvPr/>
        </p:nvSpPr>
        <p:spPr>
          <a:xfrm>
            <a:off x="6492785" y="6140916"/>
            <a:ext cx="5181600"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https://www.fda.gov/advisory-committees/advisory-committee-calendar/vaccines-and-related-biological-products-advisory-committee-february-26-2021-meeting-announcement</a:t>
            </a:r>
          </a:p>
        </p:txBody>
      </p:sp>
      <p:sp>
        <p:nvSpPr>
          <p:cNvPr id="7" name="TextBox 6">
            <a:extLst>
              <a:ext uri="{FF2B5EF4-FFF2-40B4-BE49-F238E27FC236}">
                <a16:creationId xmlns:a16="http://schemas.microsoft.com/office/drawing/2014/main" id="{F66A0967-E85E-4741-A5FF-0D281F2555D7}"/>
              </a:ext>
            </a:extLst>
          </p:cNvPr>
          <p:cNvSpPr txBox="1"/>
          <p:nvPr/>
        </p:nvSpPr>
        <p:spPr>
          <a:xfrm>
            <a:off x="381001" y="6194314"/>
            <a:ext cx="5181600"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https://www.fda.gov/advisory-committees/advisory-committee-calendar/vaccines-and-related-biological-products-advisory-committee-december-17-2020-meeting-announcement</a:t>
            </a:r>
          </a:p>
        </p:txBody>
      </p:sp>
      <p:sp>
        <p:nvSpPr>
          <p:cNvPr id="8" name="TextBox 7">
            <a:extLst>
              <a:ext uri="{FF2B5EF4-FFF2-40B4-BE49-F238E27FC236}">
                <a16:creationId xmlns:a16="http://schemas.microsoft.com/office/drawing/2014/main" id="{D63070CE-CA64-417B-96AF-69DBF87A6E6D}"/>
              </a:ext>
            </a:extLst>
          </p:cNvPr>
          <p:cNvSpPr txBox="1"/>
          <p:nvPr/>
        </p:nvSpPr>
        <p:spPr>
          <a:xfrm>
            <a:off x="381001" y="1331615"/>
            <a:ext cx="518160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rPr>
              <a:t>Modern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Noto Sans" panose="020B0502040504020204" pitchFamily="34" charset="0"/>
                <a:ea typeface="Noto Sans" panose="020B0502040504020204" pitchFamily="34" charset="0"/>
                <a:cs typeface="Noto Sans" panose="020B0502040504020204" pitchFamily="34" charset="0"/>
              </a:rPr>
              <a:t>SPIKEVAX (COVID-19 Vaccine, mRNA)</a:t>
            </a:r>
            <a:endPar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10" name="TextBox 9">
            <a:extLst>
              <a:ext uri="{FF2B5EF4-FFF2-40B4-BE49-F238E27FC236}">
                <a16:creationId xmlns:a16="http://schemas.microsoft.com/office/drawing/2014/main" id="{FD02FD60-0EA7-43A0-B83A-2E54F00285EB}"/>
              </a:ext>
            </a:extLst>
          </p:cNvPr>
          <p:cNvSpPr txBox="1"/>
          <p:nvPr/>
        </p:nvSpPr>
        <p:spPr>
          <a:xfrm>
            <a:off x="6492785" y="1410744"/>
            <a:ext cx="518160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rPr>
              <a:t>Jansse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Noto Sans" panose="020B0502040504020204" pitchFamily="34" charset="0"/>
                <a:ea typeface="Noto Sans" panose="020B0502040504020204" pitchFamily="34" charset="0"/>
                <a:cs typeface="Noto Sans" panose="020B0502040504020204" pitchFamily="34" charset="0"/>
              </a:rPr>
              <a:t>COVID-19 Vaccine (Ad26 COV2.S)</a:t>
            </a:r>
            <a:endPar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15" name="Slide Number Placeholder 14">
            <a:extLst>
              <a:ext uri="{FF2B5EF4-FFF2-40B4-BE49-F238E27FC236}">
                <a16:creationId xmlns:a16="http://schemas.microsoft.com/office/drawing/2014/main" id="{B08ED236-74BE-4B29-A3A6-B0F2B8CA869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541BB9-6530-43D2-B7E0-33A89042A350}"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5DC1D374-C953-4528-8DB1-5C2AB9C8D517}"/>
              </a:ext>
            </a:extLst>
          </p:cNvPr>
          <p:cNvPicPr>
            <a:picLocks noChangeAspect="1"/>
          </p:cNvPicPr>
          <p:nvPr/>
        </p:nvPicPr>
        <p:blipFill>
          <a:blip r:embed="rId4"/>
          <a:stretch>
            <a:fillRect/>
          </a:stretch>
        </p:blipFill>
        <p:spPr>
          <a:xfrm>
            <a:off x="6038083" y="2082157"/>
            <a:ext cx="115834" cy="4176122"/>
          </a:xfrm>
          <a:prstGeom prst="rect">
            <a:avLst/>
          </a:prstGeom>
        </p:spPr>
      </p:pic>
    </p:spTree>
    <p:extLst>
      <p:ext uri="{BB962C8B-B14F-4D97-AF65-F5344CB8AC3E}">
        <p14:creationId xmlns:p14="http://schemas.microsoft.com/office/powerpoint/2010/main" val="15600203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9412129-ABF4-4839-A59C-070C41D2B897}"/>
              </a:ext>
            </a:extLst>
          </p:cNvPr>
          <p:cNvSpPr/>
          <p:nvPr/>
        </p:nvSpPr>
        <p:spPr>
          <a:xfrm>
            <a:off x="55418" y="2079798"/>
            <a:ext cx="12046527" cy="4097165"/>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Content Placeholder 11">
            <a:extLst>
              <a:ext uri="{FF2B5EF4-FFF2-40B4-BE49-F238E27FC236}">
                <a16:creationId xmlns:a16="http://schemas.microsoft.com/office/drawing/2014/main" id="{FF48BBFA-44B7-4D93-A6DE-529EB78C25C4}"/>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rcRect/>
          <a:stretch/>
        </p:blipFill>
        <p:spPr>
          <a:xfrm>
            <a:off x="413595" y="2560916"/>
            <a:ext cx="5171828" cy="2806254"/>
          </a:xfrm>
        </p:spPr>
      </p:pic>
      <p:pic>
        <p:nvPicPr>
          <p:cNvPr id="14" name="Content Placeholder 13">
            <a:extLst>
              <a:ext uri="{FF2B5EF4-FFF2-40B4-BE49-F238E27FC236}">
                <a16:creationId xmlns:a16="http://schemas.microsoft.com/office/drawing/2014/main" id="{0C000942-9BB5-408B-99A7-E21766FEC9E6}"/>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rcRect/>
          <a:stretch/>
        </p:blipFill>
        <p:spPr>
          <a:xfrm>
            <a:off x="6594406" y="2590349"/>
            <a:ext cx="5122466" cy="2780461"/>
          </a:xfrm>
        </p:spPr>
      </p:pic>
      <p:sp>
        <p:nvSpPr>
          <p:cNvPr id="2" name="Title 1">
            <a:extLst>
              <a:ext uri="{FF2B5EF4-FFF2-40B4-BE49-F238E27FC236}">
                <a16:creationId xmlns:a16="http://schemas.microsoft.com/office/drawing/2014/main" id="{D0F568E5-1E0C-4D39-86EB-15840BD07DC5}"/>
              </a:ext>
            </a:extLst>
          </p:cNvPr>
          <p:cNvSpPr>
            <a:spLocks noGrp="1"/>
          </p:cNvSpPr>
          <p:nvPr>
            <p:ph type="title"/>
          </p:nvPr>
        </p:nvSpPr>
        <p:spPr>
          <a:xfrm>
            <a:off x="1540297" y="247105"/>
            <a:ext cx="9552992" cy="623919"/>
          </a:xfrm>
        </p:spPr>
        <p:txBody>
          <a:bodyPr>
            <a:normAutofit fontScale="90000"/>
          </a:bodyPr>
          <a:lstStyle/>
          <a:p>
            <a:pPr algn="ctr"/>
            <a:r>
              <a:rPr lang="en-US" dirty="0">
                <a:solidFill>
                  <a:schemeClr val="bg1"/>
                </a:solidFill>
              </a:rPr>
              <a:t>Logistics</a:t>
            </a:r>
          </a:p>
        </p:txBody>
      </p:sp>
      <p:sp>
        <p:nvSpPr>
          <p:cNvPr id="5" name="TextBox 4">
            <a:extLst>
              <a:ext uri="{FF2B5EF4-FFF2-40B4-BE49-F238E27FC236}">
                <a16:creationId xmlns:a16="http://schemas.microsoft.com/office/drawing/2014/main" id="{DAADCC72-3A8C-40AD-88EF-40D05A8034B2}"/>
              </a:ext>
            </a:extLst>
          </p:cNvPr>
          <p:cNvSpPr txBox="1"/>
          <p:nvPr/>
        </p:nvSpPr>
        <p:spPr>
          <a:xfrm>
            <a:off x="6492785" y="6140916"/>
            <a:ext cx="5181600"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https://www.fda.gov/advisory-committees/advisory-committee-calendar/vaccines-and-related-biological-products-advisory-committee-february-26-2021-meeting-announcement</a:t>
            </a:r>
          </a:p>
        </p:txBody>
      </p:sp>
      <p:sp>
        <p:nvSpPr>
          <p:cNvPr id="7" name="TextBox 6">
            <a:extLst>
              <a:ext uri="{FF2B5EF4-FFF2-40B4-BE49-F238E27FC236}">
                <a16:creationId xmlns:a16="http://schemas.microsoft.com/office/drawing/2014/main" id="{F66A0967-E85E-4741-A5FF-0D281F2555D7}"/>
              </a:ext>
            </a:extLst>
          </p:cNvPr>
          <p:cNvSpPr txBox="1"/>
          <p:nvPr/>
        </p:nvSpPr>
        <p:spPr>
          <a:xfrm>
            <a:off x="381001" y="6194314"/>
            <a:ext cx="5181600"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https://www.fda.gov/advisory-committees/advisory-committee-calendar/vaccines-and-related-biological-products-advisory-committee-december-17-2020-meeting-announcement</a:t>
            </a:r>
          </a:p>
        </p:txBody>
      </p:sp>
      <p:sp>
        <p:nvSpPr>
          <p:cNvPr id="8" name="TextBox 7">
            <a:extLst>
              <a:ext uri="{FF2B5EF4-FFF2-40B4-BE49-F238E27FC236}">
                <a16:creationId xmlns:a16="http://schemas.microsoft.com/office/drawing/2014/main" id="{D63070CE-CA64-417B-96AF-69DBF87A6E6D}"/>
              </a:ext>
            </a:extLst>
          </p:cNvPr>
          <p:cNvSpPr txBox="1"/>
          <p:nvPr/>
        </p:nvSpPr>
        <p:spPr>
          <a:xfrm>
            <a:off x="381001" y="1331615"/>
            <a:ext cx="518160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rPr>
              <a:t>Modern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Noto Sans" panose="020B0502040504020204" pitchFamily="34" charset="0"/>
                <a:ea typeface="Noto Sans" panose="020B0502040504020204" pitchFamily="34" charset="0"/>
                <a:cs typeface="Noto Sans" panose="020B0502040504020204" pitchFamily="34" charset="0"/>
              </a:rPr>
              <a:t>SPIKEVAX (COVID-19 Vaccine, mRNA)</a:t>
            </a:r>
            <a:endPar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10" name="TextBox 9">
            <a:extLst>
              <a:ext uri="{FF2B5EF4-FFF2-40B4-BE49-F238E27FC236}">
                <a16:creationId xmlns:a16="http://schemas.microsoft.com/office/drawing/2014/main" id="{FD02FD60-0EA7-43A0-B83A-2E54F00285EB}"/>
              </a:ext>
            </a:extLst>
          </p:cNvPr>
          <p:cNvSpPr txBox="1"/>
          <p:nvPr/>
        </p:nvSpPr>
        <p:spPr>
          <a:xfrm>
            <a:off x="6492785" y="1410744"/>
            <a:ext cx="518160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rPr>
              <a:t>Jansse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Noto Sans" panose="020B0502040504020204" pitchFamily="34" charset="0"/>
                <a:ea typeface="Noto Sans" panose="020B0502040504020204" pitchFamily="34" charset="0"/>
                <a:cs typeface="Noto Sans" panose="020B0502040504020204" pitchFamily="34" charset="0"/>
              </a:rPr>
              <a:t>COVID-19 Vaccine (Ad26 COV2.S)</a:t>
            </a:r>
            <a:endPar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15" name="Slide Number Placeholder 14">
            <a:extLst>
              <a:ext uri="{FF2B5EF4-FFF2-40B4-BE49-F238E27FC236}">
                <a16:creationId xmlns:a16="http://schemas.microsoft.com/office/drawing/2014/main" id="{B08ED236-74BE-4B29-A3A6-B0F2B8CA869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541BB9-6530-43D2-B7E0-33A89042A350}"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5DC1D374-C953-4528-8DB1-5C2AB9C8D517}"/>
              </a:ext>
            </a:extLst>
          </p:cNvPr>
          <p:cNvPicPr>
            <a:picLocks noChangeAspect="1"/>
          </p:cNvPicPr>
          <p:nvPr/>
        </p:nvPicPr>
        <p:blipFill>
          <a:blip r:embed="rId4"/>
          <a:stretch>
            <a:fillRect/>
          </a:stretch>
        </p:blipFill>
        <p:spPr>
          <a:xfrm>
            <a:off x="6038083" y="2082157"/>
            <a:ext cx="115834" cy="4176122"/>
          </a:xfrm>
          <a:prstGeom prst="rect">
            <a:avLst/>
          </a:prstGeom>
        </p:spPr>
      </p:pic>
    </p:spTree>
    <p:extLst>
      <p:ext uri="{BB962C8B-B14F-4D97-AF65-F5344CB8AC3E}">
        <p14:creationId xmlns:p14="http://schemas.microsoft.com/office/powerpoint/2010/main" val="24665074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9412129-ABF4-4839-A59C-070C41D2B897}"/>
              </a:ext>
            </a:extLst>
          </p:cNvPr>
          <p:cNvSpPr/>
          <p:nvPr/>
        </p:nvSpPr>
        <p:spPr>
          <a:xfrm>
            <a:off x="55418" y="2079798"/>
            <a:ext cx="12046527" cy="4097165"/>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Content Placeholder 11">
            <a:extLst>
              <a:ext uri="{FF2B5EF4-FFF2-40B4-BE49-F238E27FC236}">
                <a16:creationId xmlns:a16="http://schemas.microsoft.com/office/drawing/2014/main" id="{FF48BBFA-44B7-4D93-A6DE-529EB78C25C4}"/>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rcRect/>
          <a:stretch/>
        </p:blipFill>
        <p:spPr>
          <a:xfrm>
            <a:off x="413595" y="2534475"/>
            <a:ext cx="5171828" cy="2859136"/>
          </a:xfrm>
        </p:spPr>
      </p:pic>
      <p:pic>
        <p:nvPicPr>
          <p:cNvPr id="14" name="Content Placeholder 13">
            <a:extLst>
              <a:ext uri="{FF2B5EF4-FFF2-40B4-BE49-F238E27FC236}">
                <a16:creationId xmlns:a16="http://schemas.microsoft.com/office/drawing/2014/main" id="{0C000942-9BB5-408B-99A7-E21766FEC9E6}"/>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rcRect/>
          <a:stretch/>
        </p:blipFill>
        <p:spPr>
          <a:xfrm>
            <a:off x="6594406" y="2548617"/>
            <a:ext cx="5122466" cy="2863924"/>
          </a:xfrm>
        </p:spPr>
      </p:pic>
      <p:sp>
        <p:nvSpPr>
          <p:cNvPr id="2" name="Title 1">
            <a:extLst>
              <a:ext uri="{FF2B5EF4-FFF2-40B4-BE49-F238E27FC236}">
                <a16:creationId xmlns:a16="http://schemas.microsoft.com/office/drawing/2014/main" id="{D0F568E5-1E0C-4D39-86EB-15840BD07DC5}"/>
              </a:ext>
            </a:extLst>
          </p:cNvPr>
          <p:cNvSpPr>
            <a:spLocks noGrp="1"/>
          </p:cNvSpPr>
          <p:nvPr>
            <p:ph type="title"/>
          </p:nvPr>
        </p:nvSpPr>
        <p:spPr>
          <a:xfrm>
            <a:off x="1540297" y="247105"/>
            <a:ext cx="9552992" cy="623919"/>
          </a:xfrm>
        </p:spPr>
        <p:txBody>
          <a:bodyPr>
            <a:normAutofit fontScale="90000"/>
          </a:bodyPr>
          <a:lstStyle/>
          <a:p>
            <a:pPr algn="ctr"/>
            <a:r>
              <a:rPr lang="en-US" dirty="0">
                <a:solidFill>
                  <a:schemeClr val="bg1"/>
                </a:solidFill>
              </a:rPr>
              <a:t>EUA Summary</a:t>
            </a:r>
          </a:p>
        </p:txBody>
      </p:sp>
      <p:sp>
        <p:nvSpPr>
          <p:cNvPr id="5" name="TextBox 4">
            <a:extLst>
              <a:ext uri="{FF2B5EF4-FFF2-40B4-BE49-F238E27FC236}">
                <a16:creationId xmlns:a16="http://schemas.microsoft.com/office/drawing/2014/main" id="{DAADCC72-3A8C-40AD-88EF-40D05A8034B2}"/>
              </a:ext>
            </a:extLst>
          </p:cNvPr>
          <p:cNvSpPr txBox="1"/>
          <p:nvPr/>
        </p:nvSpPr>
        <p:spPr>
          <a:xfrm>
            <a:off x="6492785" y="6140916"/>
            <a:ext cx="5181600"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https://www.fda.gov/advisory-committees/advisory-committee-calendar/vaccines-and-related-biological-products-advisory-committee-february-26-2021-meeting-announcement</a:t>
            </a:r>
          </a:p>
        </p:txBody>
      </p:sp>
      <p:sp>
        <p:nvSpPr>
          <p:cNvPr id="7" name="TextBox 6">
            <a:extLst>
              <a:ext uri="{FF2B5EF4-FFF2-40B4-BE49-F238E27FC236}">
                <a16:creationId xmlns:a16="http://schemas.microsoft.com/office/drawing/2014/main" id="{F66A0967-E85E-4741-A5FF-0D281F2555D7}"/>
              </a:ext>
            </a:extLst>
          </p:cNvPr>
          <p:cNvSpPr txBox="1"/>
          <p:nvPr/>
        </p:nvSpPr>
        <p:spPr>
          <a:xfrm>
            <a:off x="381001" y="6194314"/>
            <a:ext cx="5181600"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https://www.fda.gov/advisory-committees/advisory-committee-calendar/vaccines-and-related-biological-products-advisory-committee-december-17-2020-meeting-announcement</a:t>
            </a:r>
          </a:p>
        </p:txBody>
      </p:sp>
      <p:sp>
        <p:nvSpPr>
          <p:cNvPr id="8" name="TextBox 7">
            <a:extLst>
              <a:ext uri="{FF2B5EF4-FFF2-40B4-BE49-F238E27FC236}">
                <a16:creationId xmlns:a16="http://schemas.microsoft.com/office/drawing/2014/main" id="{D63070CE-CA64-417B-96AF-69DBF87A6E6D}"/>
              </a:ext>
            </a:extLst>
          </p:cNvPr>
          <p:cNvSpPr txBox="1"/>
          <p:nvPr/>
        </p:nvSpPr>
        <p:spPr>
          <a:xfrm>
            <a:off x="381001" y="1331615"/>
            <a:ext cx="518160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rPr>
              <a:t>Modern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Noto Sans" panose="020B0502040504020204" pitchFamily="34" charset="0"/>
                <a:ea typeface="Noto Sans" panose="020B0502040504020204" pitchFamily="34" charset="0"/>
                <a:cs typeface="Noto Sans" panose="020B0502040504020204" pitchFamily="34" charset="0"/>
              </a:rPr>
              <a:t>SPIKEVAX (COVID-19 Vaccine, mRNA)</a:t>
            </a:r>
            <a:endPar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10" name="TextBox 9">
            <a:extLst>
              <a:ext uri="{FF2B5EF4-FFF2-40B4-BE49-F238E27FC236}">
                <a16:creationId xmlns:a16="http://schemas.microsoft.com/office/drawing/2014/main" id="{FD02FD60-0EA7-43A0-B83A-2E54F00285EB}"/>
              </a:ext>
            </a:extLst>
          </p:cNvPr>
          <p:cNvSpPr txBox="1"/>
          <p:nvPr/>
        </p:nvSpPr>
        <p:spPr>
          <a:xfrm>
            <a:off x="6492785" y="1410744"/>
            <a:ext cx="518160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rPr>
              <a:t>Jansse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Noto Sans" panose="020B0502040504020204" pitchFamily="34" charset="0"/>
                <a:ea typeface="Noto Sans" panose="020B0502040504020204" pitchFamily="34" charset="0"/>
                <a:cs typeface="Noto Sans" panose="020B0502040504020204" pitchFamily="34" charset="0"/>
              </a:rPr>
              <a:t>COVID-19 Vaccine (Ad26 COV2.S)</a:t>
            </a:r>
            <a:endParaRPr kumimoji="0" lang="en-US" sz="2000" b="0" i="0" u="none" strike="noStrike" kern="1200" cap="none" spc="0" normalizeH="0" baseline="0" noProof="0" dirty="0">
              <a:ln>
                <a:noFill/>
              </a:ln>
              <a:solidFill>
                <a:prstClr val="black"/>
              </a:solidFill>
              <a:effectLst/>
              <a:uLnTx/>
              <a:uFillTx/>
              <a:latin typeface="Noto Sans" panose="020B0502040504020204" pitchFamily="34" charset="0"/>
              <a:ea typeface="Noto Sans" panose="020B0502040504020204" pitchFamily="34" charset="0"/>
              <a:cs typeface="Noto Sans" panose="020B0502040504020204" pitchFamily="34" charset="0"/>
            </a:endParaRPr>
          </a:p>
        </p:txBody>
      </p:sp>
      <p:sp>
        <p:nvSpPr>
          <p:cNvPr id="15" name="Slide Number Placeholder 14">
            <a:extLst>
              <a:ext uri="{FF2B5EF4-FFF2-40B4-BE49-F238E27FC236}">
                <a16:creationId xmlns:a16="http://schemas.microsoft.com/office/drawing/2014/main" id="{B08ED236-74BE-4B29-A3A6-B0F2B8CA869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541BB9-6530-43D2-B7E0-33A89042A350}"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5DC1D374-C953-4528-8DB1-5C2AB9C8D517}"/>
              </a:ext>
            </a:extLst>
          </p:cNvPr>
          <p:cNvPicPr>
            <a:picLocks noChangeAspect="1"/>
          </p:cNvPicPr>
          <p:nvPr/>
        </p:nvPicPr>
        <p:blipFill>
          <a:blip r:embed="rId4"/>
          <a:stretch>
            <a:fillRect/>
          </a:stretch>
        </p:blipFill>
        <p:spPr>
          <a:xfrm>
            <a:off x="6038083" y="2082157"/>
            <a:ext cx="115834" cy="4176122"/>
          </a:xfrm>
          <a:prstGeom prst="rect">
            <a:avLst/>
          </a:prstGeom>
        </p:spPr>
      </p:pic>
    </p:spTree>
    <p:extLst>
      <p:ext uri="{BB962C8B-B14F-4D97-AF65-F5344CB8AC3E}">
        <p14:creationId xmlns:p14="http://schemas.microsoft.com/office/powerpoint/2010/main" val="7657159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758F0F-790D-40B0-8AE1-AD732380FBB6}"/>
              </a:ext>
            </a:extLst>
          </p:cNvPr>
          <p:cNvSpPr>
            <a:spLocks noGrp="1"/>
          </p:cNvSpPr>
          <p:nvPr>
            <p:ph type="title"/>
          </p:nvPr>
        </p:nvSpPr>
        <p:spPr/>
        <p:txBody>
          <a:bodyPr>
            <a:normAutofit fontScale="90000"/>
          </a:bodyPr>
          <a:lstStyle/>
          <a:p>
            <a:pPr algn="ctr"/>
            <a:r>
              <a:rPr lang="en-US" dirty="0">
                <a:solidFill>
                  <a:schemeClr val="bg1"/>
                </a:solidFill>
              </a:rPr>
              <a:t>Effect of Vaccination on Death Rates</a:t>
            </a:r>
          </a:p>
        </p:txBody>
      </p:sp>
      <p:sp>
        <p:nvSpPr>
          <p:cNvPr id="4" name="Slide Number Placeholder 3">
            <a:extLst>
              <a:ext uri="{FF2B5EF4-FFF2-40B4-BE49-F238E27FC236}">
                <a16:creationId xmlns:a16="http://schemas.microsoft.com/office/drawing/2014/main" id="{89F3A544-C529-4517-9BCD-4CC706DC18B6}"/>
              </a:ext>
            </a:extLst>
          </p:cNvPr>
          <p:cNvSpPr>
            <a:spLocks noGrp="1"/>
          </p:cNvSpPr>
          <p:nvPr>
            <p:ph type="sldNum" sz="quarter" idx="12"/>
          </p:nvPr>
        </p:nvSpPr>
        <p:spPr/>
        <p:txBody>
          <a:bodyPr/>
          <a:lstStyle/>
          <a:p>
            <a:fld id="{D1541BB9-6530-43D2-B7E0-33A89042A350}" type="slidenum">
              <a:rPr lang="en-US" smtClean="0"/>
              <a:t>34</a:t>
            </a:fld>
            <a:endParaRPr lang="en-US"/>
          </a:p>
        </p:txBody>
      </p:sp>
      <p:pic>
        <p:nvPicPr>
          <p:cNvPr id="9" name="Picture 8">
            <a:extLst>
              <a:ext uri="{FF2B5EF4-FFF2-40B4-BE49-F238E27FC236}">
                <a16:creationId xmlns:a16="http://schemas.microsoft.com/office/drawing/2014/main" id="{FB8EF04B-A380-43FD-A190-8291B5316570}"/>
              </a:ext>
            </a:extLst>
          </p:cNvPr>
          <p:cNvPicPr>
            <a:picLocks noChangeAspect="1"/>
          </p:cNvPicPr>
          <p:nvPr/>
        </p:nvPicPr>
        <p:blipFill>
          <a:blip r:embed="rId2"/>
          <a:stretch>
            <a:fillRect/>
          </a:stretch>
        </p:blipFill>
        <p:spPr>
          <a:xfrm>
            <a:off x="1452806" y="1222624"/>
            <a:ext cx="8852174" cy="5411713"/>
          </a:xfrm>
          <a:prstGeom prst="rect">
            <a:avLst/>
          </a:prstGeom>
        </p:spPr>
      </p:pic>
    </p:spTree>
    <p:extLst>
      <p:ext uri="{BB962C8B-B14F-4D97-AF65-F5344CB8AC3E}">
        <p14:creationId xmlns:p14="http://schemas.microsoft.com/office/powerpoint/2010/main" val="31583581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RIVe Slide Title">
            <a:extLst>
              <a:ext uri="{FF2B5EF4-FFF2-40B4-BE49-F238E27FC236}">
                <a16:creationId xmlns:a16="http://schemas.microsoft.com/office/drawing/2014/main" id="{AC9C168F-BC37-47AE-98E6-A37D3FFA3FCC}"/>
              </a:ext>
            </a:extLst>
          </p:cNvPr>
          <p:cNvSpPr>
            <a:spLocks noGrp="1"/>
          </p:cNvSpPr>
          <p:nvPr>
            <p:ph type="title"/>
          </p:nvPr>
        </p:nvSpPr>
        <p:spPr/>
        <p:txBody>
          <a:bodyPr vert="horz" lIns="121920" tIns="60960" rIns="121920" bIns="60960" rtlCol="0" anchor="ctr">
            <a:normAutofit fontScale="90000"/>
          </a:bodyPr>
          <a:lstStyle/>
          <a:p>
            <a:pPr algn="ctr"/>
            <a:r>
              <a:rPr lang="en-US" dirty="0">
                <a:solidFill>
                  <a:schemeClr val="bg1"/>
                </a:solidFill>
              </a:rPr>
              <a:t>Addressing End to End Solutions</a:t>
            </a:r>
          </a:p>
        </p:txBody>
      </p:sp>
      <p:grpSp>
        <p:nvGrpSpPr>
          <p:cNvPr id="53" name="Group 52">
            <a:extLst>
              <a:ext uri="{FF2B5EF4-FFF2-40B4-BE49-F238E27FC236}">
                <a16:creationId xmlns:a16="http://schemas.microsoft.com/office/drawing/2014/main" id="{E4B4FD5A-0152-4FE4-B033-B8546EF53CFE}"/>
              </a:ext>
            </a:extLst>
          </p:cNvPr>
          <p:cNvGrpSpPr/>
          <p:nvPr/>
        </p:nvGrpSpPr>
        <p:grpSpPr>
          <a:xfrm>
            <a:off x="171939" y="1798419"/>
            <a:ext cx="11583992" cy="4040217"/>
            <a:chOff x="128954" y="1182565"/>
            <a:chExt cx="8687994" cy="3030163"/>
          </a:xfrm>
        </p:grpSpPr>
        <p:sp>
          <p:nvSpPr>
            <p:cNvPr id="6" name="Title: Identification/Characterize">
              <a:extLst>
                <a:ext uri="{FF2B5EF4-FFF2-40B4-BE49-F238E27FC236}">
                  <a16:creationId xmlns:a16="http://schemas.microsoft.com/office/drawing/2014/main" id="{74A2A4CD-7363-4A15-B2AB-D421EBE76328}"/>
                </a:ext>
              </a:extLst>
            </p:cNvPr>
            <p:cNvSpPr txBox="1"/>
            <p:nvPr/>
          </p:nvSpPr>
          <p:spPr>
            <a:xfrm>
              <a:off x="1153448" y="3651132"/>
              <a:ext cx="2559270" cy="561596"/>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0FBBBB"/>
                  </a:solidFill>
                  <a:effectLst/>
                  <a:uLnTx/>
                  <a:uFillTx/>
                  <a:latin typeface="Arial Narrow" panose="020B0606020202030204" pitchFamily="34" charset="0"/>
                  <a:ea typeface="+mn-ea"/>
                  <a:cs typeface="+mn-cs"/>
                </a:rPr>
                <a:t>Identify/</a:t>
              </a:r>
              <a:br>
                <a:rPr kumimoji="0" lang="en-US" sz="2133" b="1" i="0" u="none" strike="noStrike" kern="1200" cap="none" spc="0" normalizeH="0" baseline="0" noProof="0" dirty="0">
                  <a:ln>
                    <a:noFill/>
                  </a:ln>
                  <a:solidFill>
                    <a:srgbClr val="0FBBBB"/>
                  </a:solidFill>
                  <a:effectLst/>
                  <a:uLnTx/>
                  <a:uFillTx/>
                  <a:latin typeface="Arial Narrow" panose="020B0606020202030204" pitchFamily="34" charset="0"/>
                  <a:ea typeface="+mn-ea"/>
                  <a:cs typeface="+mn-cs"/>
                </a:rPr>
              </a:br>
              <a:r>
                <a:rPr kumimoji="0" lang="en-US" sz="2133" b="1" i="0" u="none" strike="noStrike" kern="1200" cap="none" spc="0" normalizeH="0" baseline="0" noProof="0" dirty="0">
                  <a:ln>
                    <a:noFill/>
                  </a:ln>
                  <a:solidFill>
                    <a:srgbClr val="0FBBBB"/>
                  </a:solidFill>
                  <a:effectLst/>
                  <a:uLnTx/>
                  <a:uFillTx/>
                  <a:latin typeface="Arial Narrow" panose="020B0606020202030204" pitchFamily="34" charset="0"/>
                  <a:ea typeface="+mn-ea"/>
                  <a:cs typeface="+mn-cs"/>
                </a:rPr>
                <a:t>Characterize</a:t>
              </a:r>
            </a:p>
          </p:txBody>
        </p:sp>
        <p:sp>
          <p:nvSpPr>
            <p:cNvPr id="8" name="Title: Situational Awareness">
              <a:extLst>
                <a:ext uri="{FF2B5EF4-FFF2-40B4-BE49-F238E27FC236}">
                  <a16:creationId xmlns:a16="http://schemas.microsoft.com/office/drawing/2014/main" id="{1666E25D-E9A4-4EC2-96EE-77C1A8BF79A0}"/>
                </a:ext>
              </a:extLst>
            </p:cNvPr>
            <p:cNvSpPr txBox="1"/>
            <p:nvPr/>
          </p:nvSpPr>
          <p:spPr>
            <a:xfrm>
              <a:off x="128954" y="1182565"/>
              <a:ext cx="2261208" cy="561596"/>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9AB6C3"/>
                  </a:solidFill>
                  <a:effectLst/>
                  <a:uLnTx/>
                  <a:uFillTx/>
                  <a:latin typeface="Arial Narrow" panose="020B0606020202030204" pitchFamily="34" charset="0"/>
                  <a:ea typeface="+mn-ea"/>
                  <a:cs typeface="+mn-cs"/>
                </a:rPr>
                <a:t>Situational Awareness/Recognize</a:t>
              </a:r>
            </a:p>
          </p:txBody>
        </p:sp>
        <p:sp>
          <p:nvSpPr>
            <p:cNvPr id="11" name="Title: Design">
              <a:extLst>
                <a:ext uri="{FF2B5EF4-FFF2-40B4-BE49-F238E27FC236}">
                  <a16:creationId xmlns:a16="http://schemas.microsoft.com/office/drawing/2014/main" id="{308ADD59-E17D-4144-B52B-C54F7070329F}"/>
                </a:ext>
              </a:extLst>
            </p:cNvPr>
            <p:cNvSpPr txBox="1"/>
            <p:nvPr/>
          </p:nvSpPr>
          <p:spPr>
            <a:xfrm>
              <a:off x="2501152" y="1305675"/>
              <a:ext cx="2074230" cy="315423"/>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1FA2BB"/>
                  </a:solidFill>
                  <a:effectLst/>
                  <a:uLnTx/>
                  <a:uFillTx/>
                  <a:latin typeface="Arial Narrow" panose="020B0606020202030204" pitchFamily="34" charset="0"/>
                  <a:ea typeface="+mn-ea"/>
                  <a:cs typeface="+mn-cs"/>
                </a:rPr>
                <a:t>Design</a:t>
              </a:r>
            </a:p>
          </p:txBody>
        </p:sp>
        <p:sp>
          <p:nvSpPr>
            <p:cNvPr id="13" name="Title: Produce">
              <a:extLst>
                <a:ext uri="{FF2B5EF4-FFF2-40B4-BE49-F238E27FC236}">
                  <a16:creationId xmlns:a16="http://schemas.microsoft.com/office/drawing/2014/main" id="{8BEB7F1F-C292-44FE-8635-E55E910B6FD6}"/>
                </a:ext>
              </a:extLst>
            </p:cNvPr>
            <p:cNvSpPr txBox="1"/>
            <p:nvPr/>
          </p:nvSpPr>
          <p:spPr>
            <a:xfrm>
              <a:off x="5028521" y="1305675"/>
              <a:ext cx="1380001" cy="315423"/>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4968A5"/>
                  </a:solidFill>
                  <a:effectLst/>
                  <a:uLnTx/>
                  <a:uFillTx/>
                  <a:latin typeface="Arial Narrow" panose="020B0606020202030204" pitchFamily="34" charset="0"/>
                  <a:ea typeface="+mn-ea"/>
                  <a:cs typeface="+mn-cs"/>
                </a:rPr>
                <a:t>Production</a:t>
              </a:r>
            </a:p>
          </p:txBody>
        </p:sp>
        <p:sp>
          <p:nvSpPr>
            <p:cNvPr id="15" name="Title: Administration">
              <a:extLst>
                <a:ext uri="{FF2B5EF4-FFF2-40B4-BE49-F238E27FC236}">
                  <a16:creationId xmlns:a16="http://schemas.microsoft.com/office/drawing/2014/main" id="{263A0861-65CA-4643-A8E0-23E660480231}"/>
                </a:ext>
              </a:extLst>
            </p:cNvPr>
            <p:cNvSpPr txBox="1"/>
            <p:nvPr/>
          </p:nvSpPr>
          <p:spPr>
            <a:xfrm>
              <a:off x="7186596" y="1305675"/>
              <a:ext cx="1630352" cy="315423"/>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E7554A"/>
                  </a:solidFill>
                  <a:effectLst/>
                  <a:uLnTx/>
                  <a:uFillTx/>
                  <a:latin typeface="Arial Narrow" panose="020B0606020202030204" pitchFamily="34" charset="0"/>
                  <a:ea typeface="+mn-ea"/>
                  <a:cs typeface="+mn-cs"/>
                </a:rPr>
                <a:t>Administration</a:t>
              </a:r>
            </a:p>
          </p:txBody>
        </p:sp>
        <p:sp>
          <p:nvSpPr>
            <p:cNvPr id="16" name="Title: Validate">
              <a:extLst>
                <a:ext uri="{FF2B5EF4-FFF2-40B4-BE49-F238E27FC236}">
                  <a16:creationId xmlns:a16="http://schemas.microsoft.com/office/drawing/2014/main" id="{AEB19C70-255C-41A1-9274-D1636B47A912}"/>
                </a:ext>
              </a:extLst>
            </p:cNvPr>
            <p:cNvSpPr txBox="1"/>
            <p:nvPr/>
          </p:nvSpPr>
          <p:spPr>
            <a:xfrm>
              <a:off x="3485997" y="3774242"/>
              <a:ext cx="2371153" cy="315423"/>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1B84B7"/>
                  </a:solidFill>
                  <a:effectLst/>
                  <a:uLnTx/>
                  <a:uFillTx/>
                  <a:latin typeface="Arial Narrow" panose="020B0606020202030204" pitchFamily="34" charset="0"/>
                  <a:ea typeface="+mn-ea"/>
                  <a:cs typeface="+mn-cs"/>
                </a:rPr>
                <a:t>Validation </a:t>
              </a:r>
            </a:p>
          </p:txBody>
        </p:sp>
        <p:sp>
          <p:nvSpPr>
            <p:cNvPr id="18" name="Title: Distribute">
              <a:extLst>
                <a:ext uri="{FF2B5EF4-FFF2-40B4-BE49-F238E27FC236}">
                  <a16:creationId xmlns:a16="http://schemas.microsoft.com/office/drawing/2014/main" id="{62B7AC66-63F2-4D60-BBE6-F28DA8849DDB}"/>
                </a:ext>
              </a:extLst>
            </p:cNvPr>
            <p:cNvSpPr txBox="1"/>
            <p:nvPr/>
          </p:nvSpPr>
          <p:spPr>
            <a:xfrm>
              <a:off x="5976816" y="3774242"/>
              <a:ext cx="2009926" cy="315423"/>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FDB32F"/>
                  </a:solidFill>
                  <a:effectLst/>
                  <a:uLnTx/>
                  <a:uFillTx/>
                  <a:latin typeface="Arial Narrow" panose="020B0606020202030204" pitchFamily="34" charset="0"/>
                  <a:ea typeface="+mn-ea"/>
                  <a:cs typeface="+mn-cs"/>
                </a:rPr>
                <a:t>Distribution</a:t>
              </a:r>
            </a:p>
          </p:txBody>
        </p:sp>
        <p:pic>
          <p:nvPicPr>
            <p:cNvPr id="38" name="Graphic 37">
              <a:extLst>
                <a:ext uri="{FF2B5EF4-FFF2-40B4-BE49-F238E27FC236}">
                  <a16:creationId xmlns:a16="http://schemas.microsoft.com/office/drawing/2014/main" id="{5CBB0F97-76D8-4293-AB73-D35FC6157A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3235" y="1741833"/>
              <a:ext cx="8293713" cy="1934806"/>
            </a:xfrm>
            <a:prstGeom prst="rect">
              <a:avLst/>
            </a:prstGeom>
            <a:effectLst>
              <a:innerShdw blurRad="63500" dist="50800" dir="5400000">
                <a:prstClr val="black">
                  <a:alpha val="50000"/>
                </a:prstClr>
              </a:innerShdw>
            </a:effectLst>
          </p:spPr>
        </p:pic>
        <p:sp>
          <p:nvSpPr>
            <p:cNvPr id="12" name="Hexagon 11">
              <a:extLst>
                <a:ext uri="{FF2B5EF4-FFF2-40B4-BE49-F238E27FC236}">
                  <a16:creationId xmlns:a16="http://schemas.microsoft.com/office/drawing/2014/main" id="{E0AD333A-183D-47DB-A028-8658F2E47081}"/>
                </a:ext>
              </a:extLst>
            </p:cNvPr>
            <p:cNvSpPr/>
            <p:nvPr/>
          </p:nvSpPr>
          <p:spPr>
            <a:xfrm>
              <a:off x="6556950" y="2709236"/>
              <a:ext cx="849658" cy="732464"/>
            </a:xfrm>
            <a:prstGeom prst="hexagon">
              <a:avLst/>
            </a:prstGeom>
            <a:gradFill>
              <a:gsLst>
                <a:gs pos="0">
                  <a:srgbClr val="FC992F"/>
                </a:gs>
                <a:gs pos="100000">
                  <a:srgbClr val="FDB32F"/>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47" name="Hexagon 46">
              <a:extLst>
                <a:ext uri="{FF2B5EF4-FFF2-40B4-BE49-F238E27FC236}">
                  <a16:creationId xmlns:a16="http://schemas.microsoft.com/office/drawing/2014/main" id="{28AB07BE-AFFF-445E-A73C-0030F9FED3C1}"/>
                </a:ext>
              </a:extLst>
            </p:cNvPr>
            <p:cNvSpPr/>
            <p:nvPr/>
          </p:nvSpPr>
          <p:spPr>
            <a:xfrm>
              <a:off x="7686949" y="1992879"/>
              <a:ext cx="849658" cy="732464"/>
            </a:xfrm>
            <a:prstGeom prst="hexagon">
              <a:avLst/>
            </a:prstGeom>
            <a:gradFill>
              <a:gsLst>
                <a:gs pos="0">
                  <a:srgbClr val="C8473D"/>
                </a:gs>
                <a:gs pos="100000">
                  <a:srgbClr val="EB574C"/>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48" name="Hexagon 47">
              <a:extLst>
                <a:ext uri="{FF2B5EF4-FFF2-40B4-BE49-F238E27FC236}">
                  <a16:creationId xmlns:a16="http://schemas.microsoft.com/office/drawing/2014/main" id="{524A16D7-266B-4C09-97B2-1B1A535B969F}"/>
                </a:ext>
              </a:extLst>
            </p:cNvPr>
            <p:cNvSpPr/>
            <p:nvPr/>
          </p:nvSpPr>
          <p:spPr>
            <a:xfrm>
              <a:off x="5426951" y="1992879"/>
              <a:ext cx="849658" cy="732464"/>
            </a:xfrm>
            <a:prstGeom prst="hexagon">
              <a:avLst/>
            </a:prstGeom>
            <a:gradFill>
              <a:gsLst>
                <a:gs pos="0">
                  <a:srgbClr val="395A9B"/>
                </a:gs>
                <a:gs pos="100000">
                  <a:srgbClr val="4B69A6"/>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49" name="Hexagon 48">
              <a:extLst>
                <a:ext uri="{FF2B5EF4-FFF2-40B4-BE49-F238E27FC236}">
                  <a16:creationId xmlns:a16="http://schemas.microsoft.com/office/drawing/2014/main" id="{10EB51F6-B4B3-41ED-A209-84ADC6000DBF}"/>
                </a:ext>
              </a:extLst>
            </p:cNvPr>
            <p:cNvSpPr/>
            <p:nvPr/>
          </p:nvSpPr>
          <p:spPr>
            <a:xfrm>
              <a:off x="3100020" y="1992879"/>
              <a:ext cx="849658" cy="732464"/>
            </a:xfrm>
            <a:prstGeom prst="hexagon">
              <a:avLst/>
            </a:prstGeom>
            <a:gradFill>
              <a:gsLst>
                <a:gs pos="0">
                  <a:srgbClr val="0888A1"/>
                </a:gs>
                <a:gs pos="100000">
                  <a:srgbClr val="1FA2BC"/>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50" name="Hexagon 49">
              <a:extLst>
                <a:ext uri="{FF2B5EF4-FFF2-40B4-BE49-F238E27FC236}">
                  <a16:creationId xmlns:a16="http://schemas.microsoft.com/office/drawing/2014/main" id="{3AC2A376-414C-43EA-AE3E-AF5D2D459B3B}"/>
                </a:ext>
              </a:extLst>
            </p:cNvPr>
            <p:cNvSpPr/>
            <p:nvPr/>
          </p:nvSpPr>
          <p:spPr>
            <a:xfrm>
              <a:off x="773089" y="1992879"/>
              <a:ext cx="849658" cy="732464"/>
            </a:xfrm>
            <a:prstGeom prst="hexagon">
              <a:avLst/>
            </a:prstGeom>
            <a:gradFill>
              <a:gsLst>
                <a:gs pos="0">
                  <a:srgbClr val="839FAD"/>
                </a:gs>
                <a:gs pos="100000">
                  <a:srgbClr val="9BB7C4"/>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51" name="Hexagon 50">
              <a:extLst>
                <a:ext uri="{FF2B5EF4-FFF2-40B4-BE49-F238E27FC236}">
                  <a16:creationId xmlns:a16="http://schemas.microsoft.com/office/drawing/2014/main" id="{8800B292-0AEB-4E7E-97AB-06B470ED3023}"/>
                </a:ext>
              </a:extLst>
            </p:cNvPr>
            <p:cNvSpPr/>
            <p:nvPr/>
          </p:nvSpPr>
          <p:spPr>
            <a:xfrm>
              <a:off x="4245262" y="2709236"/>
              <a:ext cx="849658" cy="732464"/>
            </a:xfrm>
            <a:prstGeom prst="hexagon">
              <a:avLst/>
            </a:prstGeom>
            <a:gradFill>
              <a:gsLst>
                <a:gs pos="0">
                  <a:srgbClr val="076EA1"/>
                </a:gs>
                <a:gs pos="100000">
                  <a:srgbClr val="2088BC"/>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52" name="Hexagon 51">
              <a:extLst>
                <a:ext uri="{FF2B5EF4-FFF2-40B4-BE49-F238E27FC236}">
                  <a16:creationId xmlns:a16="http://schemas.microsoft.com/office/drawing/2014/main" id="{C2528B8E-C5A2-44B4-B9E9-8872FE527EF6}"/>
                </a:ext>
              </a:extLst>
            </p:cNvPr>
            <p:cNvSpPr/>
            <p:nvPr/>
          </p:nvSpPr>
          <p:spPr>
            <a:xfrm>
              <a:off x="1954778" y="2709236"/>
              <a:ext cx="849658" cy="732464"/>
            </a:xfrm>
            <a:prstGeom prst="hexagon">
              <a:avLst/>
            </a:prstGeom>
            <a:gradFill>
              <a:gsLst>
                <a:gs pos="0">
                  <a:srgbClr val="03A3A3"/>
                </a:gs>
                <a:gs pos="100000">
                  <a:srgbClr val="10BFBF"/>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grpSp>
      <p:pic>
        <p:nvPicPr>
          <p:cNvPr id="4" name="Picture 3" descr="A picture containing object, indoor, wall, sitting&#10;&#10;Description automatically generated">
            <a:extLst>
              <a:ext uri="{FF2B5EF4-FFF2-40B4-BE49-F238E27FC236}">
                <a16:creationId xmlns:a16="http://schemas.microsoft.com/office/drawing/2014/main" id="{180D600B-1DB9-4D91-A296-3D50F332AFE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12735" y="2704541"/>
            <a:ext cx="992439" cy="1178879"/>
          </a:xfrm>
          <a:prstGeom prst="rect">
            <a:avLst/>
          </a:prstGeom>
          <a:effectLst>
            <a:reflection blurRad="6350" stA="52000" endA="300" endPos="18000" dir="5400000" sy="-100000" algn="bl" rotWithShape="0"/>
          </a:effectLst>
        </p:spPr>
      </p:pic>
      <p:pic>
        <p:nvPicPr>
          <p:cNvPr id="56" name="Picture 55">
            <a:extLst>
              <a:ext uri="{FF2B5EF4-FFF2-40B4-BE49-F238E27FC236}">
                <a16:creationId xmlns:a16="http://schemas.microsoft.com/office/drawing/2014/main" id="{0C985A19-5CAE-45CB-907D-6D699F474DB1}"/>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068954" y="2829118"/>
            <a:ext cx="1115033" cy="1026339"/>
          </a:xfrm>
          <a:prstGeom prst="rect">
            <a:avLst/>
          </a:prstGeom>
          <a:effectLst>
            <a:outerShdw blurRad="76200" dir="18900000" sy="23000" kx="-1200000" algn="bl" rotWithShape="0">
              <a:prstClr val="black">
                <a:alpha val="20000"/>
              </a:prstClr>
            </a:outerShdw>
            <a:reflection blurRad="6350" stA="52000" endA="300" endPos="23000" dir="5400000" sy="-100000" algn="bl" rotWithShape="0"/>
          </a:effectLst>
        </p:spPr>
      </p:pic>
      <p:pic>
        <p:nvPicPr>
          <p:cNvPr id="58" name="Picture 57">
            <a:extLst>
              <a:ext uri="{FF2B5EF4-FFF2-40B4-BE49-F238E27FC236}">
                <a16:creationId xmlns:a16="http://schemas.microsoft.com/office/drawing/2014/main" id="{4579DD6E-C9B7-44E6-8618-449DEDF11660}"/>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2672713" y="3637156"/>
            <a:ext cx="971921" cy="1255724"/>
          </a:xfrm>
          <a:prstGeom prst="rect">
            <a:avLst/>
          </a:prstGeom>
          <a:effectLst>
            <a:outerShdw blurRad="76200" dir="18900000" sy="23000" kx="-1200000" algn="bl" rotWithShape="0">
              <a:prstClr val="black">
                <a:alpha val="20000"/>
              </a:prstClr>
            </a:outerShdw>
            <a:reflection blurRad="6350" stA="52000" endA="300" endPos="23000" dir="5400000" sy="-100000" algn="bl" rotWithShape="0"/>
          </a:effectLst>
        </p:spPr>
      </p:pic>
      <p:pic>
        <p:nvPicPr>
          <p:cNvPr id="61" name="Picture 2">
            <a:extLst>
              <a:ext uri="{FF2B5EF4-FFF2-40B4-BE49-F238E27FC236}">
                <a16:creationId xmlns:a16="http://schemas.microsoft.com/office/drawing/2014/main" id="{03466551-B3B9-4111-B8A2-BCBFB3952EC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p:blipFill>
        <p:spPr bwMode="auto">
          <a:xfrm>
            <a:off x="5619699" y="3786907"/>
            <a:ext cx="1318792" cy="976619"/>
          </a:xfrm>
          <a:prstGeom prst="rect">
            <a:avLst/>
          </a:prstGeom>
          <a:effectLst>
            <a:outerShdw blurRad="76200" dir="18900000" sy="23000" kx="-1200000" algn="bl" rotWithShape="0">
              <a:prstClr val="black">
                <a:alpha val="20000"/>
              </a:prstClr>
            </a:outerShdw>
            <a:reflection blurRad="6350" stA="52000" endA="300" endPos="23000" dir="5400000" sy="-100000" algn="bl" rotWithShape="0"/>
          </a:effectLst>
          <a:extLst>
            <a:ext uri="{909E8E84-426E-40DD-AFC4-6F175D3DCCD1}">
              <a14:hiddenFill xmlns:a14="http://schemas.microsoft.com/office/drawing/2010/main">
                <a:solidFill>
                  <a:srgbClr val="FFFFFF"/>
                </a:solidFill>
              </a14:hiddenFill>
            </a:ext>
          </a:extLst>
        </p:spPr>
      </p:pic>
      <p:pic>
        <p:nvPicPr>
          <p:cNvPr id="63" name="Picture 2">
            <a:extLst>
              <a:ext uri="{FF2B5EF4-FFF2-40B4-BE49-F238E27FC236}">
                <a16:creationId xmlns:a16="http://schemas.microsoft.com/office/drawing/2014/main" id="{5E040D36-38A5-4B28-BE8C-3C5D5257197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p:blipFill>
        <p:spPr bwMode="auto">
          <a:xfrm>
            <a:off x="8250933" y="4126282"/>
            <a:ext cx="2269128" cy="512517"/>
          </a:xfrm>
          <a:prstGeom prst="rect">
            <a:avLst/>
          </a:prstGeom>
          <a:effectLst>
            <a:outerShdw blurRad="76200" dir="18900000" sy="23000" kx="-1200000" algn="bl" rotWithShape="0">
              <a:prstClr val="black">
                <a:alpha val="20000"/>
              </a:prstClr>
            </a:outerShdw>
            <a:reflection blurRad="6350" stA="52000" endA="300" endPos="23000" dir="5400000" sy="-100000" algn="bl" rotWithShape="0"/>
          </a:effectLst>
          <a:extLst>
            <a:ext uri="{909E8E84-426E-40DD-AFC4-6F175D3DCCD1}">
              <a14:hiddenFill xmlns:a14="http://schemas.microsoft.com/office/drawing/2010/main">
                <a:solidFill>
                  <a:srgbClr val="FFFFFF"/>
                </a:solidFill>
              </a14:hiddenFill>
            </a:ext>
          </a:extLst>
        </p:spPr>
      </p:pic>
      <p:pic>
        <p:nvPicPr>
          <p:cNvPr id="26" name="machine">
            <a:extLst>
              <a:ext uri="{FF2B5EF4-FFF2-40B4-BE49-F238E27FC236}">
                <a16:creationId xmlns:a16="http://schemas.microsoft.com/office/drawing/2014/main" id="{3481EF7A-3073-4D7D-97E3-5B9862AE38F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146009" y="2956455"/>
            <a:ext cx="999460" cy="877527"/>
          </a:xfrm>
          <a:prstGeom prst="rect">
            <a:avLst/>
          </a:prstGeom>
        </p:spPr>
      </p:pic>
      <p:pic>
        <p:nvPicPr>
          <p:cNvPr id="27" name="patch" descr="Image result for drug delivery patch transdermal">
            <a:extLst>
              <a:ext uri="{FF2B5EF4-FFF2-40B4-BE49-F238E27FC236}">
                <a16:creationId xmlns:a16="http://schemas.microsoft.com/office/drawing/2014/main" id="{7DC1481C-EADB-4351-BEC7-7AABD3F64219}"/>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3373" r="15592"/>
          <a:stretch/>
        </p:blipFill>
        <p:spPr bwMode="auto">
          <a:xfrm>
            <a:off x="10385596" y="2916932"/>
            <a:ext cx="953992" cy="796445"/>
          </a:xfrm>
          <a:prstGeom prst="rect">
            <a:avLst/>
          </a:prstGeom>
          <a:effectLst>
            <a:reflection blurRad="6350" stA="52000" endA="300" endPos="18000" dir="5400000" sy="-100000" algn="bl" rotWithShape="0"/>
          </a:effectLst>
          <a:extLst>
            <a:ext uri="{909E8E84-426E-40dd-AFC4-6F175D3DCCD1}">
              <a14:hiddenFill xmlns:a14="http://schemas.microsoft.com/office/drawing/2010/main" xmlns="">
                <a:solidFill>
                  <a:srgbClr val="FFFFFF"/>
                </a:solidFill>
              </a14:hiddenFill>
            </a:ext>
          </a:extLst>
        </p:spPr>
      </p:pic>
      <p:pic>
        <p:nvPicPr>
          <p:cNvPr id="29" name="dna strand" descr="Image result for dna straND ICON">
            <a:extLst>
              <a:ext uri="{FF2B5EF4-FFF2-40B4-BE49-F238E27FC236}">
                <a16:creationId xmlns:a16="http://schemas.microsoft.com/office/drawing/2014/main" id="{C2E53B09-63E8-4DDA-9F3B-7F5D2DDB1CF3}"/>
              </a:ext>
            </a:extLst>
          </p:cNvPr>
          <p:cNvPicPr>
            <a:picLocks noChangeAspect="1" noChangeArrowheads="1"/>
          </p:cNvPicPr>
          <p:nvPr/>
        </p:nvPicPr>
        <p:blipFill rotWithShape="1">
          <a:blip r:embed="rId12" cstate="print">
            <a:clrChange>
              <a:clrFrom>
                <a:srgbClr val="FFFFFF"/>
              </a:clrFrom>
              <a:clrTo>
                <a:srgbClr val="FFFFFF">
                  <a:alpha val="0"/>
                </a:srgbClr>
              </a:clrTo>
            </a:clrChange>
            <a:duotone>
              <a:prstClr val="black"/>
              <a:schemeClr val="accent4">
                <a:tint val="45000"/>
                <a:satMod val="400000"/>
              </a:schemeClr>
            </a:duotone>
            <a:extLst>
              <a:ext uri="{28A0092B-C50C-407E-A947-70E740481C1C}">
                <a14:useLocalDpi xmlns:a14="http://schemas.microsoft.com/office/drawing/2010/main" val="0"/>
              </a:ext>
            </a:extLst>
          </a:blip>
          <a:srcRect l="21200" t="20371" r="21007" b="26296"/>
          <a:stretch/>
        </p:blipFill>
        <p:spPr bwMode="auto">
          <a:xfrm rot="21240979">
            <a:off x="4823629" y="3538533"/>
            <a:ext cx="491255" cy="489616"/>
          </a:xfrm>
          <a:prstGeom prst="rect">
            <a:avLst/>
          </a:prstGeom>
          <a:extLst>
            <a:ext uri="{909E8E84-426E-40DD-AFC4-6F175D3DCCD1}">
              <a14:hiddenFill xmlns:a14="http://schemas.microsoft.com/office/drawing/2010/main">
                <a:solidFill>
                  <a:srgbClr val="FFFFFF"/>
                </a:solidFill>
              </a14:hiddenFill>
            </a:ext>
          </a:extLst>
        </p:spPr>
      </p:pic>
      <p:pic>
        <p:nvPicPr>
          <p:cNvPr id="30" name="dna strand" descr="Image result for dna straND ICON">
            <a:extLst>
              <a:ext uri="{FF2B5EF4-FFF2-40B4-BE49-F238E27FC236}">
                <a16:creationId xmlns:a16="http://schemas.microsoft.com/office/drawing/2014/main" id="{646096BE-7C4D-4244-8D01-3A70E78A06F5}"/>
              </a:ext>
            </a:extLst>
          </p:cNvPr>
          <p:cNvPicPr>
            <a:picLocks noChangeAspect="1" noChangeArrowheads="1"/>
          </p:cNvPicPr>
          <p:nvPr/>
        </p:nvPicPr>
        <p:blipFill rotWithShape="1">
          <a:blip r:embed="rId12" cstate="print">
            <a:clrChange>
              <a:clrFrom>
                <a:srgbClr val="FFFFFF"/>
              </a:clrFrom>
              <a:clrTo>
                <a:srgbClr val="FFFFFF">
                  <a:alpha val="0"/>
                </a:srgbClr>
              </a:clrTo>
            </a:clrChange>
            <a:duotone>
              <a:prstClr val="black"/>
              <a:schemeClr val="accent4">
                <a:tint val="45000"/>
                <a:satMod val="400000"/>
              </a:schemeClr>
            </a:duotone>
            <a:extLst>
              <a:ext uri="{28A0092B-C50C-407E-A947-70E740481C1C}">
                <a14:useLocalDpi xmlns:a14="http://schemas.microsoft.com/office/drawing/2010/main" val="0"/>
              </a:ext>
            </a:extLst>
          </a:blip>
          <a:srcRect l="21200" t="20371" r="21007" b="26296"/>
          <a:stretch/>
        </p:blipFill>
        <p:spPr bwMode="auto">
          <a:xfrm rot="19437112">
            <a:off x="4676155" y="3508471"/>
            <a:ext cx="491255" cy="489616"/>
          </a:xfrm>
          <a:prstGeom prst="rect">
            <a:avLst/>
          </a:prstGeom>
          <a:extLst>
            <a:ext uri="{909E8E84-426E-40DD-AFC4-6F175D3DCCD1}">
              <a14:hiddenFill xmlns:a14="http://schemas.microsoft.com/office/drawing/2010/main">
                <a:solidFill>
                  <a:srgbClr val="FFFFFF"/>
                </a:solidFill>
              </a14:hiddenFill>
            </a:ext>
          </a:extLst>
        </p:spPr>
      </p:pic>
      <p:sp>
        <p:nvSpPr>
          <p:cNvPr id="5" name="Slide Number Placeholder 4">
            <a:extLst>
              <a:ext uri="{FF2B5EF4-FFF2-40B4-BE49-F238E27FC236}">
                <a16:creationId xmlns:a16="http://schemas.microsoft.com/office/drawing/2014/main" id="{58102D19-37E4-44B3-AB4E-3B8330975F9D}"/>
              </a:ext>
            </a:extLst>
          </p:cNvPr>
          <p:cNvSpPr>
            <a:spLocks noGrp="1"/>
          </p:cNvSpPr>
          <p:nvPr>
            <p:ph type="sldNum" sz="quarter" idx="12"/>
          </p:nvPr>
        </p:nvSpPr>
        <p:spPr/>
        <p:txBody>
          <a:bodyPr/>
          <a:lstStyle/>
          <a:p>
            <a:fld id="{D1541BB9-6530-43D2-B7E0-33A89042A350}" type="slidenum">
              <a:rPr lang="en-US" smtClean="0"/>
              <a:t>35</a:t>
            </a:fld>
            <a:endParaRPr lang="en-US"/>
          </a:p>
        </p:txBody>
      </p:sp>
    </p:spTree>
    <p:extLst>
      <p:ext uri="{BB962C8B-B14F-4D97-AF65-F5344CB8AC3E}">
        <p14:creationId xmlns:p14="http://schemas.microsoft.com/office/powerpoint/2010/main" val="9301220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1B9B5D-A227-49A1-9928-697D6CA6A983}"/>
              </a:ext>
            </a:extLst>
          </p:cNvPr>
          <p:cNvSpPr>
            <a:spLocks noGrp="1"/>
          </p:cNvSpPr>
          <p:nvPr>
            <p:ph type="title"/>
          </p:nvPr>
        </p:nvSpPr>
        <p:spPr>
          <a:xfrm>
            <a:off x="558281" y="320366"/>
            <a:ext cx="11036305" cy="454075"/>
          </a:xfrm>
        </p:spPr>
        <p:txBody>
          <a:bodyPr>
            <a:normAutofit fontScale="90000"/>
          </a:bodyPr>
          <a:lstStyle/>
          <a:p>
            <a:pPr algn="ctr"/>
            <a:r>
              <a:rPr lang="en-US" dirty="0">
                <a:solidFill>
                  <a:schemeClr val="bg1"/>
                </a:solidFill>
              </a:rPr>
              <a:t>Vaccines and Future Vaccination Technologies</a:t>
            </a:r>
          </a:p>
        </p:txBody>
      </p:sp>
      <p:pic>
        <p:nvPicPr>
          <p:cNvPr id="3074" name="Picture 2" descr="Image result for medical patches">
            <a:extLst>
              <a:ext uri="{FF2B5EF4-FFF2-40B4-BE49-F238E27FC236}">
                <a16:creationId xmlns:a16="http://schemas.microsoft.com/office/drawing/2014/main" id="{F1F17E61-B03C-43D7-877A-538A8F5EAC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3142" y="1300239"/>
            <a:ext cx="2474005" cy="1649676"/>
          </a:xfrm>
          <a:prstGeom prst="rect">
            <a:avLst/>
          </a:prstGeom>
          <a:noFill/>
          <a:extLst>
            <a:ext uri="{909E8E84-426E-40dd-AFC4-6F175D3DCCD1}">
              <a14:hiddenFill xmlns="" xmlns:a14="http://schemas.microsoft.com/office/drawing/2010/main">
                <a:solidFill>
                  <a:srgbClr val="FFFFFF"/>
                </a:solidFill>
              </a14:hiddenFill>
            </a:ext>
          </a:extLst>
        </p:spPr>
      </p:pic>
      <p:pic>
        <p:nvPicPr>
          <p:cNvPr id="3076" name="Picture 4" descr="Image result for implantable medical devices">
            <a:extLst>
              <a:ext uri="{FF2B5EF4-FFF2-40B4-BE49-F238E27FC236}">
                <a16:creationId xmlns:a16="http://schemas.microsoft.com/office/drawing/2014/main" id="{D03202A2-1217-4959-944E-0861A65D87A0}"/>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21068" b="20544"/>
          <a:stretch/>
        </p:blipFill>
        <p:spPr bwMode="auto">
          <a:xfrm>
            <a:off x="653141" y="3109001"/>
            <a:ext cx="2496456" cy="1212247"/>
          </a:xfrm>
          <a:prstGeom prst="rect">
            <a:avLst/>
          </a:prstGeom>
          <a:noFill/>
          <a:extLst>
            <a:ext uri="{909E8E84-426E-40dd-AFC4-6F175D3DCCD1}">
              <a14:hiddenFill xmlns="" xmlns:a14="http://schemas.microsoft.com/office/drawing/2010/main">
                <a:solidFill>
                  <a:srgbClr val="FFFFFF"/>
                </a:solidFill>
              </a14:hiddenFill>
            </a:ext>
          </a:extLst>
        </p:spPr>
      </p:pic>
      <p:pic>
        <p:nvPicPr>
          <p:cNvPr id="3078" name="Picture 6" descr="Related image">
            <a:extLst>
              <a:ext uri="{FF2B5EF4-FFF2-40B4-BE49-F238E27FC236}">
                <a16:creationId xmlns:a16="http://schemas.microsoft.com/office/drawing/2014/main" id="{39158A38-913E-486F-A82B-0634CC5F9EA7}"/>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r="22162" b="22294"/>
          <a:stretch/>
        </p:blipFill>
        <p:spPr bwMode="auto">
          <a:xfrm>
            <a:off x="653143" y="4480334"/>
            <a:ext cx="2496456" cy="1399485"/>
          </a:xfrm>
          <a:prstGeom prst="rect">
            <a:avLst/>
          </a:prstGeom>
          <a:noFill/>
          <a:extLst>
            <a:ext uri="{909E8E84-426E-40dd-AFC4-6F175D3DCCD1}">
              <a14:hiddenFill xmlns="" xmlns:a14="http://schemas.microsoft.com/office/drawing/2010/main">
                <a:solidFill>
                  <a:srgbClr val="FFFFFF"/>
                </a:solidFill>
              </a14:hiddenFill>
            </a:ext>
          </a:extLst>
        </p:spPr>
      </p:pic>
      <p:pic>
        <p:nvPicPr>
          <p:cNvPr id="3080" name="Picture 8" descr="Image result for future medical tattoos">
            <a:extLst>
              <a:ext uri="{FF2B5EF4-FFF2-40B4-BE49-F238E27FC236}">
                <a16:creationId xmlns:a16="http://schemas.microsoft.com/office/drawing/2014/main" id="{8699C686-DA34-402F-AE8F-5B010D90493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7635" t="34760" r="22286" b="22769"/>
          <a:stretch/>
        </p:blipFill>
        <p:spPr bwMode="auto">
          <a:xfrm>
            <a:off x="3352800" y="1300239"/>
            <a:ext cx="2496456" cy="1143000"/>
          </a:xfrm>
          <a:prstGeom prst="rect">
            <a:avLst/>
          </a:prstGeom>
          <a:noFill/>
          <a:extLst>
            <a:ext uri="{909E8E84-426E-40dd-AFC4-6F175D3DCCD1}">
              <a14:hiddenFill xmlns=""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75A19F4B-84C6-418D-A8C6-780E25A993D1}"/>
              </a:ext>
            </a:extLst>
          </p:cNvPr>
          <p:cNvSpPr/>
          <p:nvPr/>
        </p:nvSpPr>
        <p:spPr>
          <a:xfrm>
            <a:off x="7643369" y="1262161"/>
            <a:ext cx="3743845" cy="379656"/>
          </a:xfrm>
          <a:prstGeom prst="rect">
            <a:avLst/>
          </a:prstGeom>
        </p:spPr>
        <p:txBody>
          <a:bodyPr wrap="none">
            <a:spAutoFit/>
          </a:bodyPr>
          <a:lstStyle/>
          <a:p>
            <a:pPr defTabSz="976798"/>
            <a:r>
              <a:rPr lang="en-US" sz="1867" b="1" u="sng" dirty="0">
                <a:solidFill>
                  <a:srgbClr val="000104"/>
                </a:solidFill>
                <a:latin typeface="Arial"/>
              </a:rPr>
              <a:t>TECHNOLOGIES TO IMPROVE:</a:t>
            </a:r>
          </a:p>
        </p:txBody>
      </p:sp>
      <p:sp>
        <p:nvSpPr>
          <p:cNvPr id="12" name="Rectangle 11">
            <a:extLst>
              <a:ext uri="{FF2B5EF4-FFF2-40B4-BE49-F238E27FC236}">
                <a16:creationId xmlns:a16="http://schemas.microsoft.com/office/drawing/2014/main" id="{91D03729-E86E-44D0-89CC-1A791020DFFB}"/>
              </a:ext>
            </a:extLst>
          </p:cNvPr>
          <p:cNvSpPr/>
          <p:nvPr/>
        </p:nvSpPr>
        <p:spPr>
          <a:xfrm>
            <a:off x="9455830" y="2177391"/>
            <a:ext cx="1986441" cy="502766"/>
          </a:xfrm>
          <a:prstGeom prst="rect">
            <a:avLst/>
          </a:prstGeom>
          <a:solidFill>
            <a:schemeClr val="bg1"/>
          </a:solidFill>
        </p:spPr>
        <p:txBody>
          <a:bodyPr wrap="none">
            <a:spAutoFit/>
          </a:bodyPr>
          <a:lstStyle/>
          <a:p>
            <a:pPr defTabSz="976798"/>
            <a:r>
              <a:rPr lang="en-US" sz="2667" b="1" dirty="0">
                <a:solidFill>
                  <a:srgbClr val="C00000"/>
                </a:solidFill>
                <a:latin typeface="Arial"/>
              </a:rPr>
              <a:t>Production</a:t>
            </a:r>
          </a:p>
        </p:txBody>
      </p:sp>
      <p:pic>
        <p:nvPicPr>
          <p:cNvPr id="3086" name="Picture 14" descr="Image result for future medical production">
            <a:extLst>
              <a:ext uri="{FF2B5EF4-FFF2-40B4-BE49-F238E27FC236}">
                <a16:creationId xmlns:a16="http://schemas.microsoft.com/office/drawing/2014/main" id="{DDE22D3A-CA98-4AD0-B72F-E0B02F60BF54}"/>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9628"/>
          <a:stretch/>
        </p:blipFill>
        <p:spPr bwMode="auto">
          <a:xfrm>
            <a:off x="3328609" y="2578764"/>
            <a:ext cx="2496456" cy="1692065"/>
          </a:xfrm>
          <a:prstGeom prst="rect">
            <a:avLst/>
          </a:prstGeom>
          <a:noFill/>
          <a:extLst>
            <a:ext uri="{909E8E84-426E-40dd-AFC4-6F175D3DCCD1}">
              <a14:hiddenFill xmlns="" xmlns:a14="http://schemas.microsoft.com/office/drawing/2010/main">
                <a:solidFill>
                  <a:srgbClr val="FFFFFF"/>
                </a:solidFill>
              </a14:hiddenFill>
            </a:ext>
          </a:extLst>
        </p:spPr>
      </p:pic>
      <p:pic>
        <p:nvPicPr>
          <p:cNvPr id="3082" name="Picture 10" descr="Image result for time going fast">
            <a:extLst>
              <a:ext uri="{FF2B5EF4-FFF2-40B4-BE49-F238E27FC236}">
                <a16:creationId xmlns:a16="http://schemas.microsoft.com/office/drawing/2014/main" id="{CA1D40D7-2135-40D2-A6F8-FCE717B51F9D}"/>
              </a:ext>
            </a:extLst>
          </p:cNvPr>
          <p:cNvPicPr>
            <a:picLocks noChangeAspect="1" noChangeArrowheads="1"/>
          </p:cNvPicPr>
          <p:nvPr/>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t="1" b="-9528"/>
          <a:stretch/>
        </p:blipFill>
        <p:spPr bwMode="auto">
          <a:xfrm>
            <a:off x="3274480" y="4406353"/>
            <a:ext cx="2574777" cy="1692065"/>
          </a:xfrm>
          <a:prstGeom prst="rect">
            <a:avLst/>
          </a:prstGeom>
          <a:noFill/>
          <a:extLst>
            <a:ext uri="{909E8E84-426E-40dd-AFC4-6F175D3DCCD1}">
              <a14:hiddenFill xmlns=""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839A44FF-D2ED-453A-9587-87B26633670C}"/>
              </a:ext>
            </a:extLst>
          </p:cNvPr>
          <p:cNvCxnSpPr/>
          <p:nvPr/>
        </p:nvCxnSpPr>
        <p:spPr>
          <a:xfrm>
            <a:off x="6502400" y="1613892"/>
            <a:ext cx="0" cy="3981112"/>
          </a:xfrm>
          <a:prstGeom prst="line">
            <a:avLst/>
          </a:prstGeom>
        </p:spPr>
        <p:style>
          <a:lnRef idx="2">
            <a:schemeClr val="dk1"/>
          </a:lnRef>
          <a:fillRef idx="0">
            <a:schemeClr val="dk1"/>
          </a:fillRef>
          <a:effectRef idx="1">
            <a:schemeClr val="dk1"/>
          </a:effectRef>
          <a:fontRef idx="minor">
            <a:schemeClr val="tx1"/>
          </a:fontRef>
        </p:style>
      </p:cxnSp>
      <p:pic>
        <p:nvPicPr>
          <p:cNvPr id="10" name="Graphic 9">
            <a:extLst>
              <a:ext uri="{FF2B5EF4-FFF2-40B4-BE49-F238E27FC236}">
                <a16:creationId xmlns:a16="http://schemas.microsoft.com/office/drawing/2014/main" id="{845BFD67-4585-4277-888F-D8612551B33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190120" y="1872631"/>
            <a:ext cx="1600537" cy="1077284"/>
          </a:xfrm>
          <a:prstGeom prst="rect">
            <a:avLst/>
          </a:prstGeom>
        </p:spPr>
      </p:pic>
      <p:pic>
        <p:nvPicPr>
          <p:cNvPr id="16" name="Picture 15">
            <a:extLst>
              <a:ext uri="{FF2B5EF4-FFF2-40B4-BE49-F238E27FC236}">
                <a16:creationId xmlns:a16="http://schemas.microsoft.com/office/drawing/2014/main" id="{F5F90591-06E9-4EC7-B297-BA7F2263CF22}"/>
              </a:ext>
            </a:extLst>
          </p:cNvPr>
          <p:cNvPicPr>
            <a:picLocks noChangeAspect="1"/>
          </p:cNvPicPr>
          <p:nvPr/>
        </p:nvPicPr>
        <p:blipFill>
          <a:blip r:embed="rId11"/>
          <a:stretch>
            <a:fillRect/>
          </a:stretch>
        </p:blipFill>
        <p:spPr>
          <a:xfrm>
            <a:off x="6678150" y="4725366"/>
            <a:ext cx="1404801" cy="719124"/>
          </a:xfrm>
          <a:prstGeom prst="rect">
            <a:avLst/>
          </a:prstGeom>
        </p:spPr>
      </p:pic>
      <p:pic>
        <p:nvPicPr>
          <p:cNvPr id="19" name="Picture 18">
            <a:extLst>
              <a:ext uri="{FF2B5EF4-FFF2-40B4-BE49-F238E27FC236}">
                <a16:creationId xmlns:a16="http://schemas.microsoft.com/office/drawing/2014/main" id="{27B7DB9F-A3E8-490C-A5B2-07C33FDD36F2}"/>
              </a:ext>
            </a:extLst>
          </p:cNvPr>
          <p:cNvPicPr>
            <a:picLocks noChangeAspect="1"/>
          </p:cNvPicPr>
          <p:nvPr/>
        </p:nvPicPr>
        <p:blipFill>
          <a:blip r:embed="rId12"/>
          <a:stretch>
            <a:fillRect/>
          </a:stretch>
        </p:blipFill>
        <p:spPr>
          <a:xfrm>
            <a:off x="7694149" y="4836170"/>
            <a:ext cx="1365779" cy="891937"/>
          </a:xfrm>
          <a:prstGeom prst="rect">
            <a:avLst/>
          </a:prstGeom>
        </p:spPr>
      </p:pic>
      <p:sp>
        <p:nvSpPr>
          <p:cNvPr id="28" name="Rectangle 27">
            <a:extLst>
              <a:ext uri="{FF2B5EF4-FFF2-40B4-BE49-F238E27FC236}">
                <a16:creationId xmlns:a16="http://schemas.microsoft.com/office/drawing/2014/main" id="{A4000A09-8A93-49EA-9B74-904BB975C043}"/>
              </a:ext>
            </a:extLst>
          </p:cNvPr>
          <p:cNvSpPr/>
          <p:nvPr/>
        </p:nvSpPr>
        <p:spPr>
          <a:xfrm>
            <a:off x="9400259" y="3533913"/>
            <a:ext cx="2100255" cy="502766"/>
          </a:xfrm>
          <a:prstGeom prst="rect">
            <a:avLst/>
          </a:prstGeom>
          <a:solidFill>
            <a:schemeClr val="bg1"/>
          </a:solidFill>
        </p:spPr>
        <p:txBody>
          <a:bodyPr wrap="none">
            <a:spAutoFit/>
          </a:bodyPr>
          <a:lstStyle/>
          <a:p>
            <a:pPr defTabSz="976798"/>
            <a:r>
              <a:rPr lang="en-US" sz="2667" b="1" dirty="0">
                <a:solidFill>
                  <a:srgbClr val="C00000"/>
                </a:solidFill>
                <a:latin typeface="Arial"/>
              </a:rPr>
              <a:t>Distribution</a:t>
            </a:r>
          </a:p>
        </p:txBody>
      </p:sp>
      <p:sp>
        <p:nvSpPr>
          <p:cNvPr id="29" name="Rectangle 28">
            <a:extLst>
              <a:ext uri="{FF2B5EF4-FFF2-40B4-BE49-F238E27FC236}">
                <a16:creationId xmlns:a16="http://schemas.microsoft.com/office/drawing/2014/main" id="{547BF1B8-02A5-4529-9DB2-110654105461}"/>
              </a:ext>
            </a:extLst>
          </p:cNvPr>
          <p:cNvSpPr/>
          <p:nvPr/>
        </p:nvSpPr>
        <p:spPr>
          <a:xfrm>
            <a:off x="9433263" y="4851401"/>
            <a:ext cx="2595582" cy="913199"/>
          </a:xfrm>
          <a:prstGeom prst="rect">
            <a:avLst/>
          </a:prstGeom>
          <a:solidFill>
            <a:schemeClr val="bg1"/>
          </a:solidFill>
        </p:spPr>
        <p:txBody>
          <a:bodyPr wrap="none">
            <a:spAutoFit/>
          </a:bodyPr>
          <a:lstStyle/>
          <a:p>
            <a:pPr defTabSz="976798"/>
            <a:r>
              <a:rPr lang="en-US" sz="2667" b="1" dirty="0">
                <a:solidFill>
                  <a:srgbClr val="C00000"/>
                </a:solidFill>
                <a:latin typeface="Arial"/>
              </a:rPr>
              <a:t>Delivery/</a:t>
            </a:r>
          </a:p>
          <a:p>
            <a:pPr defTabSz="976798"/>
            <a:r>
              <a:rPr lang="en-US" sz="2667" b="1" dirty="0">
                <a:solidFill>
                  <a:srgbClr val="C00000"/>
                </a:solidFill>
                <a:latin typeface="Arial"/>
              </a:rPr>
              <a:t>Administration</a:t>
            </a:r>
          </a:p>
        </p:txBody>
      </p:sp>
      <p:pic>
        <p:nvPicPr>
          <p:cNvPr id="22" name="Graphic 21">
            <a:extLst>
              <a:ext uri="{FF2B5EF4-FFF2-40B4-BE49-F238E27FC236}">
                <a16:creationId xmlns:a16="http://schemas.microsoft.com/office/drawing/2014/main" id="{4CB90E9E-95F4-4ECE-BD9A-85EDE97F683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358527" y="3197940"/>
            <a:ext cx="921181" cy="891937"/>
          </a:xfrm>
          <a:prstGeom prst="rect">
            <a:avLst/>
          </a:prstGeom>
        </p:spPr>
      </p:pic>
      <p:pic>
        <p:nvPicPr>
          <p:cNvPr id="23" name="Graphic 22">
            <a:extLst>
              <a:ext uri="{FF2B5EF4-FFF2-40B4-BE49-F238E27FC236}">
                <a16:creationId xmlns:a16="http://schemas.microsoft.com/office/drawing/2014/main" id="{76F7CF0E-D477-4D2C-AF2E-B4C4FE93E8B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889295" y="3533914"/>
            <a:ext cx="617656" cy="615437"/>
          </a:xfrm>
          <a:prstGeom prst="rect">
            <a:avLst/>
          </a:prstGeom>
        </p:spPr>
      </p:pic>
      <p:sp>
        <p:nvSpPr>
          <p:cNvPr id="6" name="Slide Number Placeholder 5">
            <a:extLst>
              <a:ext uri="{FF2B5EF4-FFF2-40B4-BE49-F238E27FC236}">
                <a16:creationId xmlns:a16="http://schemas.microsoft.com/office/drawing/2014/main" id="{A3DA0976-6FC2-4BB6-BBCF-C7355B5520C3}"/>
              </a:ext>
            </a:extLst>
          </p:cNvPr>
          <p:cNvSpPr>
            <a:spLocks noGrp="1"/>
          </p:cNvSpPr>
          <p:nvPr>
            <p:ph type="sldNum" sz="quarter" idx="12"/>
          </p:nvPr>
        </p:nvSpPr>
        <p:spPr/>
        <p:txBody>
          <a:bodyPr/>
          <a:lstStyle/>
          <a:p>
            <a:fld id="{D1541BB9-6530-43D2-B7E0-33A89042A350}" type="slidenum">
              <a:rPr lang="en-US" smtClean="0"/>
              <a:t>36</a:t>
            </a:fld>
            <a:endParaRPr lang="en-US"/>
          </a:p>
        </p:txBody>
      </p:sp>
    </p:spTree>
    <p:extLst>
      <p:ext uri="{BB962C8B-B14F-4D97-AF65-F5344CB8AC3E}">
        <p14:creationId xmlns:p14="http://schemas.microsoft.com/office/powerpoint/2010/main" val="6218770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1BFB1288-E8D2-4489-B8BF-1294F524D9FC}"/>
              </a:ext>
            </a:extLst>
          </p:cNvPr>
          <p:cNvGrpSpPr/>
          <p:nvPr/>
        </p:nvGrpSpPr>
        <p:grpSpPr>
          <a:xfrm>
            <a:off x="-1" y="1727385"/>
            <a:ext cx="10603212" cy="3911244"/>
            <a:chOff x="-1" y="1295538"/>
            <a:chExt cx="7952409" cy="2933433"/>
          </a:xfrm>
        </p:grpSpPr>
        <p:pic>
          <p:nvPicPr>
            <p:cNvPr id="6" name="Graphic 5">
              <a:extLst>
                <a:ext uri="{FF2B5EF4-FFF2-40B4-BE49-F238E27FC236}">
                  <a16:creationId xmlns:a16="http://schemas.microsoft.com/office/drawing/2014/main" id="{A6F4D434-C6E3-4376-B4E4-CF8B5A0D97F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70608" y="1295538"/>
              <a:ext cx="6781800" cy="2933433"/>
            </a:xfrm>
            <a:prstGeom prst="rect">
              <a:avLst/>
            </a:prstGeom>
          </p:spPr>
        </p:pic>
        <p:sp>
          <p:nvSpPr>
            <p:cNvPr id="30" name="Rectangle 29">
              <a:extLst>
                <a:ext uri="{FF2B5EF4-FFF2-40B4-BE49-F238E27FC236}">
                  <a16:creationId xmlns:a16="http://schemas.microsoft.com/office/drawing/2014/main" id="{36B1FEAA-A1E5-495B-8F38-D5064A0FD48D}"/>
                </a:ext>
              </a:extLst>
            </p:cNvPr>
            <p:cNvSpPr/>
            <p:nvPr/>
          </p:nvSpPr>
          <p:spPr>
            <a:xfrm>
              <a:off x="-1" y="1368806"/>
              <a:ext cx="2863191" cy="1936462"/>
            </a:xfrm>
            <a:prstGeom prst="rect">
              <a:avLst/>
            </a:prstGeom>
            <a:solidFill>
              <a:srgbClr val="506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dirty="0">
                <a:solidFill>
                  <a:prstClr val="white"/>
                </a:solidFill>
                <a:latin typeface="Arial"/>
              </a:endParaRPr>
            </a:p>
          </p:txBody>
        </p:sp>
        <p:sp>
          <p:nvSpPr>
            <p:cNvPr id="34" name="Rectangle 33">
              <a:extLst>
                <a:ext uri="{FF2B5EF4-FFF2-40B4-BE49-F238E27FC236}">
                  <a16:creationId xmlns:a16="http://schemas.microsoft.com/office/drawing/2014/main" id="{8A5980FA-E4DE-4AA1-A5D6-333B2ED22497}"/>
                </a:ext>
              </a:extLst>
            </p:cNvPr>
            <p:cNvSpPr/>
            <p:nvPr/>
          </p:nvSpPr>
          <p:spPr>
            <a:xfrm>
              <a:off x="-1" y="3275715"/>
              <a:ext cx="2863191" cy="355215"/>
            </a:xfrm>
            <a:prstGeom prst="rect">
              <a:avLst/>
            </a:prstGeom>
            <a:solidFill>
              <a:srgbClr val="3040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dirty="0">
                <a:solidFill>
                  <a:prstClr val="white"/>
                </a:solidFill>
                <a:latin typeface="Arial"/>
              </a:endParaRPr>
            </a:p>
          </p:txBody>
        </p:sp>
      </p:grpSp>
      <p:sp>
        <p:nvSpPr>
          <p:cNvPr id="2" name="Title 1">
            <a:extLst>
              <a:ext uri="{FF2B5EF4-FFF2-40B4-BE49-F238E27FC236}">
                <a16:creationId xmlns:a16="http://schemas.microsoft.com/office/drawing/2014/main" id="{B6EF265B-4926-48CF-BD3F-3EAC588DF5AD}"/>
              </a:ext>
            </a:extLst>
          </p:cNvPr>
          <p:cNvSpPr>
            <a:spLocks noGrp="1"/>
          </p:cNvSpPr>
          <p:nvPr>
            <p:ph type="title"/>
          </p:nvPr>
        </p:nvSpPr>
        <p:spPr>
          <a:xfrm>
            <a:off x="558282" y="320366"/>
            <a:ext cx="11237478" cy="454075"/>
          </a:xfrm>
        </p:spPr>
        <p:txBody>
          <a:bodyPr>
            <a:normAutofit fontScale="90000"/>
          </a:bodyPr>
          <a:lstStyle/>
          <a:p>
            <a:pPr algn="ctr"/>
            <a:r>
              <a:rPr lang="en-US" sz="4000" dirty="0">
                <a:solidFill>
                  <a:schemeClr val="bg1"/>
                </a:solidFill>
              </a:rPr>
              <a:t>Early Detection: Home-Diagnostics &amp; Wearable Devices</a:t>
            </a:r>
            <a:endParaRPr lang="en-US" dirty="0">
              <a:solidFill>
                <a:schemeClr val="bg1"/>
              </a:solidFill>
            </a:endParaRPr>
          </a:p>
        </p:txBody>
      </p:sp>
      <p:sp>
        <p:nvSpPr>
          <p:cNvPr id="8" name="TextBox 7">
            <a:extLst>
              <a:ext uri="{FF2B5EF4-FFF2-40B4-BE49-F238E27FC236}">
                <a16:creationId xmlns:a16="http://schemas.microsoft.com/office/drawing/2014/main" id="{9D9B186C-D7EB-4776-A78A-A1D94004D77A}"/>
              </a:ext>
            </a:extLst>
          </p:cNvPr>
          <p:cNvSpPr txBox="1"/>
          <p:nvPr/>
        </p:nvSpPr>
        <p:spPr>
          <a:xfrm>
            <a:off x="5593936" y="3035235"/>
            <a:ext cx="1191333" cy="769634"/>
          </a:xfrm>
          <a:prstGeom prst="rect">
            <a:avLst/>
          </a:prstGeom>
          <a:noFill/>
        </p:spPr>
        <p:txBody>
          <a:bodyPr wrap="square" rtlCol="0">
            <a:spAutoFit/>
          </a:bodyPr>
          <a:lstStyle/>
          <a:p>
            <a:pPr algn="ctr" defTabSz="1219170"/>
            <a:r>
              <a:rPr lang="en-US" sz="1467" dirty="0">
                <a:solidFill>
                  <a:srgbClr val="C00000"/>
                </a:solidFill>
                <a:latin typeface="Arial"/>
              </a:rPr>
              <a:t>WARNING</a:t>
            </a:r>
          </a:p>
          <a:p>
            <a:pPr algn="ctr" defTabSz="1219170"/>
            <a:r>
              <a:rPr lang="en-US" sz="1467" dirty="0">
                <a:solidFill>
                  <a:srgbClr val="C00000"/>
                </a:solidFill>
                <a:latin typeface="Arial"/>
              </a:rPr>
              <a:t>Flu </a:t>
            </a:r>
          </a:p>
          <a:p>
            <a:pPr algn="ctr" defTabSz="1219170"/>
            <a:r>
              <a:rPr lang="en-US" sz="1467" dirty="0">
                <a:solidFill>
                  <a:srgbClr val="C00000"/>
                </a:solidFill>
                <a:latin typeface="Arial"/>
              </a:rPr>
              <a:t>Detected</a:t>
            </a:r>
          </a:p>
        </p:txBody>
      </p:sp>
      <p:grpSp>
        <p:nvGrpSpPr>
          <p:cNvPr id="24" name="Group 23">
            <a:extLst>
              <a:ext uri="{FF2B5EF4-FFF2-40B4-BE49-F238E27FC236}">
                <a16:creationId xmlns:a16="http://schemas.microsoft.com/office/drawing/2014/main" id="{9C6B8DB9-5F47-4705-9627-3DDD7EA8701C}"/>
              </a:ext>
            </a:extLst>
          </p:cNvPr>
          <p:cNvGrpSpPr/>
          <p:nvPr/>
        </p:nvGrpSpPr>
        <p:grpSpPr>
          <a:xfrm>
            <a:off x="5016986" y="2260117"/>
            <a:ext cx="2277501" cy="2282721"/>
            <a:chOff x="2362200" y="4449763"/>
            <a:chExt cx="692151" cy="693737"/>
          </a:xfrm>
          <a:solidFill>
            <a:srgbClr val="C00000"/>
          </a:solidFill>
        </p:grpSpPr>
        <p:sp>
          <p:nvSpPr>
            <p:cNvPr id="12" name="Freeform 5">
              <a:extLst>
                <a:ext uri="{FF2B5EF4-FFF2-40B4-BE49-F238E27FC236}">
                  <a16:creationId xmlns:a16="http://schemas.microsoft.com/office/drawing/2014/main" id="{F9FDFC12-EC2D-486E-B289-49F4BE4DD7CB}"/>
                </a:ext>
              </a:extLst>
            </p:cNvPr>
            <p:cNvSpPr>
              <a:spLocks/>
            </p:cNvSpPr>
            <p:nvPr/>
          </p:nvSpPr>
          <p:spPr bwMode="auto">
            <a:xfrm>
              <a:off x="2703513" y="4449763"/>
              <a:ext cx="12700" cy="68262"/>
            </a:xfrm>
            <a:custGeom>
              <a:avLst/>
              <a:gdLst>
                <a:gd name="T0" fmla="*/ 0 w 8"/>
                <a:gd name="T1" fmla="*/ 43 h 43"/>
                <a:gd name="T2" fmla="*/ 8 w 8"/>
                <a:gd name="T3" fmla="*/ 43 h 43"/>
                <a:gd name="T4" fmla="*/ 8 w 8"/>
                <a:gd name="T5" fmla="*/ 0 h 43"/>
                <a:gd name="T6" fmla="*/ 0 w 8"/>
                <a:gd name="T7" fmla="*/ 0 h 43"/>
                <a:gd name="T8" fmla="*/ 0 w 8"/>
                <a:gd name="T9" fmla="*/ 43 h 43"/>
                <a:gd name="T10" fmla="*/ 0 w 8"/>
                <a:gd name="T11" fmla="*/ 43 h 43"/>
              </a:gdLst>
              <a:ahLst/>
              <a:cxnLst>
                <a:cxn ang="0">
                  <a:pos x="T0" y="T1"/>
                </a:cxn>
                <a:cxn ang="0">
                  <a:pos x="T2" y="T3"/>
                </a:cxn>
                <a:cxn ang="0">
                  <a:pos x="T4" y="T5"/>
                </a:cxn>
                <a:cxn ang="0">
                  <a:pos x="T6" y="T7"/>
                </a:cxn>
                <a:cxn ang="0">
                  <a:pos x="T8" y="T9"/>
                </a:cxn>
                <a:cxn ang="0">
                  <a:pos x="T10" y="T11"/>
                </a:cxn>
              </a:cxnLst>
              <a:rect l="0" t="0" r="r" b="b"/>
              <a:pathLst>
                <a:path w="8" h="43">
                  <a:moveTo>
                    <a:pt x="0" y="43"/>
                  </a:moveTo>
                  <a:lnTo>
                    <a:pt x="8" y="43"/>
                  </a:lnTo>
                  <a:lnTo>
                    <a:pt x="8" y="0"/>
                  </a:lnTo>
                  <a:lnTo>
                    <a:pt x="0" y="0"/>
                  </a:lnTo>
                  <a:lnTo>
                    <a:pt x="0" y="43"/>
                  </a:lnTo>
                  <a:lnTo>
                    <a:pt x="0" y="43"/>
                  </a:lnTo>
                  <a:close/>
                </a:path>
              </a:pathLst>
            </a:custGeom>
            <a:grpFill/>
            <a:ln w="9525">
              <a:solidFill>
                <a:srgbClr val="C00000"/>
              </a:solidFill>
              <a:round/>
              <a:headEnd/>
              <a:tailEnd/>
            </a:ln>
          </p:spPr>
          <p:txBody>
            <a:bodyPr vert="horz" wrap="square" lIns="121920" tIns="60960" rIns="121920" bIns="60960" numCol="1" anchor="t" anchorCtr="0" compatLnSpc="1">
              <a:prstTxWarp prst="textNoShape">
                <a:avLst/>
              </a:prstTxWarp>
            </a:bodyPr>
            <a:lstStyle/>
            <a:p>
              <a:pPr defTabSz="1219170"/>
              <a:endParaRPr lang="en-US" sz="2400">
                <a:solidFill>
                  <a:srgbClr val="102B62"/>
                </a:solidFill>
                <a:latin typeface="Arial"/>
              </a:endParaRPr>
            </a:p>
          </p:txBody>
        </p:sp>
        <p:sp>
          <p:nvSpPr>
            <p:cNvPr id="13" name="Freeform 6">
              <a:extLst>
                <a:ext uri="{FF2B5EF4-FFF2-40B4-BE49-F238E27FC236}">
                  <a16:creationId xmlns:a16="http://schemas.microsoft.com/office/drawing/2014/main" id="{D2CC7F37-A5AB-4095-BD72-099045C6CBA8}"/>
                </a:ext>
              </a:extLst>
            </p:cNvPr>
            <p:cNvSpPr>
              <a:spLocks/>
            </p:cNvSpPr>
            <p:nvPr/>
          </p:nvSpPr>
          <p:spPr bwMode="auto">
            <a:xfrm>
              <a:off x="2843213" y="4494213"/>
              <a:ext cx="46038" cy="65087"/>
            </a:xfrm>
            <a:custGeom>
              <a:avLst/>
              <a:gdLst>
                <a:gd name="T0" fmla="*/ 0 w 29"/>
                <a:gd name="T1" fmla="*/ 38 h 41"/>
                <a:gd name="T2" fmla="*/ 7 w 29"/>
                <a:gd name="T3" fmla="*/ 41 h 41"/>
                <a:gd name="T4" fmla="*/ 29 w 29"/>
                <a:gd name="T5" fmla="*/ 3 h 41"/>
                <a:gd name="T6" fmla="*/ 21 w 29"/>
                <a:gd name="T7" fmla="*/ 0 h 41"/>
                <a:gd name="T8" fmla="*/ 0 w 29"/>
                <a:gd name="T9" fmla="*/ 38 h 41"/>
                <a:gd name="T10" fmla="*/ 0 w 29"/>
                <a:gd name="T11" fmla="*/ 38 h 41"/>
              </a:gdLst>
              <a:ahLst/>
              <a:cxnLst>
                <a:cxn ang="0">
                  <a:pos x="T0" y="T1"/>
                </a:cxn>
                <a:cxn ang="0">
                  <a:pos x="T2" y="T3"/>
                </a:cxn>
                <a:cxn ang="0">
                  <a:pos x="T4" y="T5"/>
                </a:cxn>
                <a:cxn ang="0">
                  <a:pos x="T6" y="T7"/>
                </a:cxn>
                <a:cxn ang="0">
                  <a:pos x="T8" y="T9"/>
                </a:cxn>
                <a:cxn ang="0">
                  <a:pos x="T10" y="T11"/>
                </a:cxn>
              </a:cxnLst>
              <a:rect l="0" t="0" r="r" b="b"/>
              <a:pathLst>
                <a:path w="29" h="41">
                  <a:moveTo>
                    <a:pt x="0" y="38"/>
                  </a:moveTo>
                  <a:lnTo>
                    <a:pt x="7" y="41"/>
                  </a:lnTo>
                  <a:lnTo>
                    <a:pt x="29" y="3"/>
                  </a:lnTo>
                  <a:lnTo>
                    <a:pt x="21" y="0"/>
                  </a:lnTo>
                  <a:lnTo>
                    <a:pt x="0" y="38"/>
                  </a:lnTo>
                  <a:lnTo>
                    <a:pt x="0" y="38"/>
                  </a:lnTo>
                  <a:close/>
                </a:path>
              </a:pathLst>
            </a:custGeom>
            <a:grpFill/>
            <a:ln w="9525">
              <a:solidFill>
                <a:srgbClr val="C00000"/>
              </a:solidFill>
              <a:round/>
              <a:headEnd/>
              <a:tailEnd/>
            </a:ln>
          </p:spPr>
          <p:txBody>
            <a:bodyPr vert="horz" wrap="square" lIns="121920" tIns="60960" rIns="121920" bIns="60960" numCol="1" anchor="t" anchorCtr="0" compatLnSpc="1">
              <a:prstTxWarp prst="textNoShape">
                <a:avLst/>
              </a:prstTxWarp>
            </a:bodyPr>
            <a:lstStyle/>
            <a:p>
              <a:pPr defTabSz="1219170"/>
              <a:endParaRPr lang="en-US" sz="2400">
                <a:solidFill>
                  <a:srgbClr val="102B62"/>
                </a:solidFill>
                <a:latin typeface="Arial"/>
              </a:endParaRPr>
            </a:p>
          </p:txBody>
        </p:sp>
        <p:sp>
          <p:nvSpPr>
            <p:cNvPr id="14" name="Freeform 7">
              <a:extLst>
                <a:ext uri="{FF2B5EF4-FFF2-40B4-BE49-F238E27FC236}">
                  <a16:creationId xmlns:a16="http://schemas.microsoft.com/office/drawing/2014/main" id="{864EF8F5-76F6-49A9-8A13-A9966B9A5371}"/>
                </a:ext>
              </a:extLst>
            </p:cNvPr>
            <p:cNvSpPr>
              <a:spLocks/>
            </p:cNvSpPr>
            <p:nvPr/>
          </p:nvSpPr>
          <p:spPr bwMode="auto">
            <a:xfrm>
              <a:off x="2944813" y="4618038"/>
              <a:ext cx="68263" cy="46037"/>
            </a:xfrm>
            <a:custGeom>
              <a:avLst/>
              <a:gdLst>
                <a:gd name="T0" fmla="*/ 0 w 43"/>
                <a:gd name="T1" fmla="*/ 22 h 29"/>
                <a:gd name="T2" fmla="*/ 5 w 43"/>
                <a:gd name="T3" fmla="*/ 29 h 29"/>
                <a:gd name="T4" fmla="*/ 43 w 43"/>
                <a:gd name="T5" fmla="*/ 9 h 29"/>
                <a:gd name="T6" fmla="*/ 38 w 43"/>
                <a:gd name="T7" fmla="*/ 0 h 29"/>
                <a:gd name="T8" fmla="*/ 0 w 43"/>
                <a:gd name="T9" fmla="*/ 22 h 29"/>
                <a:gd name="T10" fmla="*/ 0 w 43"/>
                <a:gd name="T11" fmla="*/ 22 h 29"/>
              </a:gdLst>
              <a:ahLst/>
              <a:cxnLst>
                <a:cxn ang="0">
                  <a:pos x="T0" y="T1"/>
                </a:cxn>
                <a:cxn ang="0">
                  <a:pos x="T2" y="T3"/>
                </a:cxn>
                <a:cxn ang="0">
                  <a:pos x="T4" y="T5"/>
                </a:cxn>
                <a:cxn ang="0">
                  <a:pos x="T6" y="T7"/>
                </a:cxn>
                <a:cxn ang="0">
                  <a:pos x="T8" y="T9"/>
                </a:cxn>
                <a:cxn ang="0">
                  <a:pos x="T10" y="T11"/>
                </a:cxn>
              </a:cxnLst>
              <a:rect l="0" t="0" r="r" b="b"/>
              <a:pathLst>
                <a:path w="43" h="29">
                  <a:moveTo>
                    <a:pt x="0" y="22"/>
                  </a:moveTo>
                  <a:lnTo>
                    <a:pt x="5" y="29"/>
                  </a:lnTo>
                  <a:lnTo>
                    <a:pt x="43" y="9"/>
                  </a:lnTo>
                  <a:lnTo>
                    <a:pt x="38" y="0"/>
                  </a:lnTo>
                  <a:lnTo>
                    <a:pt x="0" y="22"/>
                  </a:lnTo>
                  <a:lnTo>
                    <a:pt x="0" y="22"/>
                  </a:lnTo>
                  <a:close/>
                </a:path>
              </a:pathLst>
            </a:custGeom>
            <a:grpFill/>
            <a:ln w="9525">
              <a:solidFill>
                <a:srgbClr val="C00000"/>
              </a:solidFill>
              <a:round/>
              <a:headEnd/>
              <a:tailEnd/>
            </a:ln>
          </p:spPr>
          <p:txBody>
            <a:bodyPr vert="horz" wrap="square" lIns="121920" tIns="60960" rIns="121920" bIns="60960" numCol="1" anchor="t" anchorCtr="0" compatLnSpc="1">
              <a:prstTxWarp prst="textNoShape">
                <a:avLst/>
              </a:prstTxWarp>
            </a:bodyPr>
            <a:lstStyle/>
            <a:p>
              <a:pPr defTabSz="1219170"/>
              <a:endParaRPr lang="en-US" sz="2400">
                <a:solidFill>
                  <a:srgbClr val="102B62"/>
                </a:solidFill>
                <a:latin typeface="Arial"/>
              </a:endParaRPr>
            </a:p>
          </p:txBody>
        </p:sp>
        <p:sp>
          <p:nvSpPr>
            <p:cNvPr id="15" name="Freeform 8">
              <a:extLst>
                <a:ext uri="{FF2B5EF4-FFF2-40B4-BE49-F238E27FC236}">
                  <a16:creationId xmlns:a16="http://schemas.microsoft.com/office/drawing/2014/main" id="{63055E65-6232-4979-ADF2-A069803013D7}"/>
                </a:ext>
              </a:extLst>
            </p:cNvPr>
            <p:cNvSpPr>
              <a:spLocks/>
            </p:cNvSpPr>
            <p:nvPr/>
          </p:nvSpPr>
          <p:spPr bwMode="auto">
            <a:xfrm>
              <a:off x="2986088" y="4791075"/>
              <a:ext cx="68263" cy="14287"/>
            </a:xfrm>
            <a:custGeom>
              <a:avLst/>
              <a:gdLst>
                <a:gd name="T0" fmla="*/ 0 w 43"/>
                <a:gd name="T1" fmla="*/ 0 h 9"/>
                <a:gd name="T2" fmla="*/ 0 w 43"/>
                <a:gd name="T3" fmla="*/ 9 h 9"/>
                <a:gd name="T4" fmla="*/ 43 w 43"/>
                <a:gd name="T5" fmla="*/ 9 h 9"/>
                <a:gd name="T6" fmla="*/ 43 w 43"/>
                <a:gd name="T7" fmla="*/ 0 h 9"/>
                <a:gd name="T8" fmla="*/ 0 w 43"/>
                <a:gd name="T9" fmla="*/ 0 h 9"/>
                <a:gd name="T10" fmla="*/ 0 w 43"/>
                <a:gd name="T11" fmla="*/ 0 h 9"/>
              </a:gdLst>
              <a:ahLst/>
              <a:cxnLst>
                <a:cxn ang="0">
                  <a:pos x="T0" y="T1"/>
                </a:cxn>
                <a:cxn ang="0">
                  <a:pos x="T2" y="T3"/>
                </a:cxn>
                <a:cxn ang="0">
                  <a:pos x="T4" y="T5"/>
                </a:cxn>
                <a:cxn ang="0">
                  <a:pos x="T6" y="T7"/>
                </a:cxn>
                <a:cxn ang="0">
                  <a:pos x="T8" y="T9"/>
                </a:cxn>
                <a:cxn ang="0">
                  <a:pos x="T10" y="T11"/>
                </a:cxn>
              </a:cxnLst>
              <a:rect l="0" t="0" r="r" b="b"/>
              <a:pathLst>
                <a:path w="43" h="9">
                  <a:moveTo>
                    <a:pt x="0" y="0"/>
                  </a:moveTo>
                  <a:lnTo>
                    <a:pt x="0" y="9"/>
                  </a:lnTo>
                  <a:lnTo>
                    <a:pt x="43" y="9"/>
                  </a:lnTo>
                  <a:lnTo>
                    <a:pt x="43" y="0"/>
                  </a:lnTo>
                  <a:lnTo>
                    <a:pt x="0" y="0"/>
                  </a:lnTo>
                  <a:lnTo>
                    <a:pt x="0" y="0"/>
                  </a:lnTo>
                  <a:close/>
                </a:path>
              </a:pathLst>
            </a:custGeom>
            <a:grpFill/>
            <a:ln w="9525">
              <a:solidFill>
                <a:srgbClr val="C00000"/>
              </a:solidFill>
              <a:round/>
              <a:headEnd/>
              <a:tailEnd/>
            </a:ln>
          </p:spPr>
          <p:txBody>
            <a:bodyPr vert="horz" wrap="square" lIns="121920" tIns="60960" rIns="121920" bIns="60960" numCol="1" anchor="t" anchorCtr="0" compatLnSpc="1">
              <a:prstTxWarp prst="textNoShape">
                <a:avLst/>
              </a:prstTxWarp>
            </a:bodyPr>
            <a:lstStyle/>
            <a:p>
              <a:pPr defTabSz="1219170"/>
              <a:endParaRPr lang="en-US" sz="2400">
                <a:solidFill>
                  <a:srgbClr val="102B62"/>
                </a:solidFill>
                <a:latin typeface="Arial"/>
              </a:endParaRPr>
            </a:p>
          </p:txBody>
        </p:sp>
        <p:sp>
          <p:nvSpPr>
            <p:cNvPr id="16" name="Freeform 9">
              <a:extLst>
                <a:ext uri="{FF2B5EF4-FFF2-40B4-BE49-F238E27FC236}">
                  <a16:creationId xmlns:a16="http://schemas.microsoft.com/office/drawing/2014/main" id="{8DC5450F-7B23-4DC1-8D10-331ED4898B7A}"/>
                </a:ext>
              </a:extLst>
            </p:cNvPr>
            <p:cNvSpPr>
              <a:spLocks/>
            </p:cNvSpPr>
            <p:nvPr/>
          </p:nvSpPr>
          <p:spPr bwMode="auto">
            <a:xfrm>
              <a:off x="2944813" y="4932363"/>
              <a:ext cx="65088" cy="46037"/>
            </a:xfrm>
            <a:custGeom>
              <a:avLst/>
              <a:gdLst>
                <a:gd name="T0" fmla="*/ 3 w 41"/>
                <a:gd name="T1" fmla="*/ 0 h 29"/>
                <a:gd name="T2" fmla="*/ 0 w 41"/>
                <a:gd name="T3" fmla="*/ 6 h 29"/>
                <a:gd name="T4" fmla="*/ 38 w 41"/>
                <a:gd name="T5" fmla="*/ 29 h 29"/>
                <a:gd name="T6" fmla="*/ 41 w 41"/>
                <a:gd name="T7" fmla="*/ 20 h 29"/>
                <a:gd name="T8" fmla="*/ 3 w 41"/>
                <a:gd name="T9" fmla="*/ 0 h 29"/>
                <a:gd name="T10" fmla="*/ 3 w 41"/>
                <a:gd name="T11" fmla="*/ 0 h 29"/>
              </a:gdLst>
              <a:ahLst/>
              <a:cxnLst>
                <a:cxn ang="0">
                  <a:pos x="T0" y="T1"/>
                </a:cxn>
                <a:cxn ang="0">
                  <a:pos x="T2" y="T3"/>
                </a:cxn>
                <a:cxn ang="0">
                  <a:pos x="T4" y="T5"/>
                </a:cxn>
                <a:cxn ang="0">
                  <a:pos x="T6" y="T7"/>
                </a:cxn>
                <a:cxn ang="0">
                  <a:pos x="T8" y="T9"/>
                </a:cxn>
                <a:cxn ang="0">
                  <a:pos x="T10" y="T11"/>
                </a:cxn>
              </a:cxnLst>
              <a:rect l="0" t="0" r="r" b="b"/>
              <a:pathLst>
                <a:path w="41" h="29">
                  <a:moveTo>
                    <a:pt x="3" y="0"/>
                  </a:moveTo>
                  <a:lnTo>
                    <a:pt x="0" y="6"/>
                  </a:lnTo>
                  <a:lnTo>
                    <a:pt x="38" y="29"/>
                  </a:lnTo>
                  <a:lnTo>
                    <a:pt x="41" y="20"/>
                  </a:lnTo>
                  <a:lnTo>
                    <a:pt x="3" y="0"/>
                  </a:lnTo>
                  <a:lnTo>
                    <a:pt x="3" y="0"/>
                  </a:lnTo>
                  <a:close/>
                </a:path>
              </a:pathLst>
            </a:custGeom>
            <a:grpFill/>
            <a:ln w="9525">
              <a:solidFill>
                <a:srgbClr val="C00000"/>
              </a:solidFill>
              <a:round/>
              <a:headEnd/>
              <a:tailEnd/>
            </a:ln>
          </p:spPr>
          <p:txBody>
            <a:bodyPr vert="horz" wrap="square" lIns="121920" tIns="60960" rIns="121920" bIns="60960" numCol="1" anchor="t" anchorCtr="0" compatLnSpc="1">
              <a:prstTxWarp prst="textNoShape">
                <a:avLst/>
              </a:prstTxWarp>
            </a:bodyPr>
            <a:lstStyle/>
            <a:p>
              <a:pPr defTabSz="1219170"/>
              <a:endParaRPr lang="en-US" sz="2400">
                <a:solidFill>
                  <a:srgbClr val="102B62"/>
                </a:solidFill>
                <a:latin typeface="Arial"/>
              </a:endParaRPr>
            </a:p>
          </p:txBody>
        </p:sp>
        <p:sp>
          <p:nvSpPr>
            <p:cNvPr id="17" name="Freeform 10">
              <a:extLst>
                <a:ext uri="{FF2B5EF4-FFF2-40B4-BE49-F238E27FC236}">
                  <a16:creationId xmlns:a16="http://schemas.microsoft.com/office/drawing/2014/main" id="{42B97F34-E3E1-4C29-814B-964EA412C102}"/>
                </a:ext>
              </a:extLst>
            </p:cNvPr>
            <p:cNvSpPr>
              <a:spLocks/>
            </p:cNvSpPr>
            <p:nvPr/>
          </p:nvSpPr>
          <p:spPr bwMode="auto">
            <a:xfrm>
              <a:off x="2840038" y="5033963"/>
              <a:ext cx="46038" cy="68262"/>
            </a:xfrm>
            <a:custGeom>
              <a:avLst/>
              <a:gdLst>
                <a:gd name="T0" fmla="*/ 7 w 29"/>
                <a:gd name="T1" fmla="*/ 0 h 43"/>
                <a:gd name="T2" fmla="*/ 0 w 29"/>
                <a:gd name="T3" fmla="*/ 5 h 43"/>
                <a:gd name="T4" fmla="*/ 21 w 29"/>
                <a:gd name="T5" fmla="*/ 43 h 43"/>
                <a:gd name="T6" fmla="*/ 29 w 29"/>
                <a:gd name="T7" fmla="*/ 38 h 43"/>
                <a:gd name="T8" fmla="*/ 7 w 29"/>
                <a:gd name="T9" fmla="*/ 0 h 43"/>
                <a:gd name="T10" fmla="*/ 7 w 29"/>
                <a:gd name="T11" fmla="*/ 0 h 43"/>
              </a:gdLst>
              <a:ahLst/>
              <a:cxnLst>
                <a:cxn ang="0">
                  <a:pos x="T0" y="T1"/>
                </a:cxn>
                <a:cxn ang="0">
                  <a:pos x="T2" y="T3"/>
                </a:cxn>
                <a:cxn ang="0">
                  <a:pos x="T4" y="T5"/>
                </a:cxn>
                <a:cxn ang="0">
                  <a:pos x="T6" y="T7"/>
                </a:cxn>
                <a:cxn ang="0">
                  <a:pos x="T8" y="T9"/>
                </a:cxn>
                <a:cxn ang="0">
                  <a:pos x="T10" y="T11"/>
                </a:cxn>
              </a:cxnLst>
              <a:rect l="0" t="0" r="r" b="b"/>
              <a:pathLst>
                <a:path w="29" h="43">
                  <a:moveTo>
                    <a:pt x="7" y="0"/>
                  </a:moveTo>
                  <a:lnTo>
                    <a:pt x="0" y="5"/>
                  </a:lnTo>
                  <a:lnTo>
                    <a:pt x="21" y="43"/>
                  </a:lnTo>
                  <a:lnTo>
                    <a:pt x="29" y="38"/>
                  </a:lnTo>
                  <a:lnTo>
                    <a:pt x="7" y="0"/>
                  </a:lnTo>
                  <a:lnTo>
                    <a:pt x="7" y="0"/>
                  </a:lnTo>
                  <a:close/>
                </a:path>
              </a:pathLst>
            </a:custGeom>
            <a:grpFill/>
            <a:ln w="9525">
              <a:solidFill>
                <a:srgbClr val="C00000"/>
              </a:solidFill>
              <a:round/>
              <a:headEnd/>
              <a:tailEnd/>
            </a:ln>
          </p:spPr>
          <p:txBody>
            <a:bodyPr vert="horz" wrap="square" lIns="121920" tIns="60960" rIns="121920" bIns="60960" numCol="1" anchor="t" anchorCtr="0" compatLnSpc="1">
              <a:prstTxWarp prst="textNoShape">
                <a:avLst/>
              </a:prstTxWarp>
            </a:bodyPr>
            <a:lstStyle/>
            <a:p>
              <a:pPr defTabSz="1219170"/>
              <a:endParaRPr lang="en-US" sz="2400">
                <a:solidFill>
                  <a:srgbClr val="102B62"/>
                </a:solidFill>
                <a:latin typeface="Arial"/>
              </a:endParaRPr>
            </a:p>
          </p:txBody>
        </p:sp>
        <p:sp>
          <p:nvSpPr>
            <p:cNvPr id="18" name="Freeform 11">
              <a:extLst>
                <a:ext uri="{FF2B5EF4-FFF2-40B4-BE49-F238E27FC236}">
                  <a16:creationId xmlns:a16="http://schemas.microsoft.com/office/drawing/2014/main" id="{3D1D5A0E-E804-4A76-996E-DC0A0642C289}"/>
                </a:ext>
              </a:extLst>
            </p:cNvPr>
            <p:cNvSpPr>
              <a:spLocks/>
            </p:cNvSpPr>
            <p:nvPr/>
          </p:nvSpPr>
          <p:spPr bwMode="auto">
            <a:xfrm>
              <a:off x="2700338" y="5075238"/>
              <a:ext cx="12700" cy="68262"/>
            </a:xfrm>
            <a:custGeom>
              <a:avLst/>
              <a:gdLst>
                <a:gd name="T0" fmla="*/ 8 w 8"/>
                <a:gd name="T1" fmla="*/ 0 h 43"/>
                <a:gd name="T2" fmla="*/ 0 w 8"/>
                <a:gd name="T3" fmla="*/ 0 h 43"/>
                <a:gd name="T4" fmla="*/ 0 w 8"/>
                <a:gd name="T5" fmla="*/ 43 h 43"/>
                <a:gd name="T6" fmla="*/ 8 w 8"/>
                <a:gd name="T7" fmla="*/ 43 h 43"/>
                <a:gd name="T8" fmla="*/ 8 w 8"/>
                <a:gd name="T9" fmla="*/ 0 h 43"/>
                <a:gd name="T10" fmla="*/ 8 w 8"/>
                <a:gd name="T11" fmla="*/ 0 h 43"/>
              </a:gdLst>
              <a:ahLst/>
              <a:cxnLst>
                <a:cxn ang="0">
                  <a:pos x="T0" y="T1"/>
                </a:cxn>
                <a:cxn ang="0">
                  <a:pos x="T2" y="T3"/>
                </a:cxn>
                <a:cxn ang="0">
                  <a:pos x="T4" y="T5"/>
                </a:cxn>
                <a:cxn ang="0">
                  <a:pos x="T6" y="T7"/>
                </a:cxn>
                <a:cxn ang="0">
                  <a:pos x="T8" y="T9"/>
                </a:cxn>
                <a:cxn ang="0">
                  <a:pos x="T10" y="T11"/>
                </a:cxn>
              </a:cxnLst>
              <a:rect l="0" t="0" r="r" b="b"/>
              <a:pathLst>
                <a:path w="8" h="43">
                  <a:moveTo>
                    <a:pt x="8" y="0"/>
                  </a:moveTo>
                  <a:lnTo>
                    <a:pt x="0" y="0"/>
                  </a:lnTo>
                  <a:lnTo>
                    <a:pt x="0" y="43"/>
                  </a:lnTo>
                  <a:lnTo>
                    <a:pt x="8" y="43"/>
                  </a:lnTo>
                  <a:lnTo>
                    <a:pt x="8" y="0"/>
                  </a:lnTo>
                  <a:lnTo>
                    <a:pt x="8" y="0"/>
                  </a:lnTo>
                  <a:close/>
                </a:path>
              </a:pathLst>
            </a:custGeom>
            <a:grpFill/>
            <a:ln w="9525">
              <a:solidFill>
                <a:srgbClr val="C00000"/>
              </a:solidFill>
              <a:round/>
              <a:headEnd/>
              <a:tailEnd/>
            </a:ln>
          </p:spPr>
          <p:txBody>
            <a:bodyPr vert="horz" wrap="square" lIns="121920" tIns="60960" rIns="121920" bIns="60960" numCol="1" anchor="t" anchorCtr="0" compatLnSpc="1">
              <a:prstTxWarp prst="textNoShape">
                <a:avLst/>
              </a:prstTxWarp>
            </a:bodyPr>
            <a:lstStyle/>
            <a:p>
              <a:pPr defTabSz="1219170"/>
              <a:endParaRPr lang="en-US" sz="2400">
                <a:solidFill>
                  <a:srgbClr val="102B62"/>
                </a:solidFill>
                <a:latin typeface="Arial"/>
              </a:endParaRPr>
            </a:p>
          </p:txBody>
        </p:sp>
        <p:sp>
          <p:nvSpPr>
            <p:cNvPr id="19" name="Freeform 12">
              <a:extLst>
                <a:ext uri="{FF2B5EF4-FFF2-40B4-BE49-F238E27FC236}">
                  <a16:creationId xmlns:a16="http://schemas.microsoft.com/office/drawing/2014/main" id="{E3C659B2-A314-45F7-BBDD-D15B90D5713C}"/>
                </a:ext>
              </a:extLst>
            </p:cNvPr>
            <p:cNvSpPr>
              <a:spLocks/>
            </p:cNvSpPr>
            <p:nvPr/>
          </p:nvSpPr>
          <p:spPr bwMode="auto">
            <a:xfrm>
              <a:off x="2527300" y="5033963"/>
              <a:ext cx="49213" cy="65087"/>
            </a:xfrm>
            <a:custGeom>
              <a:avLst/>
              <a:gdLst>
                <a:gd name="T0" fmla="*/ 31 w 31"/>
                <a:gd name="T1" fmla="*/ 3 h 41"/>
                <a:gd name="T2" fmla="*/ 22 w 31"/>
                <a:gd name="T3" fmla="*/ 0 h 41"/>
                <a:gd name="T4" fmla="*/ 0 w 31"/>
                <a:gd name="T5" fmla="*/ 38 h 41"/>
                <a:gd name="T6" fmla="*/ 8 w 31"/>
                <a:gd name="T7" fmla="*/ 41 h 41"/>
                <a:gd name="T8" fmla="*/ 31 w 31"/>
                <a:gd name="T9" fmla="*/ 3 h 41"/>
                <a:gd name="T10" fmla="*/ 31 w 31"/>
                <a:gd name="T11" fmla="*/ 3 h 41"/>
              </a:gdLst>
              <a:ahLst/>
              <a:cxnLst>
                <a:cxn ang="0">
                  <a:pos x="T0" y="T1"/>
                </a:cxn>
                <a:cxn ang="0">
                  <a:pos x="T2" y="T3"/>
                </a:cxn>
                <a:cxn ang="0">
                  <a:pos x="T4" y="T5"/>
                </a:cxn>
                <a:cxn ang="0">
                  <a:pos x="T6" y="T7"/>
                </a:cxn>
                <a:cxn ang="0">
                  <a:pos x="T8" y="T9"/>
                </a:cxn>
                <a:cxn ang="0">
                  <a:pos x="T10" y="T11"/>
                </a:cxn>
              </a:cxnLst>
              <a:rect l="0" t="0" r="r" b="b"/>
              <a:pathLst>
                <a:path w="31" h="41">
                  <a:moveTo>
                    <a:pt x="31" y="3"/>
                  </a:moveTo>
                  <a:lnTo>
                    <a:pt x="22" y="0"/>
                  </a:lnTo>
                  <a:lnTo>
                    <a:pt x="0" y="38"/>
                  </a:lnTo>
                  <a:lnTo>
                    <a:pt x="8" y="41"/>
                  </a:lnTo>
                  <a:lnTo>
                    <a:pt x="31" y="3"/>
                  </a:lnTo>
                  <a:lnTo>
                    <a:pt x="31" y="3"/>
                  </a:lnTo>
                  <a:close/>
                </a:path>
              </a:pathLst>
            </a:custGeom>
            <a:grpFill/>
            <a:ln w="9525">
              <a:solidFill>
                <a:srgbClr val="C00000"/>
              </a:solidFill>
              <a:round/>
              <a:headEnd/>
              <a:tailEnd/>
            </a:ln>
          </p:spPr>
          <p:txBody>
            <a:bodyPr vert="horz" wrap="square" lIns="121920" tIns="60960" rIns="121920" bIns="60960" numCol="1" anchor="t" anchorCtr="0" compatLnSpc="1">
              <a:prstTxWarp prst="textNoShape">
                <a:avLst/>
              </a:prstTxWarp>
            </a:bodyPr>
            <a:lstStyle/>
            <a:p>
              <a:pPr defTabSz="1219170"/>
              <a:endParaRPr lang="en-US" sz="2400">
                <a:solidFill>
                  <a:srgbClr val="102B62"/>
                </a:solidFill>
                <a:latin typeface="Arial"/>
              </a:endParaRPr>
            </a:p>
          </p:txBody>
        </p:sp>
        <p:sp>
          <p:nvSpPr>
            <p:cNvPr id="20" name="Freeform 13">
              <a:extLst>
                <a:ext uri="{FF2B5EF4-FFF2-40B4-BE49-F238E27FC236}">
                  <a16:creationId xmlns:a16="http://schemas.microsoft.com/office/drawing/2014/main" id="{474D08DF-5926-4D95-A274-31F11E9E22C5}"/>
                </a:ext>
              </a:extLst>
            </p:cNvPr>
            <p:cNvSpPr>
              <a:spLocks/>
            </p:cNvSpPr>
            <p:nvPr/>
          </p:nvSpPr>
          <p:spPr bwMode="auto">
            <a:xfrm>
              <a:off x="2403475" y="4929188"/>
              <a:ext cx="68263" cy="46037"/>
            </a:xfrm>
            <a:custGeom>
              <a:avLst/>
              <a:gdLst>
                <a:gd name="T0" fmla="*/ 43 w 43"/>
                <a:gd name="T1" fmla="*/ 7 h 29"/>
                <a:gd name="T2" fmla="*/ 38 w 43"/>
                <a:gd name="T3" fmla="*/ 0 h 29"/>
                <a:gd name="T4" fmla="*/ 0 w 43"/>
                <a:gd name="T5" fmla="*/ 21 h 29"/>
                <a:gd name="T6" fmla="*/ 5 w 43"/>
                <a:gd name="T7" fmla="*/ 29 h 29"/>
                <a:gd name="T8" fmla="*/ 43 w 43"/>
                <a:gd name="T9" fmla="*/ 7 h 29"/>
                <a:gd name="T10" fmla="*/ 43 w 43"/>
                <a:gd name="T11" fmla="*/ 7 h 29"/>
              </a:gdLst>
              <a:ahLst/>
              <a:cxnLst>
                <a:cxn ang="0">
                  <a:pos x="T0" y="T1"/>
                </a:cxn>
                <a:cxn ang="0">
                  <a:pos x="T2" y="T3"/>
                </a:cxn>
                <a:cxn ang="0">
                  <a:pos x="T4" y="T5"/>
                </a:cxn>
                <a:cxn ang="0">
                  <a:pos x="T6" y="T7"/>
                </a:cxn>
                <a:cxn ang="0">
                  <a:pos x="T8" y="T9"/>
                </a:cxn>
                <a:cxn ang="0">
                  <a:pos x="T10" y="T11"/>
                </a:cxn>
              </a:cxnLst>
              <a:rect l="0" t="0" r="r" b="b"/>
              <a:pathLst>
                <a:path w="43" h="29">
                  <a:moveTo>
                    <a:pt x="43" y="7"/>
                  </a:moveTo>
                  <a:lnTo>
                    <a:pt x="38" y="0"/>
                  </a:lnTo>
                  <a:lnTo>
                    <a:pt x="0" y="21"/>
                  </a:lnTo>
                  <a:lnTo>
                    <a:pt x="5" y="29"/>
                  </a:lnTo>
                  <a:lnTo>
                    <a:pt x="43" y="7"/>
                  </a:lnTo>
                  <a:lnTo>
                    <a:pt x="43" y="7"/>
                  </a:lnTo>
                  <a:close/>
                </a:path>
              </a:pathLst>
            </a:custGeom>
            <a:grpFill/>
            <a:ln w="9525">
              <a:solidFill>
                <a:srgbClr val="C00000"/>
              </a:solidFill>
              <a:round/>
              <a:headEnd/>
              <a:tailEnd/>
            </a:ln>
          </p:spPr>
          <p:txBody>
            <a:bodyPr vert="horz" wrap="square" lIns="121920" tIns="60960" rIns="121920" bIns="60960" numCol="1" anchor="t" anchorCtr="0" compatLnSpc="1">
              <a:prstTxWarp prst="textNoShape">
                <a:avLst/>
              </a:prstTxWarp>
            </a:bodyPr>
            <a:lstStyle/>
            <a:p>
              <a:pPr defTabSz="1219170"/>
              <a:endParaRPr lang="en-US" sz="2400">
                <a:solidFill>
                  <a:srgbClr val="102B62"/>
                </a:solidFill>
                <a:latin typeface="Arial"/>
              </a:endParaRPr>
            </a:p>
          </p:txBody>
        </p:sp>
        <p:sp>
          <p:nvSpPr>
            <p:cNvPr id="21" name="Freeform 14">
              <a:extLst>
                <a:ext uri="{FF2B5EF4-FFF2-40B4-BE49-F238E27FC236}">
                  <a16:creationId xmlns:a16="http://schemas.microsoft.com/office/drawing/2014/main" id="{8C0FD0CA-F400-40D0-BD4B-875E80AB398C}"/>
                </a:ext>
              </a:extLst>
            </p:cNvPr>
            <p:cNvSpPr>
              <a:spLocks/>
            </p:cNvSpPr>
            <p:nvPr/>
          </p:nvSpPr>
          <p:spPr bwMode="auto">
            <a:xfrm>
              <a:off x="2362200" y="4787900"/>
              <a:ext cx="68263" cy="14287"/>
            </a:xfrm>
            <a:custGeom>
              <a:avLst/>
              <a:gdLst>
                <a:gd name="T0" fmla="*/ 43 w 43"/>
                <a:gd name="T1" fmla="*/ 9 h 9"/>
                <a:gd name="T2" fmla="*/ 43 w 43"/>
                <a:gd name="T3" fmla="*/ 0 h 9"/>
                <a:gd name="T4" fmla="*/ 0 w 43"/>
                <a:gd name="T5" fmla="*/ 0 h 9"/>
                <a:gd name="T6" fmla="*/ 0 w 43"/>
                <a:gd name="T7" fmla="*/ 9 h 9"/>
                <a:gd name="T8" fmla="*/ 43 w 43"/>
                <a:gd name="T9" fmla="*/ 9 h 9"/>
                <a:gd name="T10" fmla="*/ 43 w 43"/>
                <a:gd name="T11" fmla="*/ 9 h 9"/>
              </a:gdLst>
              <a:ahLst/>
              <a:cxnLst>
                <a:cxn ang="0">
                  <a:pos x="T0" y="T1"/>
                </a:cxn>
                <a:cxn ang="0">
                  <a:pos x="T2" y="T3"/>
                </a:cxn>
                <a:cxn ang="0">
                  <a:pos x="T4" y="T5"/>
                </a:cxn>
                <a:cxn ang="0">
                  <a:pos x="T6" y="T7"/>
                </a:cxn>
                <a:cxn ang="0">
                  <a:pos x="T8" y="T9"/>
                </a:cxn>
                <a:cxn ang="0">
                  <a:pos x="T10" y="T11"/>
                </a:cxn>
              </a:cxnLst>
              <a:rect l="0" t="0" r="r" b="b"/>
              <a:pathLst>
                <a:path w="43" h="9">
                  <a:moveTo>
                    <a:pt x="43" y="9"/>
                  </a:moveTo>
                  <a:lnTo>
                    <a:pt x="43" y="0"/>
                  </a:lnTo>
                  <a:lnTo>
                    <a:pt x="0" y="0"/>
                  </a:lnTo>
                  <a:lnTo>
                    <a:pt x="0" y="9"/>
                  </a:lnTo>
                  <a:lnTo>
                    <a:pt x="43" y="9"/>
                  </a:lnTo>
                  <a:lnTo>
                    <a:pt x="43" y="9"/>
                  </a:lnTo>
                  <a:close/>
                </a:path>
              </a:pathLst>
            </a:custGeom>
            <a:grpFill/>
            <a:ln w="9525">
              <a:solidFill>
                <a:srgbClr val="C00000"/>
              </a:solidFill>
              <a:round/>
              <a:headEnd/>
              <a:tailEnd/>
            </a:ln>
          </p:spPr>
          <p:txBody>
            <a:bodyPr vert="horz" wrap="square" lIns="121920" tIns="60960" rIns="121920" bIns="60960" numCol="1" anchor="t" anchorCtr="0" compatLnSpc="1">
              <a:prstTxWarp prst="textNoShape">
                <a:avLst/>
              </a:prstTxWarp>
            </a:bodyPr>
            <a:lstStyle/>
            <a:p>
              <a:pPr defTabSz="1219170"/>
              <a:endParaRPr lang="en-US" sz="2400">
                <a:solidFill>
                  <a:srgbClr val="102B62"/>
                </a:solidFill>
                <a:latin typeface="Arial"/>
              </a:endParaRPr>
            </a:p>
          </p:txBody>
        </p:sp>
        <p:sp>
          <p:nvSpPr>
            <p:cNvPr id="22" name="Freeform 15">
              <a:extLst>
                <a:ext uri="{FF2B5EF4-FFF2-40B4-BE49-F238E27FC236}">
                  <a16:creationId xmlns:a16="http://schemas.microsoft.com/office/drawing/2014/main" id="{D4B4D692-3D73-4D12-86B4-47777E31DC19}"/>
                </a:ext>
              </a:extLst>
            </p:cNvPr>
            <p:cNvSpPr>
              <a:spLocks/>
            </p:cNvSpPr>
            <p:nvPr/>
          </p:nvSpPr>
          <p:spPr bwMode="auto">
            <a:xfrm>
              <a:off x="2406650" y="4614863"/>
              <a:ext cx="65088" cy="49212"/>
            </a:xfrm>
            <a:custGeom>
              <a:avLst/>
              <a:gdLst>
                <a:gd name="T0" fmla="*/ 38 w 41"/>
                <a:gd name="T1" fmla="*/ 31 h 31"/>
                <a:gd name="T2" fmla="*/ 41 w 41"/>
                <a:gd name="T3" fmla="*/ 23 h 31"/>
                <a:gd name="T4" fmla="*/ 3 w 41"/>
                <a:gd name="T5" fmla="*/ 0 h 31"/>
                <a:gd name="T6" fmla="*/ 0 w 41"/>
                <a:gd name="T7" fmla="*/ 9 h 31"/>
                <a:gd name="T8" fmla="*/ 38 w 41"/>
                <a:gd name="T9" fmla="*/ 31 h 31"/>
                <a:gd name="T10" fmla="*/ 38 w 41"/>
                <a:gd name="T11" fmla="*/ 31 h 31"/>
              </a:gdLst>
              <a:ahLst/>
              <a:cxnLst>
                <a:cxn ang="0">
                  <a:pos x="T0" y="T1"/>
                </a:cxn>
                <a:cxn ang="0">
                  <a:pos x="T2" y="T3"/>
                </a:cxn>
                <a:cxn ang="0">
                  <a:pos x="T4" y="T5"/>
                </a:cxn>
                <a:cxn ang="0">
                  <a:pos x="T6" y="T7"/>
                </a:cxn>
                <a:cxn ang="0">
                  <a:pos x="T8" y="T9"/>
                </a:cxn>
                <a:cxn ang="0">
                  <a:pos x="T10" y="T11"/>
                </a:cxn>
              </a:cxnLst>
              <a:rect l="0" t="0" r="r" b="b"/>
              <a:pathLst>
                <a:path w="41" h="31">
                  <a:moveTo>
                    <a:pt x="38" y="31"/>
                  </a:moveTo>
                  <a:lnTo>
                    <a:pt x="41" y="23"/>
                  </a:lnTo>
                  <a:lnTo>
                    <a:pt x="3" y="0"/>
                  </a:lnTo>
                  <a:lnTo>
                    <a:pt x="0" y="9"/>
                  </a:lnTo>
                  <a:lnTo>
                    <a:pt x="38" y="31"/>
                  </a:lnTo>
                  <a:lnTo>
                    <a:pt x="38" y="31"/>
                  </a:lnTo>
                  <a:close/>
                </a:path>
              </a:pathLst>
            </a:custGeom>
            <a:grpFill/>
            <a:ln w="9525">
              <a:solidFill>
                <a:srgbClr val="C00000"/>
              </a:solidFill>
              <a:round/>
              <a:headEnd/>
              <a:tailEnd/>
            </a:ln>
          </p:spPr>
          <p:txBody>
            <a:bodyPr vert="horz" wrap="square" lIns="121920" tIns="60960" rIns="121920" bIns="60960" numCol="1" anchor="t" anchorCtr="0" compatLnSpc="1">
              <a:prstTxWarp prst="textNoShape">
                <a:avLst/>
              </a:prstTxWarp>
            </a:bodyPr>
            <a:lstStyle/>
            <a:p>
              <a:pPr defTabSz="1219170"/>
              <a:endParaRPr lang="en-US" sz="2400">
                <a:solidFill>
                  <a:srgbClr val="102B62"/>
                </a:solidFill>
                <a:latin typeface="Arial"/>
              </a:endParaRPr>
            </a:p>
          </p:txBody>
        </p:sp>
        <p:sp>
          <p:nvSpPr>
            <p:cNvPr id="23" name="Freeform 16">
              <a:extLst>
                <a:ext uri="{FF2B5EF4-FFF2-40B4-BE49-F238E27FC236}">
                  <a16:creationId xmlns:a16="http://schemas.microsoft.com/office/drawing/2014/main" id="{88642D8D-F0F8-4274-8806-6B26C5FC850D}"/>
                </a:ext>
              </a:extLst>
            </p:cNvPr>
            <p:cNvSpPr>
              <a:spLocks/>
            </p:cNvSpPr>
            <p:nvPr/>
          </p:nvSpPr>
          <p:spPr bwMode="auto">
            <a:xfrm>
              <a:off x="2530475" y="4491038"/>
              <a:ext cx="46038" cy="68262"/>
            </a:xfrm>
            <a:custGeom>
              <a:avLst/>
              <a:gdLst>
                <a:gd name="T0" fmla="*/ 22 w 29"/>
                <a:gd name="T1" fmla="*/ 43 h 43"/>
                <a:gd name="T2" fmla="*/ 29 w 29"/>
                <a:gd name="T3" fmla="*/ 38 h 43"/>
                <a:gd name="T4" fmla="*/ 8 w 29"/>
                <a:gd name="T5" fmla="*/ 0 h 43"/>
                <a:gd name="T6" fmla="*/ 0 w 29"/>
                <a:gd name="T7" fmla="*/ 5 h 43"/>
                <a:gd name="T8" fmla="*/ 22 w 29"/>
                <a:gd name="T9" fmla="*/ 43 h 43"/>
                <a:gd name="T10" fmla="*/ 22 w 29"/>
                <a:gd name="T11" fmla="*/ 43 h 43"/>
              </a:gdLst>
              <a:ahLst/>
              <a:cxnLst>
                <a:cxn ang="0">
                  <a:pos x="T0" y="T1"/>
                </a:cxn>
                <a:cxn ang="0">
                  <a:pos x="T2" y="T3"/>
                </a:cxn>
                <a:cxn ang="0">
                  <a:pos x="T4" y="T5"/>
                </a:cxn>
                <a:cxn ang="0">
                  <a:pos x="T6" y="T7"/>
                </a:cxn>
                <a:cxn ang="0">
                  <a:pos x="T8" y="T9"/>
                </a:cxn>
                <a:cxn ang="0">
                  <a:pos x="T10" y="T11"/>
                </a:cxn>
              </a:cxnLst>
              <a:rect l="0" t="0" r="r" b="b"/>
              <a:pathLst>
                <a:path w="29" h="43">
                  <a:moveTo>
                    <a:pt x="22" y="43"/>
                  </a:moveTo>
                  <a:lnTo>
                    <a:pt x="29" y="38"/>
                  </a:lnTo>
                  <a:lnTo>
                    <a:pt x="8" y="0"/>
                  </a:lnTo>
                  <a:lnTo>
                    <a:pt x="0" y="5"/>
                  </a:lnTo>
                  <a:lnTo>
                    <a:pt x="22" y="43"/>
                  </a:lnTo>
                  <a:lnTo>
                    <a:pt x="22" y="43"/>
                  </a:lnTo>
                  <a:close/>
                </a:path>
              </a:pathLst>
            </a:custGeom>
            <a:grpFill/>
            <a:ln w="9525">
              <a:solidFill>
                <a:srgbClr val="C00000"/>
              </a:solidFill>
              <a:round/>
              <a:headEnd/>
              <a:tailEnd/>
            </a:ln>
          </p:spPr>
          <p:txBody>
            <a:bodyPr vert="horz" wrap="square" lIns="121920" tIns="60960" rIns="121920" bIns="60960" numCol="1" anchor="t" anchorCtr="0" compatLnSpc="1">
              <a:prstTxWarp prst="textNoShape">
                <a:avLst/>
              </a:prstTxWarp>
            </a:bodyPr>
            <a:lstStyle/>
            <a:p>
              <a:pPr defTabSz="1219170"/>
              <a:endParaRPr lang="en-US" sz="2400">
                <a:solidFill>
                  <a:srgbClr val="102B62"/>
                </a:solidFill>
                <a:latin typeface="Arial"/>
              </a:endParaRPr>
            </a:p>
          </p:txBody>
        </p:sp>
      </p:grpSp>
      <p:sp>
        <p:nvSpPr>
          <p:cNvPr id="25" name="Callout: Line 24">
            <a:extLst>
              <a:ext uri="{FF2B5EF4-FFF2-40B4-BE49-F238E27FC236}">
                <a16:creationId xmlns:a16="http://schemas.microsoft.com/office/drawing/2014/main" id="{7D379F0D-62EC-48C7-8937-79D7D8EC409E}"/>
              </a:ext>
            </a:extLst>
          </p:cNvPr>
          <p:cNvSpPr/>
          <p:nvPr/>
        </p:nvSpPr>
        <p:spPr>
          <a:xfrm>
            <a:off x="8326098" y="1543575"/>
            <a:ext cx="3118477" cy="2139424"/>
          </a:xfrm>
          <a:prstGeom prst="borderCallout1">
            <a:avLst>
              <a:gd name="adj1" fmla="val 18750"/>
              <a:gd name="adj2" fmla="val -8333"/>
              <a:gd name="adj3" fmla="val 64289"/>
              <a:gd name="adj4" fmla="val -55649"/>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en-US" sz="3733" b="1" dirty="0">
                <a:solidFill>
                  <a:srgbClr val="C00000"/>
                </a:solidFill>
                <a:latin typeface="Arial"/>
              </a:rPr>
              <a:t>WARNING: </a:t>
            </a:r>
          </a:p>
          <a:p>
            <a:pPr algn="ctr" defTabSz="1219170"/>
            <a:r>
              <a:rPr lang="en-US" sz="3733" b="1" dirty="0">
                <a:solidFill>
                  <a:srgbClr val="C00000"/>
                </a:solidFill>
                <a:latin typeface="Arial"/>
              </a:rPr>
              <a:t>FLU DETECTED</a:t>
            </a:r>
            <a:endParaRPr lang="en-US" sz="3733" dirty="0">
              <a:solidFill>
                <a:prstClr val="white"/>
              </a:solidFill>
              <a:latin typeface="Arial"/>
            </a:endParaRPr>
          </a:p>
        </p:txBody>
      </p:sp>
      <p:grpSp>
        <p:nvGrpSpPr>
          <p:cNvPr id="35" name="Group 34">
            <a:extLst>
              <a:ext uri="{FF2B5EF4-FFF2-40B4-BE49-F238E27FC236}">
                <a16:creationId xmlns:a16="http://schemas.microsoft.com/office/drawing/2014/main" id="{B6838DF1-9462-4E2E-98A6-53E9DFB14BFF}"/>
              </a:ext>
            </a:extLst>
          </p:cNvPr>
          <p:cNvGrpSpPr/>
          <p:nvPr/>
        </p:nvGrpSpPr>
        <p:grpSpPr>
          <a:xfrm>
            <a:off x="1670844" y="1219372"/>
            <a:ext cx="8188032" cy="4648026"/>
            <a:chOff x="1253133" y="914529"/>
            <a:chExt cx="6141024" cy="3486020"/>
          </a:xfrm>
        </p:grpSpPr>
        <p:grpSp>
          <p:nvGrpSpPr>
            <p:cNvPr id="28" name="Group 27">
              <a:extLst>
                <a:ext uri="{FF2B5EF4-FFF2-40B4-BE49-F238E27FC236}">
                  <a16:creationId xmlns:a16="http://schemas.microsoft.com/office/drawing/2014/main" id="{72004989-D339-44E2-AB5C-BBC6F1CFD9DC}"/>
                </a:ext>
              </a:extLst>
            </p:cNvPr>
            <p:cNvGrpSpPr/>
            <p:nvPr/>
          </p:nvGrpSpPr>
          <p:grpSpPr>
            <a:xfrm>
              <a:off x="1278533" y="914529"/>
              <a:ext cx="6101406" cy="3486020"/>
              <a:chOff x="1278533" y="914529"/>
              <a:chExt cx="6101406" cy="3486020"/>
            </a:xfrm>
          </p:grpSpPr>
          <p:pic>
            <p:nvPicPr>
              <p:cNvPr id="26" name="Graphic 25">
                <a:extLst>
                  <a:ext uri="{FF2B5EF4-FFF2-40B4-BE49-F238E27FC236}">
                    <a16:creationId xmlns:a16="http://schemas.microsoft.com/office/drawing/2014/main" id="{A80826C8-93B6-491E-88D3-4D8A25FF147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78533" y="914529"/>
                <a:ext cx="6101406" cy="3486020"/>
              </a:xfrm>
              <a:prstGeom prst="rect">
                <a:avLst/>
              </a:prstGeom>
            </p:spPr>
          </p:pic>
          <p:pic>
            <p:nvPicPr>
              <p:cNvPr id="3090" name="Picture 18" descr="Image result for flu outbreak">
                <a:extLst>
                  <a:ext uri="{FF2B5EF4-FFF2-40B4-BE49-F238E27FC236}">
                    <a16:creationId xmlns:a16="http://schemas.microsoft.com/office/drawing/2014/main" id="{5D5B0092-C73C-4D26-8E9A-157118BC89B1}"/>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6202" r="8956"/>
              <a:stretch/>
            </p:blipFill>
            <p:spPr bwMode="auto">
              <a:xfrm>
                <a:off x="1451571" y="1430725"/>
                <a:ext cx="2236192" cy="1483600"/>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29" name="TextBox 28">
              <a:extLst>
                <a:ext uri="{FF2B5EF4-FFF2-40B4-BE49-F238E27FC236}">
                  <a16:creationId xmlns:a16="http://schemas.microsoft.com/office/drawing/2014/main" id="{9849A997-85F2-401A-B8FB-598BD6185681}"/>
                </a:ext>
              </a:extLst>
            </p:cNvPr>
            <p:cNvSpPr txBox="1"/>
            <p:nvPr/>
          </p:nvSpPr>
          <p:spPr>
            <a:xfrm>
              <a:off x="1253133" y="3929837"/>
              <a:ext cx="6141024" cy="377075"/>
            </a:xfrm>
            <a:prstGeom prst="rect">
              <a:avLst/>
            </a:prstGeom>
            <a:noFill/>
          </p:spPr>
          <p:txBody>
            <a:bodyPr wrap="square" rtlCol="0">
              <a:spAutoFit/>
            </a:bodyPr>
            <a:lstStyle/>
            <a:p>
              <a:pPr algn="ctr" defTabSz="1219170"/>
              <a:r>
                <a:rPr lang="en-US" sz="2667" dirty="0">
                  <a:solidFill>
                    <a:prstClr val="white"/>
                  </a:solidFill>
                  <a:latin typeface="Arial"/>
                </a:rPr>
                <a:t>BREAKING NEWS! </a:t>
              </a:r>
            </a:p>
          </p:txBody>
        </p:sp>
        <p:sp>
          <p:nvSpPr>
            <p:cNvPr id="32" name="TextBox 31">
              <a:extLst>
                <a:ext uri="{FF2B5EF4-FFF2-40B4-BE49-F238E27FC236}">
                  <a16:creationId xmlns:a16="http://schemas.microsoft.com/office/drawing/2014/main" id="{B0CB089B-4E24-48A7-8962-690B15BEA627}"/>
                </a:ext>
              </a:extLst>
            </p:cNvPr>
            <p:cNvSpPr txBox="1"/>
            <p:nvPr/>
          </p:nvSpPr>
          <p:spPr>
            <a:xfrm>
              <a:off x="6047206" y="1387673"/>
              <a:ext cx="1143751" cy="623248"/>
            </a:xfrm>
            <a:prstGeom prst="rect">
              <a:avLst/>
            </a:prstGeom>
            <a:noFill/>
          </p:spPr>
          <p:txBody>
            <a:bodyPr wrap="square" rtlCol="0">
              <a:spAutoFit/>
            </a:bodyPr>
            <a:lstStyle/>
            <a:p>
              <a:pPr algn="ctr" defTabSz="1219170"/>
              <a:r>
                <a:rPr lang="en-US" sz="2400" dirty="0">
                  <a:solidFill>
                    <a:prstClr val="white"/>
                  </a:solidFill>
                  <a:latin typeface="Arial"/>
                </a:rPr>
                <a:t>XYZ NEWS</a:t>
              </a:r>
            </a:p>
          </p:txBody>
        </p:sp>
      </p:grpSp>
      <p:sp>
        <p:nvSpPr>
          <p:cNvPr id="27" name="TextBox 26">
            <a:extLst>
              <a:ext uri="{FF2B5EF4-FFF2-40B4-BE49-F238E27FC236}">
                <a16:creationId xmlns:a16="http://schemas.microsoft.com/office/drawing/2014/main" id="{94EB2879-4D3A-4900-932F-0045827D3416}"/>
              </a:ext>
            </a:extLst>
          </p:cNvPr>
          <p:cNvSpPr txBox="1"/>
          <p:nvPr/>
        </p:nvSpPr>
        <p:spPr>
          <a:xfrm>
            <a:off x="1651888" y="1150309"/>
            <a:ext cx="8188032" cy="461665"/>
          </a:xfrm>
          <a:prstGeom prst="rect">
            <a:avLst/>
          </a:prstGeom>
          <a:noFill/>
        </p:spPr>
        <p:txBody>
          <a:bodyPr wrap="square" rtlCol="0">
            <a:spAutoFit/>
          </a:bodyPr>
          <a:lstStyle/>
          <a:p>
            <a:pPr algn="ctr" defTabSz="1219170"/>
            <a:r>
              <a:rPr lang="en-US" sz="2400" dirty="0">
                <a:solidFill>
                  <a:prstClr val="white"/>
                </a:solidFill>
                <a:latin typeface="Arial"/>
              </a:rPr>
              <a:t>FLU OUTBREAK IN YOUR AREA DETECTED</a:t>
            </a:r>
          </a:p>
        </p:txBody>
      </p:sp>
      <p:pic>
        <p:nvPicPr>
          <p:cNvPr id="43" name="Picture 42">
            <a:extLst>
              <a:ext uri="{FF2B5EF4-FFF2-40B4-BE49-F238E27FC236}">
                <a16:creationId xmlns:a16="http://schemas.microsoft.com/office/drawing/2014/main" id="{7F66C39F-6A99-4D77-B937-EB3B503EA44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187908" y="687007"/>
            <a:ext cx="7140947" cy="5712757"/>
          </a:xfrm>
          <a:prstGeom prst="rect">
            <a:avLst/>
          </a:prstGeom>
        </p:spPr>
      </p:pic>
      <p:pic>
        <p:nvPicPr>
          <p:cNvPr id="41" name="Graphic 40">
            <a:extLst>
              <a:ext uri="{FF2B5EF4-FFF2-40B4-BE49-F238E27FC236}">
                <a16:creationId xmlns:a16="http://schemas.microsoft.com/office/drawing/2014/main" id="{F218D873-07E9-459B-9ED4-EFEF8FFDA3A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21185962">
            <a:off x="1461716" y="1220774"/>
            <a:ext cx="2721749" cy="1865569"/>
          </a:xfrm>
          <a:prstGeom prst="rect">
            <a:avLst/>
          </a:prstGeom>
          <a:effectLst>
            <a:outerShdw blurRad="50800" dist="38100" dir="5400000" algn="t" rotWithShape="0">
              <a:prstClr val="black">
                <a:alpha val="40000"/>
              </a:prstClr>
            </a:outerShdw>
          </a:effectLst>
        </p:spPr>
      </p:pic>
      <p:pic>
        <p:nvPicPr>
          <p:cNvPr id="50" name="Graphic 49">
            <a:extLst>
              <a:ext uri="{FF2B5EF4-FFF2-40B4-BE49-F238E27FC236}">
                <a16:creationId xmlns:a16="http://schemas.microsoft.com/office/drawing/2014/main" id="{0F0BD3C3-1AA9-4112-B7ED-018E3F0046C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345080" y="1051675"/>
            <a:ext cx="7140947" cy="4983420"/>
          </a:xfrm>
          <a:prstGeom prst="rect">
            <a:avLst/>
          </a:prstGeom>
        </p:spPr>
      </p:pic>
      <p:sp>
        <p:nvSpPr>
          <p:cNvPr id="4" name="Slide Number Placeholder 3">
            <a:extLst>
              <a:ext uri="{FF2B5EF4-FFF2-40B4-BE49-F238E27FC236}">
                <a16:creationId xmlns:a16="http://schemas.microsoft.com/office/drawing/2014/main" id="{B53F7B8E-9153-4235-99D4-3806925F1A5B}"/>
              </a:ext>
            </a:extLst>
          </p:cNvPr>
          <p:cNvSpPr>
            <a:spLocks noGrp="1"/>
          </p:cNvSpPr>
          <p:nvPr>
            <p:ph type="sldNum" sz="quarter" idx="12"/>
          </p:nvPr>
        </p:nvSpPr>
        <p:spPr/>
        <p:txBody>
          <a:bodyPr/>
          <a:lstStyle/>
          <a:p>
            <a:fld id="{D1541BB9-6530-43D2-B7E0-33A89042A350}" type="slidenum">
              <a:rPr lang="en-US" smtClean="0"/>
              <a:t>37</a:t>
            </a:fld>
            <a:endParaRPr lang="en-US"/>
          </a:p>
        </p:txBody>
      </p:sp>
    </p:spTree>
    <p:extLst>
      <p:ext uri="{BB962C8B-B14F-4D97-AF65-F5344CB8AC3E}">
        <p14:creationId xmlns:p14="http://schemas.microsoft.com/office/powerpoint/2010/main" val="46614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withEffect">
                                  <p:stCondLst>
                                    <p:cond delay="0"/>
                                  </p:stCondLst>
                                  <p:childTnLst>
                                    <p:animRot by="21600000">
                                      <p:cBhvr>
                                        <p:cTn id="6" dur="1250" fill="hold"/>
                                        <p:tgtEl>
                                          <p:spTgt spid="24"/>
                                        </p:tgtEl>
                                        <p:attrNameLst>
                                          <p:attrName>r</p:attrName>
                                        </p:attrNameLst>
                                      </p:cBhvr>
                                    </p:animRot>
                                  </p:childTnLst>
                                </p:cTn>
                              </p:par>
                            </p:childTnLst>
                          </p:cTn>
                        </p:par>
                        <p:par>
                          <p:cTn id="7" fill="hold">
                            <p:stCondLst>
                              <p:cond delay="1250"/>
                            </p:stCondLst>
                            <p:childTnLst>
                              <p:par>
                                <p:cTn id="8" presetID="10" presetClass="entr" presetSubtype="0" fill="hold" grpId="0" nodeType="after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xit" presetSubtype="0" fill="hold" nodeType="clickEffect">
                                  <p:stCondLst>
                                    <p:cond delay="0"/>
                                  </p:stCondLst>
                                  <p:childTnLst>
                                    <p:animEffect transition="out" filter="dissolve">
                                      <p:cBhvr>
                                        <p:cTn id="14" dur="500"/>
                                        <p:tgtEl>
                                          <p:spTgt spid="24"/>
                                        </p:tgtEl>
                                      </p:cBhvr>
                                    </p:animEffect>
                                    <p:set>
                                      <p:cBhvr>
                                        <p:cTn id="15" dur="1" fill="hold">
                                          <p:stCondLst>
                                            <p:cond delay="499"/>
                                          </p:stCondLst>
                                        </p:cTn>
                                        <p:tgtEl>
                                          <p:spTgt spid="24"/>
                                        </p:tgtEl>
                                        <p:attrNameLst>
                                          <p:attrName>style.visibility</p:attrName>
                                        </p:attrNameLst>
                                      </p:cBhvr>
                                      <p:to>
                                        <p:strVal val="hidden"/>
                                      </p:to>
                                    </p:set>
                                  </p:childTnLst>
                                </p:cTn>
                              </p:par>
                              <p:par>
                                <p:cTn id="16" presetID="9" presetClass="exit" presetSubtype="0" fill="hold" grpId="1" nodeType="withEffect">
                                  <p:stCondLst>
                                    <p:cond delay="0"/>
                                  </p:stCondLst>
                                  <p:childTnLst>
                                    <p:animEffect transition="out" filter="dissolve">
                                      <p:cBhvr>
                                        <p:cTn id="17" dur="500"/>
                                        <p:tgtEl>
                                          <p:spTgt spid="25"/>
                                        </p:tgtEl>
                                      </p:cBhvr>
                                    </p:animEffect>
                                    <p:set>
                                      <p:cBhvr>
                                        <p:cTn id="18" dur="1" fill="hold">
                                          <p:stCondLst>
                                            <p:cond delay="499"/>
                                          </p:stCondLst>
                                        </p:cTn>
                                        <p:tgtEl>
                                          <p:spTgt spid="25"/>
                                        </p:tgtEl>
                                        <p:attrNameLst>
                                          <p:attrName>style.visibility</p:attrName>
                                        </p:attrNameLst>
                                      </p:cBhvr>
                                      <p:to>
                                        <p:strVal val="hidden"/>
                                      </p:to>
                                    </p:set>
                                  </p:childTnLst>
                                </p:cTn>
                              </p:par>
                              <p:par>
                                <p:cTn id="19" presetID="9" presetClass="exit" presetSubtype="0" fill="hold" nodeType="withEffect">
                                  <p:stCondLst>
                                    <p:cond delay="0"/>
                                  </p:stCondLst>
                                  <p:childTnLst>
                                    <p:animEffect transition="out" filter="dissolve">
                                      <p:cBhvr>
                                        <p:cTn id="20" dur="500"/>
                                        <p:tgtEl>
                                          <p:spTgt spid="33"/>
                                        </p:tgtEl>
                                      </p:cBhvr>
                                    </p:animEffect>
                                    <p:set>
                                      <p:cBhvr>
                                        <p:cTn id="21" dur="1" fill="hold">
                                          <p:stCondLst>
                                            <p:cond delay="499"/>
                                          </p:stCondLst>
                                        </p:cTn>
                                        <p:tgtEl>
                                          <p:spTgt spid="33"/>
                                        </p:tgtEl>
                                        <p:attrNameLst>
                                          <p:attrName>style.visibility</p:attrName>
                                        </p:attrNameLst>
                                      </p:cBhvr>
                                      <p:to>
                                        <p:strVal val="hidden"/>
                                      </p:to>
                                    </p:set>
                                  </p:childTnLst>
                                </p:cTn>
                              </p:par>
                              <p:par>
                                <p:cTn id="22" presetID="9" presetClass="exit" presetSubtype="0" fill="hold" grpId="0" nodeType="withEffect">
                                  <p:stCondLst>
                                    <p:cond delay="0"/>
                                  </p:stCondLst>
                                  <p:childTnLst>
                                    <p:animEffect transition="out" filter="dissolve">
                                      <p:cBhvr>
                                        <p:cTn id="23" dur="500"/>
                                        <p:tgtEl>
                                          <p:spTgt spid="8"/>
                                        </p:tgtEl>
                                      </p:cBhvr>
                                    </p:animEffect>
                                    <p:set>
                                      <p:cBhvr>
                                        <p:cTn id="24" dur="1" fill="hold">
                                          <p:stCondLst>
                                            <p:cond delay="499"/>
                                          </p:stCondLst>
                                        </p:cTn>
                                        <p:tgtEl>
                                          <p:spTgt spid="8"/>
                                        </p:tgtEl>
                                        <p:attrNameLst>
                                          <p:attrName>style.visibility</p:attrName>
                                        </p:attrNameLst>
                                      </p:cBhvr>
                                      <p:to>
                                        <p:strVal val="hidden"/>
                                      </p:to>
                                    </p:set>
                                  </p:childTnLst>
                                </p:cTn>
                              </p:par>
                              <p:par>
                                <p:cTn id="25" presetID="10" presetClass="entr" presetSubtype="0" fill="hold" nodeType="with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fade">
                                      <p:cBhvr>
                                        <p:cTn id="27" dur="500"/>
                                        <p:tgtEl>
                                          <p:spTgt spid="35"/>
                                        </p:tgtEl>
                                      </p:cBhvr>
                                    </p:animEffect>
                                  </p:childTnLst>
                                </p:cTn>
                              </p:par>
                              <p:par>
                                <p:cTn id="28" presetID="35" presetClass="path" presetSubtype="0" repeatCount="indefinite" fill="hold" nodeType="withEffect">
                                  <p:stCondLst>
                                    <p:cond delay="0"/>
                                  </p:stCondLst>
                                  <p:endCondLst>
                                    <p:cond evt="onNext" delay="0">
                                      <p:tgtEl>
                                        <p:sldTgt/>
                                      </p:tgtEl>
                                    </p:cond>
                                  </p:endCondLst>
                                  <p:childTnLst>
                                    <p:animMotion origin="layout" path="M 0.44271 3.58025E-6 L -0.54062 3.58025E-6 " pathEditMode="relative" rAng="0" ptsTypes="AA">
                                      <p:cBhvr>
                                        <p:cTn id="29" dur="5000" fill="hold"/>
                                        <p:tgtEl>
                                          <p:spTgt spid="27">
                                            <p:txEl>
                                              <p:pRg st="0" end="0"/>
                                            </p:txEl>
                                          </p:spTgt>
                                        </p:tgtEl>
                                        <p:attrNameLst>
                                          <p:attrName>ppt_x</p:attrName>
                                          <p:attrName>ppt_y</p:attrName>
                                        </p:attrNameLst>
                                      </p:cBhvr>
                                      <p:rCtr x="-49167" y="0"/>
                                    </p:animMotion>
                                  </p:childTnLst>
                                </p:cTn>
                              </p:par>
                            </p:childTnLst>
                          </p:cTn>
                        </p:par>
                      </p:childTnLst>
                    </p:cTn>
                  </p:par>
                  <p:par>
                    <p:cTn id="30" fill="hold">
                      <p:stCondLst>
                        <p:cond delay="indefinite"/>
                      </p:stCondLst>
                      <p:childTnLst>
                        <p:par>
                          <p:cTn id="31" fill="hold">
                            <p:stCondLst>
                              <p:cond delay="0"/>
                            </p:stCondLst>
                            <p:childTnLst>
                              <p:par>
                                <p:cTn id="32" presetID="9" presetClass="exit" presetSubtype="0" fill="hold" nodeType="clickEffect">
                                  <p:stCondLst>
                                    <p:cond delay="0"/>
                                  </p:stCondLst>
                                  <p:childTnLst>
                                    <p:animEffect transition="out" filter="dissolve">
                                      <p:cBhvr>
                                        <p:cTn id="33" dur="500"/>
                                        <p:tgtEl>
                                          <p:spTgt spid="35"/>
                                        </p:tgtEl>
                                      </p:cBhvr>
                                    </p:animEffect>
                                    <p:set>
                                      <p:cBhvr>
                                        <p:cTn id="34" dur="1" fill="hold">
                                          <p:stCondLst>
                                            <p:cond delay="499"/>
                                          </p:stCondLst>
                                        </p:cTn>
                                        <p:tgtEl>
                                          <p:spTgt spid="35"/>
                                        </p:tgtEl>
                                        <p:attrNameLst>
                                          <p:attrName>style.visibility</p:attrName>
                                        </p:attrNameLst>
                                      </p:cBhvr>
                                      <p:to>
                                        <p:strVal val="hidden"/>
                                      </p:to>
                                    </p:set>
                                  </p:childTnLst>
                                </p:cTn>
                              </p:par>
                              <p:par>
                                <p:cTn id="35" presetID="9" presetClass="exit" presetSubtype="0" fill="hold" grpId="0" nodeType="withEffect">
                                  <p:stCondLst>
                                    <p:cond delay="0"/>
                                  </p:stCondLst>
                                  <p:childTnLst>
                                    <p:animEffect transition="out" filter="dissolve">
                                      <p:cBhvr>
                                        <p:cTn id="36" dur="500"/>
                                        <p:tgtEl>
                                          <p:spTgt spid="27">
                                            <p:txEl>
                                              <p:pRg st="0" end="0"/>
                                            </p:txEl>
                                          </p:spTgt>
                                        </p:tgtEl>
                                      </p:cBhvr>
                                    </p:animEffect>
                                    <p:set>
                                      <p:cBhvr>
                                        <p:cTn id="37" dur="1" fill="hold">
                                          <p:stCondLst>
                                            <p:cond delay="499"/>
                                          </p:stCondLst>
                                        </p:cTn>
                                        <p:tgtEl>
                                          <p:spTgt spid="27">
                                            <p:txEl>
                                              <p:pRg st="0" end="0"/>
                                            </p:txEl>
                                          </p:spTgt>
                                        </p:tgtEl>
                                        <p:attrNameLst>
                                          <p:attrName>style.visibility</p:attrName>
                                        </p:attrNameLst>
                                      </p:cBhvr>
                                      <p:to>
                                        <p:strVal val="hidden"/>
                                      </p:to>
                                    </p:set>
                                  </p:childTnLst>
                                </p:cTn>
                              </p:par>
                              <p:par>
                                <p:cTn id="38" presetID="10" presetClass="entr" presetSubtype="0" fill="hold" nodeType="withEffect">
                                  <p:stCondLst>
                                    <p:cond delay="0"/>
                                  </p:stCondLst>
                                  <p:childTnLst>
                                    <p:set>
                                      <p:cBhvr>
                                        <p:cTn id="39" dur="1" fill="hold">
                                          <p:stCondLst>
                                            <p:cond delay="0"/>
                                          </p:stCondLst>
                                        </p:cTn>
                                        <p:tgtEl>
                                          <p:spTgt spid="43"/>
                                        </p:tgtEl>
                                        <p:attrNameLst>
                                          <p:attrName>style.visibility</p:attrName>
                                        </p:attrNameLst>
                                      </p:cBhvr>
                                      <p:to>
                                        <p:strVal val="visible"/>
                                      </p:to>
                                    </p:set>
                                    <p:animEffect transition="in" filter="fade">
                                      <p:cBhvr>
                                        <p:cTn id="40" dur="500"/>
                                        <p:tgtEl>
                                          <p:spTgt spid="43"/>
                                        </p:tgtEl>
                                      </p:cBhvr>
                                    </p:animEffect>
                                  </p:childTnLst>
                                </p:cTn>
                              </p:par>
                            </p:childTnLst>
                          </p:cTn>
                        </p:par>
                      </p:childTnLst>
                    </p:cTn>
                  </p:par>
                  <p:par>
                    <p:cTn id="41" fill="hold">
                      <p:stCondLst>
                        <p:cond delay="indefinite"/>
                      </p:stCondLst>
                      <p:childTnLst>
                        <p:par>
                          <p:cTn id="42" fill="hold">
                            <p:stCondLst>
                              <p:cond delay="0"/>
                            </p:stCondLst>
                            <p:childTnLst>
                              <p:par>
                                <p:cTn id="43" presetID="9" presetClass="exit" presetSubtype="0" fill="hold" nodeType="clickEffect">
                                  <p:stCondLst>
                                    <p:cond delay="0"/>
                                  </p:stCondLst>
                                  <p:childTnLst>
                                    <p:animEffect transition="out" filter="dissolve">
                                      <p:cBhvr>
                                        <p:cTn id="44" dur="500"/>
                                        <p:tgtEl>
                                          <p:spTgt spid="43"/>
                                        </p:tgtEl>
                                      </p:cBhvr>
                                    </p:animEffect>
                                    <p:set>
                                      <p:cBhvr>
                                        <p:cTn id="45" dur="1" fill="hold">
                                          <p:stCondLst>
                                            <p:cond delay="499"/>
                                          </p:stCondLst>
                                        </p:cTn>
                                        <p:tgtEl>
                                          <p:spTgt spid="43"/>
                                        </p:tgtEl>
                                        <p:attrNameLst>
                                          <p:attrName>style.visibility</p:attrName>
                                        </p:attrNameLst>
                                      </p:cBhvr>
                                      <p:to>
                                        <p:strVal val="hidden"/>
                                      </p:to>
                                    </p:set>
                                  </p:childTnLst>
                                </p:cTn>
                              </p:par>
                              <p:par>
                                <p:cTn id="46" presetID="10" presetClass="entr" presetSubtype="0" fill="hold" nodeType="withEffect">
                                  <p:stCondLst>
                                    <p:cond delay="0"/>
                                  </p:stCondLst>
                                  <p:childTnLst>
                                    <p:set>
                                      <p:cBhvr>
                                        <p:cTn id="47" dur="1" fill="hold">
                                          <p:stCondLst>
                                            <p:cond delay="0"/>
                                          </p:stCondLst>
                                        </p:cTn>
                                        <p:tgtEl>
                                          <p:spTgt spid="50"/>
                                        </p:tgtEl>
                                        <p:attrNameLst>
                                          <p:attrName>style.visibility</p:attrName>
                                        </p:attrNameLst>
                                      </p:cBhvr>
                                      <p:to>
                                        <p:strVal val="visible"/>
                                      </p:to>
                                    </p:set>
                                    <p:animEffect transition="in" filter="fade">
                                      <p:cBhvr>
                                        <p:cTn id="48" dur="250"/>
                                        <p:tgtEl>
                                          <p:spTgt spid="50"/>
                                        </p:tgtEl>
                                      </p:cBhvr>
                                    </p:animEffect>
                                  </p:childTnLst>
                                </p:cTn>
                              </p:par>
                            </p:childTnLst>
                          </p:cTn>
                        </p:par>
                        <p:par>
                          <p:cTn id="49" fill="hold">
                            <p:stCondLst>
                              <p:cond delay="500"/>
                            </p:stCondLst>
                            <p:childTnLst>
                              <p:par>
                                <p:cTn id="50" presetID="2" presetClass="entr" presetSubtype="8" fill="hold" nodeType="afterEffect">
                                  <p:stCondLst>
                                    <p:cond delay="0"/>
                                  </p:stCondLst>
                                  <p:childTnLst>
                                    <p:set>
                                      <p:cBhvr>
                                        <p:cTn id="51" dur="1" fill="hold">
                                          <p:stCondLst>
                                            <p:cond delay="0"/>
                                          </p:stCondLst>
                                        </p:cTn>
                                        <p:tgtEl>
                                          <p:spTgt spid="41"/>
                                        </p:tgtEl>
                                        <p:attrNameLst>
                                          <p:attrName>style.visibility</p:attrName>
                                        </p:attrNameLst>
                                      </p:cBhvr>
                                      <p:to>
                                        <p:strVal val="visible"/>
                                      </p:to>
                                    </p:set>
                                    <p:anim calcmode="lin" valueType="num">
                                      <p:cBhvr additive="base">
                                        <p:cTn id="52" dur="2000" fill="hold"/>
                                        <p:tgtEl>
                                          <p:spTgt spid="41"/>
                                        </p:tgtEl>
                                        <p:attrNameLst>
                                          <p:attrName>ppt_x</p:attrName>
                                        </p:attrNameLst>
                                      </p:cBhvr>
                                      <p:tavLst>
                                        <p:tav tm="0">
                                          <p:val>
                                            <p:strVal val="0-#ppt_w/2"/>
                                          </p:val>
                                        </p:tav>
                                        <p:tav tm="100000">
                                          <p:val>
                                            <p:strVal val="#ppt_x"/>
                                          </p:val>
                                        </p:tav>
                                      </p:tavLst>
                                    </p:anim>
                                    <p:anim calcmode="lin" valueType="num">
                                      <p:cBhvr additive="base">
                                        <p:cTn id="53" dur="2000" fill="hold"/>
                                        <p:tgtEl>
                                          <p:spTgt spid="4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25" grpId="0" animBg="1"/>
      <p:bldP spid="25" grpId="1" animBg="1"/>
      <p:bldP spid="27" grpId="0" build="allAtOnce"/>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month 1" descr="A picture containing text, map&#10;&#10;Description generated with very high confidence">
            <a:extLst>
              <a:ext uri="{FF2B5EF4-FFF2-40B4-BE49-F238E27FC236}">
                <a16:creationId xmlns:a16="http://schemas.microsoft.com/office/drawing/2014/main" id="{4F6B527A-947D-4624-A978-45A21A62E5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1200" y="219365"/>
            <a:ext cx="11050965" cy="5833772"/>
          </a:xfrm>
          <a:prstGeom prst="rect">
            <a:avLst/>
          </a:prstGeom>
        </p:spPr>
      </p:pic>
      <p:sp>
        <p:nvSpPr>
          <p:cNvPr id="8" name="TextBox 7">
            <a:extLst>
              <a:ext uri="{FF2B5EF4-FFF2-40B4-BE49-F238E27FC236}">
                <a16:creationId xmlns:a16="http://schemas.microsoft.com/office/drawing/2014/main" id="{20970762-4EA3-4C73-B572-AC9849F52C4D}"/>
              </a:ext>
            </a:extLst>
          </p:cNvPr>
          <p:cNvSpPr txBox="1"/>
          <p:nvPr/>
        </p:nvSpPr>
        <p:spPr>
          <a:xfrm>
            <a:off x="9071554" y="1622972"/>
            <a:ext cx="3313805" cy="420564"/>
          </a:xfrm>
          <a:prstGeom prst="rect">
            <a:avLst/>
          </a:prstGeom>
          <a:noFill/>
        </p:spPr>
        <p:txBody>
          <a:bodyPr wrap="square" rtlCol="0">
            <a:spAutoFit/>
          </a:bodyPr>
          <a:lstStyle/>
          <a:p>
            <a:pPr defTabSz="1219170"/>
            <a:r>
              <a:rPr lang="en-US" sz="2133" b="1" dirty="0">
                <a:solidFill>
                  <a:srgbClr val="231F20"/>
                </a:solidFill>
                <a:latin typeface="Arial"/>
              </a:rPr>
              <a:t>Novel H7N9 Detected!</a:t>
            </a:r>
          </a:p>
        </p:txBody>
      </p:sp>
      <p:sp>
        <p:nvSpPr>
          <p:cNvPr id="12" name="dotted line">
            <a:extLst>
              <a:ext uri="{FF2B5EF4-FFF2-40B4-BE49-F238E27FC236}">
                <a16:creationId xmlns:a16="http://schemas.microsoft.com/office/drawing/2014/main" id="{65C37846-62AD-4221-99A9-0C8AC65B19E7}"/>
              </a:ext>
            </a:extLst>
          </p:cNvPr>
          <p:cNvSpPr/>
          <p:nvPr/>
        </p:nvSpPr>
        <p:spPr>
          <a:xfrm>
            <a:off x="2880360" y="1110342"/>
            <a:ext cx="6207760" cy="1279845"/>
          </a:xfrm>
          <a:custGeom>
            <a:avLst/>
            <a:gdLst>
              <a:gd name="connsiteX0" fmla="*/ 4389120 w 4389120"/>
              <a:gd name="connsiteY0" fmla="*/ 960387 h 1040397"/>
              <a:gd name="connsiteX1" fmla="*/ 2240280 w 4389120"/>
              <a:gd name="connsiteY1" fmla="*/ 267 h 1040397"/>
              <a:gd name="connsiteX2" fmla="*/ 0 w 4389120"/>
              <a:gd name="connsiteY2" fmla="*/ 1040397 h 1040397"/>
              <a:gd name="connsiteX0" fmla="*/ 4655820 w 4655820"/>
              <a:gd name="connsiteY0" fmla="*/ 1090143 h 1090143"/>
              <a:gd name="connsiteX1" fmla="*/ 2240280 w 4655820"/>
              <a:gd name="connsiteY1" fmla="*/ 212 h 1090143"/>
              <a:gd name="connsiteX2" fmla="*/ 0 w 4655820"/>
              <a:gd name="connsiteY2" fmla="*/ 1040342 h 1090143"/>
            </a:gdLst>
            <a:ahLst/>
            <a:cxnLst>
              <a:cxn ang="0">
                <a:pos x="connsiteX0" y="connsiteY0"/>
              </a:cxn>
              <a:cxn ang="0">
                <a:pos x="connsiteX1" y="connsiteY1"/>
              </a:cxn>
              <a:cxn ang="0">
                <a:pos x="connsiteX2" y="connsiteY2"/>
              </a:cxn>
            </a:cxnLst>
            <a:rect l="l" t="t" r="r" b="b"/>
            <a:pathLst>
              <a:path w="4655820" h="1090143">
                <a:moveTo>
                  <a:pt x="4655820" y="1090143"/>
                </a:moveTo>
                <a:cubicBezTo>
                  <a:pt x="3947160" y="603415"/>
                  <a:pt x="2971800" y="-13123"/>
                  <a:pt x="2240280" y="212"/>
                </a:cubicBezTo>
                <a:cubicBezTo>
                  <a:pt x="1508760" y="13547"/>
                  <a:pt x="754380" y="526944"/>
                  <a:pt x="0" y="1040342"/>
                </a:cubicBezTo>
              </a:path>
            </a:pathLst>
          </a:custGeom>
          <a:noFill/>
          <a:ln w="19050">
            <a:solidFill>
              <a:srgbClr val="231F2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Arial"/>
            </a:endParaRPr>
          </a:p>
        </p:txBody>
      </p:sp>
      <p:pic>
        <p:nvPicPr>
          <p:cNvPr id="14" name="house" descr="Suburban scene">
            <a:extLst>
              <a:ext uri="{FF2B5EF4-FFF2-40B4-BE49-F238E27FC236}">
                <a16:creationId xmlns:a16="http://schemas.microsoft.com/office/drawing/2014/main" id="{45290100-FEE8-4B73-9AC7-5CEAB61B86C7}"/>
              </a:ext>
            </a:extLst>
          </p:cNvPr>
          <p:cNvPicPr>
            <a:picLocks noChangeAspect="1"/>
          </p:cNvPicPr>
          <p:nvPr/>
        </p:nvPicPr>
        <p:blipFill>
          <a:blip cstate="print">
            <a:extLst>
              <a:ext uri="{28A0092B-C50C-407E-A947-70E740481C1C}">
                <a14:useLocalDpi xmlns:a14="http://schemas.microsoft.com/office/drawing/2010/main" val="0"/>
              </a:ext>
            </a:extLst>
          </a:blip>
          <a:stretch>
            <a:fillRect/>
          </a:stretch>
        </p:blipFill>
        <p:spPr>
          <a:xfrm>
            <a:off x="2231767" y="2023447"/>
            <a:ext cx="914400" cy="914400"/>
          </a:xfrm>
          <a:prstGeom prst="rect">
            <a:avLst/>
          </a:prstGeom>
        </p:spPr>
      </p:pic>
      <p:sp>
        <p:nvSpPr>
          <p:cNvPr id="15" name="Explosion: 14 Points 14">
            <a:extLst>
              <a:ext uri="{FF2B5EF4-FFF2-40B4-BE49-F238E27FC236}">
                <a16:creationId xmlns:a16="http://schemas.microsoft.com/office/drawing/2014/main" id="{45F8DBA4-A05C-412B-9E2D-AF43568EFECD}"/>
              </a:ext>
            </a:extLst>
          </p:cNvPr>
          <p:cNvSpPr/>
          <p:nvPr/>
        </p:nvSpPr>
        <p:spPr>
          <a:xfrm rot="1380378">
            <a:off x="8815997" y="1915529"/>
            <a:ext cx="1130236" cy="1130236"/>
          </a:xfrm>
          <a:prstGeom prst="irregularSeal2">
            <a:avLst/>
          </a:prstGeom>
          <a:gradFill>
            <a:gsLst>
              <a:gs pos="0">
                <a:srgbClr val="C00000"/>
              </a:gs>
              <a:gs pos="100000">
                <a:srgbClr val="C00000"/>
              </a:gs>
            </a:gsLst>
          </a:gradFill>
        </p:spPr>
        <p:style>
          <a:lnRef idx="0">
            <a:schemeClr val="accent4"/>
          </a:lnRef>
          <a:fillRef idx="3">
            <a:schemeClr val="accent4"/>
          </a:fillRef>
          <a:effectRef idx="3">
            <a:schemeClr val="accent4"/>
          </a:effectRef>
          <a:fontRef idx="minor">
            <a:schemeClr val="lt1"/>
          </a:fontRef>
        </p:style>
        <p:txBody>
          <a:bodyPr rtlCol="0" anchor="ctr"/>
          <a:lstStyle/>
          <a:p>
            <a:pPr algn="ctr" defTabSz="1219170"/>
            <a:endParaRPr lang="en-US" sz="2400" dirty="0">
              <a:solidFill>
                <a:prstClr val="white"/>
              </a:solidFill>
              <a:latin typeface="Arial"/>
            </a:endParaRPr>
          </a:p>
        </p:txBody>
      </p:sp>
      <p:sp>
        <p:nvSpPr>
          <p:cNvPr id="16" name="h7n9">
            <a:extLst>
              <a:ext uri="{FF2B5EF4-FFF2-40B4-BE49-F238E27FC236}">
                <a16:creationId xmlns:a16="http://schemas.microsoft.com/office/drawing/2014/main" id="{1693E0CD-51A0-4AD0-8946-5C3964E32368}"/>
              </a:ext>
            </a:extLst>
          </p:cNvPr>
          <p:cNvSpPr/>
          <p:nvPr/>
        </p:nvSpPr>
        <p:spPr>
          <a:xfrm>
            <a:off x="8916175" y="2294161"/>
            <a:ext cx="797013" cy="379656"/>
          </a:xfrm>
          <a:prstGeom prst="rect">
            <a:avLst/>
          </a:prstGeom>
        </p:spPr>
        <p:txBody>
          <a:bodyPr wrap="none">
            <a:spAutoFit/>
          </a:bodyPr>
          <a:lstStyle/>
          <a:p>
            <a:pPr defTabSz="1219170"/>
            <a:r>
              <a:rPr lang="en-US" sz="1867" b="1" dirty="0">
                <a:solidFill>
                  <a:prstClr val="white"/>
                </a:solidFill>
                <a:latin typeface="Arial"/>
              </a:rPr>
              <a:t>H7N9</a:t>
            </a:r>
            <a:endParaRPr lang="en-US" sz="1867" dirty="0">
              <a:solidFill>
                <a:prstClr val="white"/>
              </a:solidFill>
              <a:latin typeface="Arial"/>
            </a:endParaRPr>
          </a:p>
        </p:txBody>
      </p:sp>
      <p:pic>
        <p:nvPicPr>
          <p:cNvPr id="7" name="machine"/>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31767" y="2023447"/>
            <a:ext cx="999460" cy="877527"/>
          </a:xfrm>
          <a:prstGeom prst="rect">
            <a:avLst/>
          </a:prstGeom>
        </p:spPr>
      </p:pic>
      <p:pic>
        <p:nvPicPr>
          <p:cNvPr id="5" name="patch" descr="Image result for drug delivery patch transdermal"/>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3373" r="15592"/>
          <a:stretch/>
        </p:blipFill>
        <p:spPr bwMode="auto">
          <a:xfrm>
            <a:off x="2131826" y="1936570"/>
            <a:ext cx="1199341" cy="1001277"/>
          </a:xfrm>
          <a:prstGeom prst="rect">
            <a:avLst/>
          </a:prstGeom>
          <a:noFill/>
          <a:extLst>
            <a:ext uri="{909E8E84-426E-40dd-AFC4-6F175D3DCCD1}">
              <a14:hiddenFill xmlns="" xmlns:a14="http://schemas.microsoft.com/office/drawing/2010/main">
                <a:solidFill>
                  <a:srgbClr val="FFFFFF"/>
                </a:solidFill>
              </a14:hiddenFill>
            </a:ext>
          </a:extLst>
        </p:spPr>
      </p:pic>
      <p:pic>
        <p:nvPicPr>
          <p:cNvPr id="18" name="girl sleeping" descr="A baby lying on a bed with a teddy bear&#10;&#10;Description automatically generated">
            <a:extLst>
              <a:ext uri="{FF2B5EF4-FFF2-40B4-BE49-F238E27FC236}">
                <a16:creationId xmlns:a16="http://schemas.microsoft.com/office/drawing/2014/main" id="{B20F35F9-050C-4DC4-BE1A-F34B8294CDA8}"/>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14191" b="11661"/>
          <a:stretch/>
        </p:blipFill>
        <p:spPr>
          <a:xfrm>
            <a:off x="-1" y="0"/>
            <a:ext cx="12192001" cy="6857999"/>
          </a:xfrm>
          <a:prstGeom prst="rect">
            <a:avLst/>
          </a:prstGeom>
        </p:spPr>
      </p:pic>
      <p:grpSp>
        <p:nvGrpSpPr>
          <p:cNvPr id="2" name="Group 1">
            <a:extLst>
              <a:ext uri="{FF2B5EF4-FFF2-40B4-BE49-F238E27FC236}">
                <a16:creationId xmlns:a16="http://schemas.microsoft.com/office/drawing/2014/main" id="{CE9C9E90-8463-4F5E-AA2B-A3A3EA060DE7}"/>
              </a:ext>
            </a:extLst>
          </p:cNvPr>
          <p:cNvGrpSpPr/>
          <p:nvPr/>
        </p:nvGrpSpPr>
        <p:grpSpPr>
          <a:xfrm>
            <a:off x="8678334" y="1989172"/>
            <a:ext cx="972157" cy="792083"/>
            <a:chOff x="6322334" y="1297006"/>
            <a:chExt cx="729118" cy="594062"/>
          </a:xfrm>
        </p:grpSpPr>
        <p:pic>
          <p:nvPicPr>
            <p:cNvPr id="2052" name="dna strand" descr="Image result for dna straND ICON">
              <a:extLst>
                <a:ext uri="{FF2B5EF4-FFF2-40B4-BE49-F238E27FC236}">
                  <a16:creationId xmlns:a16="http://schemas.microsoft.com/office/drawing/2014/main" id="{4F5A1AB7-03D4-4BDA-8C00-85221EB59722}"/>
                </a:ext>
              </a:extLst>
            </p:cNvPr>
            <p:cNvPicPr>
              <a:picLocks noChangeAspect="1" noChangeArrowheads="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21200" t="20371" r="21007" b="26296"/>
            <a:stretch/>
          </p:blipFill>
          <p:spPr bwMode="auto">
            <a:xfrm rot="17182486">
              <a:off x="6321401" y="1297939"/>
              <a:ext cx="558825" cy="556960"/>
            </a:xfrm>
            <a:prstGeom prst="rect">
              <a:avLst/>
            </a:prstGeom>
            <a:noFill/>
            <a:extLst>
              <a:ext uri="{909E8E84-426E-40DD-AFC4-6F175D3DCCD1}">
                <a14:hiddenFill xmlns:a14="http://schemas.microsoft.com/office/drawing/2010/main">
                  <a:solidFill>
                    <a:srgbClr val="FFFFFF"/>
                  </a:solidFill>
                </a14:hiddenFill>
              </a:ext>
            </a:extLst>
          </p:spPr>
        </p:pic>
        <p:pic>
          <p:nvPicPr>
            <p:cNvPr id="17" name="dna strand" descr="Image result for dna straND ICON">
              <a:extLst>
                <a:ext uri="{FF2B5EF4-FFF2-40B4-BE49-F238E27FC236}">
                  <a16:creationId xmlns:a16="http://schemas.microsoft.com/office/drawing/2014/main" id="{CEE10CFB-73A6-484D-BC1A-CF8A06CC59BB}"/>
                </a:ext>
              </a:extLst>
            </p:cNvPr>
            <p:cNvPicPr>
              <a:picLocks noChangeAspect="1" noChangeArrowheads="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21200" t="20371" r="21007" b="26296"/>
            <a:stretch/>
          </p:blipFill>
          <p:spPr bwMode="auto">
            <a:xfrm rot="18832844">
              <a:off x="6493559" y="1333176"/>
              <a:ext cx="558825" cy="556960"/>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Slide Number Placeholder 2">
            <a:extLst>
              <a:ext uri="{FF2B5EF4-FFF2-40B4-BE49-F238E27FC236}">
                <a16:creationId xmlns:a16="http://schemas.microsoft.com/office/drawing/2014/main" id="{7A2E242A-AD5A-4644-80BD-F53610F82250}"/>
              </a:ext>
            </a:extLst>
          </p:cNvPr>
          <p:cNvSpPr>
            <a:spLocks noGrp="1"/>
          </p:cNvSpPr>
          <p:nvPr>
            <p:ph type="sldNum" sz="quarter" idx="12"/>
          </p:nvPr>
        </p:nvSpPr>
        <p:spPr/>
        <p:txBody>
          <a:bodyPr/>
          <a:lstStyle/>
          <a:p>
            <a:fld id="{4FA07702-9C82-4FBE-B98C-E58879511A7A}" type="slidenum">
              <a:rPr lang="en-US" smtClean="0"/>
              <a:t>38</a:t>
            </a:fld>
            <a:endParaRPr lang="en-US"/>
          </a:p>
        </p:txBody>
      </p:sp>
    </p:spTree>
    <p:extLst>
      <p:ext uri="{BB962C8B-B14F-4D97-AF65-F5344CB8AC3E}">
        <p14:creationId xmlns:p14="http://schemas.microsoft.com/office/powerpoint/2010/main" val="17689439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1000" fill="hold"/>
                                        <p:tgtEl>
                                          <p:spTgt spid="15"/>
                                        </p:tgtEl>
                                        <p:attrNameLst>
                                          <p:attrName>ppt_w</p:attrName>
                                        </p:attrNameLst>
                                      </p:cBhvr>
                                      <p:tavLst>
                                        <p:tav tm="0">
                                          <p:val>
                                            <p:fltVal val="0"/>
                                          </p:val>
                                        </p:tav>
                                        <p:tav tm="100000">
                                          <p:val>
                                            <p:strVal val="#ppt_w"/>
                                          </p:val>
                                        </p:tav>
                                      </p:tavLst>
                                    </p:anim>
                                    <p:anim calcmode="lin" valueType="num">
                                      <p:cBhvr>
                                        <p:cTn id="8" dur="1000" fill="hold"/>
                                        <p:tgtEl>
                                          <p:spTgt spid="15"/>
                                        </p:tgtEl>
                                        <p:attrNameLst>
                                          <p:attrName>ppt_h</p:attrName>
                                        </p:attrNameLst>
                                      </p:cBhvr>
                                      <p:tavLst>
                                        <p:tav tm="0">
                                          <p:val>
                                            <p:fltVal val="0"/>
                                          </p:val>
                                        </p:tav>
                                        <p:tav tm="100000">
                                          <p:val>
                                            <p:strVal val="#ppt_h"/>
                                          </p:val>
                                        </p:tav>
                                      </p:tavLst>
                                    </p:anim>
                                    <p:anim calcmode="lin" valueType="num">
                                      <p:cBhvr>
                                        <p:cTn id="9" dur="1000" fill="hold"/>
                                        <p:tgtEl>
                                          <p:spTgt spid="15"/>
                                        </p:tgtEl>
                                        <p:attrNameLst>
                                          <p:attrName>style.rotation</p:attrName>
                                        </p:attrNameLst>
                                      </p:cBhvr>
                                      <p:tavLst>
                                        <p:tav tm="0">
                                          <p:val>
                                            <p:fltVal val="90"/>
                                          </p:val>
                                        </p:tav>
                                        <p:tav tm="100000">
                                          <p:val>
                                            <p:fltVal val="0"/>
                                          </p:val>
                                        </p:tav>
                                      </p:tavLst>
                                    </p:anim>
                                    <p:animEffect transition="in" filter="fade">
                                      <p:cBhvr>
                                        <p:cTn id="10" dur="1000"/>
                                        <p:tgtEl>
                                          <p:spTgt spid="15"/>
                                        </p:tgtEl>
                                      </p:cBhvr>
                                    </p:animEffect>
                                  </p:childTnLst>
                                </p:cTn>
                              </p:par>
                            </p:childTnLst>
                          </p:cTn>
                        </p:par>
                        <p:par>
                          <p:cTn id="11" fill="hold">
                            <p:stCondLst>
                              <p:cond delay="1000"/>
                            </p:stCondLst>
                            <p:childTnLst>
                              <p:par>
                                <p:cTn id="12" presetID="10" presetClass="entr" presetSubtype="0" fill="hold" grpId="0" nodeType="after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fade">
                                      <p:cBhvr>
                                        <p:cTn id="14" dur="500"/>
                                        <p:tgtEl>
                                          <p:spTgt spid="16"/>
                                        </p:tgtEl>
                                      </p:cBhvr>
                                    </p:animEffect>
                                  </p:childTnLst>
                                </p:cTn>
                              </p:par>
                            </p:childTnLst>
                          </p:cTn>
                        </p:par>
                        <p:par>
                          <p:cTn id="15" fill="hold">
                            <p:stCondLst>
                              <p:cond delay="1500"/>
                            </p:stCondLst>
                            <p:childTnLst>
                              <p:par>
                                <p:cTn id="16" presetID="47" presetClass="entr" presetSubtype="0" fill="hold" grpId="0" nodeType="after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1000"/>
                                        <p:tgtEl>
                                          <p:spTgt spid="8"/>
                                        </p:tgtEl>
                                      </p:cBhvr>
                                    </p:animEffect>
                                    <p:anim calcmode="lin" valueType="num">
                                      <p:cBhvr>
                                        <p:cTn id="19" dur="1000" fill="hold"/>
                                        <p:tgtEl>
                                          <p:spTgt spid="8"/>
                                        </p:tgtEl>
                                        <p:attrNameLst>
                                          <p:attrName>ppt_x</p:attrName>
                                        </p:attrNameLst>
                                      </p:cBhvr>
                                      <p:tavLst>
                                        <p:tav tm="0">
                                          <p:val>
                                            <p:strVal val="#ppt_x"/>
                                          </p:val>
                                        </p:tav>
                                        <p:tav tm="100000">
                                          <p:val>
                                            <p:strVal val="#ppt_x"/>
                                          </p:val>
                                        </p:tav>
                                      </p:tavLst>
                                    </p:anim>
                                    <p:anim calcmode="lin" valueType="num">
                                      <p:cBhvr>
                                        <p:cTn id="20"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2" presetClass="entr" presetSubtype="2"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wipe(right)">
                                      <p:cBhvr>
                                        <p:cTn id="25" dur="2000"/>
                                        <p:tgtEl>
                                          <p:spTgt spid="12"/>
                                        </p:tgtEl>
                                      </p:cBhvr>
                                    </p:animEffect>
                                  </p:childTnLst>
                                </p:cTn>
                              </p:par>
                              <p:par>
                                <p:cTn id="26" presetID="53" presetClass="entr" presetSubtype="16" fill="hold" nodeType="withEffect">
                                  <p:stCondLst>
                                    <p:cond delay="500"/>
                                  </p:stCondLst>
                                  <p:childTnLst>
                                    <p:set>
                                      <p:cBhvr>
                                        <p:cTn id="27" dur="1" fill="hold">
                                          <p:stCondLst>
                                            <p:cond delay="0"/>
                                          </p:stCondLst>
                                        </p:cTn>
                                        <p:tgtEl>
                                          <p:spTgt spid="14"/>
                                        </p:tgtEl>
                                        <p:attrNameLst>
                                          <p:attrName>style.visibility</p:attrName>
                                        </p:attrNameLst>
                                      </p:cBhvr>
                                      <p:to>
                                        <p:strVal val="visible"/>
                                      </p:to>
                                    </p:set>
                                    <p:anim calcmode="lin" valueType="num">
                                      <p:cBhvr>
                                        <p:cTn id="28" dur="1000" fill="hold"/>
                                        <p:tgtEl>
                                          <p:spTgt spid="14"/>
                                        </p:tgtEl>
                                        <p:attrNameLst>
                                          <p:attrName>ppt_w</p:attrName>
                                        </p:attrNameLst>
                                      </p:cBhvr>
                                      <p:tavLst>
                                        <p:tav tm="0">
                                          <p:val>
                                            <p:fltVal val="0"/>
                                          </p:val>
                                        </p:tav>
                                        <p:tav tm="100000">
                                          <p:val>
                                            <p:strVal val="#ppt_w"/>
                                          </p:val>
                                        </p:tav>
                                      </p:tavLst>
                                    </p:anim>
                                    <p:anim calcmode="lin" valueType="num">
                                      <p:cBhvr>
                                        <p:cTn id="29" dur="1000" fill="hold"/>
                                        <p:tgtEl>
                                          <p:spTgt spid="14"/>
                                        </p:tgtEl>
                                        <p:attrNameLst>
                                          <p:attrName>ppt_h</p:attrName>
                                        </p:attrNameLst>
                                      </p:cBhvr>
                                      <p:tavLst>
                                        <p:tav tm="0">
                                          <p:val>
                                            <p:fltVal val="0"/>
                                          </p:val>
                                        </p:tav>
                                        <p:tav tm="100000">
                                          <p:val>
                                            <p:strVal val="#ppt_h"/>
                                          </p:val>
                                        </p:tav>
                                      </p:tavLst>
                                    </p:anim>
                                    <p:animEffect transition="in" filter="fade">
                                      <p:cBhvr>
                                        <p:cTn id="30" dur="1000"/>
                                        <p:tgtEl>
                                          <p:spTgt spid="14"/>
                                        </p:tgtEl>
                                      </p:cBhvr>
                                    </p:animEffect>
                                  </p:childTnLst>
                                </p:cTn>
                              </p:par>
                            </p:childTnLst>
                          </p:cTn>
                        </p:par>
                        <p:par>
                          <p:cTn id="31" fill="hold">
                            <p:stCondLst>
                              <p:cond delay="2000"/>
                            </p:stCondLst>
                            <p:childTnLst>
                              <p:par>
                                <p:cTn id="32" presetID="10" presetClass="entr" presetSubtype="0" fill="hold" nodeType="afterEffect">
                                  <p:stCondLst>
                                    <p:cond delay="250"/>
                                  </p:stCondLst>
                                  <p:childTnLst>
                                    <p:set>
                                      <p:cBhvr>
                                        <p:cTn id="33" dur="1" fill="hold">
                                          <p:stCondLst>
                                            <p:cond delay="0"/>
                                          </p:stCondLst>
                                        </p:cTn>
                                        <p:tgtEl>
                                          <p:spTgt spid="2"/>
                                        </p:tgtEl>
                                        <p:attrNameLst>
                                          <p:attrName>style.visibility</p:attrName>
                                        </p:attrNameLst>
                                      </p:cBhvr>
                                      <p:to>
                                        <p:strVal val="visible"/>
                                      </p:to>
                                    </p:set>
                                    <p:animEffect transition="in" filter="fade">
                                      <p:cBhvr>
                                        <p:cTn id="34" dur="500"/>
                                        <p:tgtEl>
                                          <p:spTgt spid="2"/>
                                        </p:tgtEl>
                                      </p:cBhvr>
                                    </p:animEffect>
                                  </p:childTnLst>
                                </p:cTn>
                              </p:par>
                              <p:par>
                                <p:cTn id="35" presetID="51" presetClass="path" presetSubtype="0" accel="50000" decel="50000" fill="hold" nodeType="withEffect">
                                  <p:stCondLst>
                                    <p:cond delay="250"/>
                                  </p:stCondLst>
                                  <p:childTnLst>
                                    <p:animMotion origin="layout" path="M -2.5E-6 -0.00093 C -0.02968 -0.02377 -0.17968 -0.19815 -0.2776 -0.18642 C -0.42482 -0.14167 -0.48646 -0.02716 -0.50816 0.00062 " pathEditMode="relative" rAng="0" ptsTypes="AAA">
                                      <p:cBhvr>
                                        <p:cTn id="36" dur="2000" fill="hold"/>
                                        <p:tgtEl>
                                          <p:spTgt spid="2"/>
                                        </p:tgtEl>
                                        <p:attrNameLst>
                                          <p:attrName>ppt_x</p:attrName>
                                          <p:attrName>ppt_y</p:attrName>
                                        </p:attrNameLst>
                                      </p:cBhvr>
                                      <p:rCtr x="-25417" y="-9228"/>
                                    </p:animMotion>
                                  </p:childTnLst>
                                </p:cTn>
                              </p:par>
                            </p:childTnLst>
                          </p:cTn>
                        </p:par>
                      </p:childTnLst>
                    </p:cTn>
                  </p:par>
                  <p:par>
                    <p:cTn id="37" fill="hold">
                      <p:stCondLst>
                        <p:cond delay="indefinite"/>
                      </p:stCondLst>
                      <p:childTnLst>
                        <p:par>
                          <p:cTn id="38" fill="hold">
                            <p:stCondLst>
                              <p:cond delay="0"/>
                            </p:stCondLst>
                            <p:childTnLst>
                              <p:par>
                                <p:cTn id="39" presetID="1" presetClass="exit" presetSubtype="0" fill="hold" nodeType="clickEffect">
                                  <p:stCondLst>
                                    <p:cond delay="0"/>
                                  </p:stCondLst>
                                  <p:childTnLst>
                                    <p:set>
                                      <p:cBhvr>
                                        <p:cTn id="40" dur="1" fill="hold">
                                          <p:stCondLst>
                                            <p:cond delay="0"/>
                                          </p:stCondLst>
                                        </p:cTn>
                                        <p:tgtEl>
                                          <p:spTgt spid="2"/>
                                        </p:tgtEl>
                                        <p:attrNameLst>
                                          <p:attrName>style.visibility</p:attrName>
                                        </p:attrNameLst>
                                      </p:cBhvr>
                                      <p:to>
                                        <p:strVal val="hidden"/>
                                      </p:to>
                                    </p:set>
                                  </p:childTnLst>
                                </p:cTn>
                              </p:par>
                              <p:par>
                                <p:cTn id="41" presetID="47" presetClass="entr" presetSubtype="0" fill="hold" nodeType="withEffect">
                                  <p:stCondLst>
                                    <p:cond delay="0"/>
                                  </p:stCondLst>
                                  <p:childTnLst>
                                    <p:set>
                                      <p:cBhvr>
                                        <p:cTn id="42" dur="1" fill="hold">
                                          <p:stCondLst>
                                            <p:cond delay="0"/>
                                          </p:stCondLst>
                                        </p:cTn>
                                        <p:tgtEl>
                                          <p:spTgt spid="7"/>
                                        </p:tgtEl>
                                        <p:attrNameLst>
                                          <p:attrName>style.visibility</p:attrName>
                                        </p:attrNameLst>
                                      </p:cBhvr>
                                      <p:to>
                                        <p:strVal val="visible"/>
                                      </p:to>
                                    </p:set>
                                    <p:animEffect transition="in" filter="fade">
                                      <p:cBhvr>
                                        <p:cTn id="43" dur="1000"/>
                                        <p:tgtEl>
                                          <p:spTgt spid="7"/>
                                        </p:tgtEl>
                                      </p:cBhvr>
                                    </p:animEffect>
                                    <p:anim calcmode="lin" valueType="num">
                                      <p:cBhvr>
                                        <p:cTn id="44" dur="1000" fill="hold"/>
                                        <p:tgtEl>
                                          <p:spTgt spid="7"/>
                                        </p:tgtEl>
                                        <p:attrNameLst>
                                          <p:attrName>ppt_x</p:attrName>
                                        </p:attrNameLst>
                                      </p:cBhvr>
                                      <p:tavLst>
                                        <p:tav tm="0">
                                          <p:val>
                                            <p:strVal val="#ppt_x"/>
                                          </p:val>
                                        </p:tav>
                                        <p:tav tm="100000">
                                          <p:val>
                                            <p:strVal val="#ppt_x"/>
                                          </p:val>
                                        </p:tav>
                                      </p:tavLst>
                                    </p:anim>
                                    <p:anim calcmode="lin" valueType="num">
                                      <p:cBhvr>
                                        <p:cTn id="45"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31" presetClass="entr" presetSubtype="0" fill="hold" nodeType="clickEffect">
                                  <p:stCondLst>
                                    <p:cond delay="0"/>
                                  </p:stCondLst>
                                  <p:childTnLst>
                                    <p:set>
                                      <p:cBhvr>
                                        <p:cTn id="49" dur="1" fill="hold">
                                          <p:stCondLst>
                                            <p:cond delay="0"/>
                                          </p:stCondLst>
                                        </p:cTn>
                                        <p:tgtEl>
                                          <p:spTgt spid="5"/>
                                        </p:tgtEl>
                                        <p:attrNameLst>
                                          <p:attrName>style.visibility</p:attrName>
                                        </p:attrNameLst>
                                      </p:cBhvr>
                                      <p:to>
                                        <p:strVal val="visible"/>
                                      </p:to>
                                    </p:set>
                                    <p:anim calcmode="lin" valueType="num">
                                      <p:cBhvr>
                                        <p:cTn id="50" dur="1000" fill="hold"/>
                                        <p:tgtEl>
                                          <p:spTgt spid="5"/>
                                        </p:tgtEl>
                                        <p:attrNameLst>
                                          <p:attrName>ppt_w</p:attrName>
                                        </p:attrNameLst>
                                      </p:cBhvr>
                                      <p:tavLst>
                                        <p:tav tm="0">
                                          <p:val>
                                            <p:fltVal val="0"/>
                                          </p:val>
                                        </p:tav>
                                        <p:tav tm="100000">
                                          <p:val>
                                            <p:strVal val="#ppt_w"/>
                                          </p:val>
                                        </p:tav>
                                      </p:tavLst>
                                    </p:anim>
                                    <p:anim calcmode="lin" valueType="num">
                                      <p:cBhvr>
                                        <p:cTn id="51" dur="1000" fill="hold"/>
                                        <p:tgtEl>
                                          <p:spTgt spid="5"/>
                                        </p:tgtEl>
                                        <p:attrNameLst>
                                          <p:attrName>ppt_h</p:attrName>
                                        </p:attrNameLst>
                                      </p:cBhvr>
                                      <p:tavLst>
                                        <p:tav tm="0">
                                          <p:val>
                                            <p:fltVal val="0"/>
                                          </p:val>
                                        </p:tav>
                                        <p:tav tm="100000">
                                          <p:val>
                                            <p:strVal val="#ppt_h"/>
                                          </p:val>
                                        </p:tav>
                                      </p:tavLst>
                                    </p:anim>
                                    <p:anim calcmode="lin" valueType="num">
                                      <p:cBhvr>
                                        <p:cTn id="52" dur="1000" fill="hold"/>
                                        <p:tgtEl>
                                          <p:spTgt spid="5"/>
                                        </p:tgtEl>
                                        <p:attrNameLst>
                                          <p:attrName>style.rotation</p:attrName>
                                        </p:attrNameLst>
                                      </p:cBhvr>
                                      <p:tavLst>
                                        <p:tav tm="0">
                                          <p:val>
                                            <p:fltVal val="90"/>
                                          </p:val>
                                        </p:tav>
                                        <p:tav tm="100000">
                                          <p:val>
                                            <p:fltVal val="0"/>
                                          </p:val>
                                        </p:tav>
                                      </p:tavLst>
                                    </p:anim>
                                    <p:animEffect transition="in" filter="fade">
                                      <p:cBhvr>
                                        <p:cTn id="53" dur="1000"/>
                                        <p:tgtEl>
                                          <p:spTgt spid="5"/>
                                        </p:tgtEl>
                                      </p:cBhvr>
                                    </p:animEffect>
                                  </p:childTnLst>
                                </p:cTn>
                              </p:par>
                              <p:par>
                                <p:cTn id="54" presetID="6" presetClass="emph" presetSubtype="0" fill="hold" nodeType="withEffect">
                                  <p:stCondLst>
                                    <p:cond delay="750"/>
                                  </p:stCondLst>
                                  <p:childTnLst>
                                    <p:animScale>
                                      <p:cBhvr>
                                        <p:cTn id="55" dur="2000" fill="hold"/>
                                        <p:tgtEl>
                                          <p:spTgt spid="5"/>
                                        </p:tgtEl>
                                      </p:cBhvr>
                                      <p:by x="150000" y="150000"/>
                                    </p:animScale>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18"/>
                                        </p:tgtEl>
                                        <p:attrNameLst>
                                          <p:attrName>style.visibility</p:attrName>
                                        </p:attrNameLst>
                                      </p:cBhvr>
                                      <p:to>
                                        <p:strVal val="visible"/>
                                      </p:to>
                                    </p:set>
                                    <p:animEffect transition="in" filter="fade">
                                      <p:cBhvr>
                                        <p:cTn id="60"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2" grpId="0" animBg="1"/>
      <p:bldP spid="15" grpId="0" animBg="1"/>
      <p:bldP spid="16"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CBFEFF-022A-41CF-A691-BE5AD274CF8B}"/>
              </a:ext>
            </a:extLst>
          </p:cNvPr>
          <p:cNvPicPr>
            <a:picLocks noChangeAspect="1"/>
          </p:cNvPicPr>
          <p:nvPr/>
        </p:nvPicPr>
        <p:blipFill>
          <a:blip r:embed="rId2"/>
          <a:stretch>
            <a:fillRect/>
          </a:stretch>
        </p:blipFill>
        <p:spPr>
          <a:xfrm>
            <a:off x="186267" y="556095"/>
            <a:ext cx="11352805" cy="5803392"/>
          </a:xfrm>
          <a:prstGeom prst="rect">
            <a:avLst/>
          </a:prstGeom>
        </p:spPr>
      </p:pic>
      <p:sp>
        <p:nvSpPr>
          <p:cNvPr id="2" name="Title 1">
            <a:extLst>
              <a:ext uri="{FF2B5EF4-FFF2-40B4-BE49-F238E27FC236}">
                <a16:creationId xmlns:a16="http://schemas.microsoft.com/office/drawing/2014/main" id="{3D234CEA-4E88-7443-A2F5-97E0414B3BA1}"/>
              </a:ext>
            </a:extLst>
          </p:cNvPr>
          <p:cNvSpPr>
            <a:spLocks noGrp="1"/>
          </p:cNvSpPr>
          <p:nvPr>
            <p:ph type="title"/>
          </p:nvPr>
        </p:nvSpPr>
        <p:spPr>
          <a:xfrm>
            <a:off x="6934200" y="393951"/>
            <a:ext cx="10515600" cy="1325563"/>
          </a:xfrm>
        </p:spPr>
        <p:txBody>
          <a:bodyPr>
            <a:normAutofit/>
          </a:bodyPr>
          <a:lstStyle/>
          <a:p>
            <a:r>
              <a:rPr lang="en-US" b="1" dirty="0">
                <a:solidFill>
                  <a:schemeClr val="tx2"/>
                </a:solidFill>
              </a:rPr>
              <a:t>It’s All Connected: </a:t>
            </a:r>
            <a:br>
              <a:rPr lang="en-US" b="1" dirty="0">
                <a:solidFill>
                  <a:schemeClr val="tx2"/>
                </a:solidFill>
              </a:rPr>
            </a:br>
            <a:r>
              <a:rPr lang="en-US" sz="3600" b="1" dirty="0">
                <a:solidFill>
                  <a:schemeClr val="tx2"/>
                </a:solidFill>
              </a:rPr>
              <a:t>Areas for Greatest Impact</a:t>
            </a:r>
            <a:endParaRPr lang="en-US" b="1" dirty="0">
              <a:solidFill>
                <a:schemeClr val="tx2"/>
              </a:solidFill>
            </a:endParaRPr>
          </a:p>
        </p:txBody>
      </p:sp>
      <p:sp>
        <p:nvSpPr>
          <p:cNvPr id="19" name="Rectangle 18">
            <a:extLst>
              <a:ext uri="{FF2B5EF4-FFF2-40B4-BE49-F238E27FC236}">
                <a16:creationId xmlns:a16="http://schemas.microsoft.com/office/drawing/2014/main" id="{CDD0E738-C462-4E0B-8A7F-A208483F777A}"/>
              </a:ext>
            </a:extLst>
          </p:cNvPr>
          <p:cNvSpPr/>
          <p:nvPr/>
        </p:nvSpPr>
        <p:spPr>
          <a:xfrm>
            <a:off x="7266706" y="5175783"/>
            <a:ext cx="4713343" cy="790088"/>
          </a:xfrm>
          <a:prstGeom prst="rect">
            <a:avLst/>
          </a:prstGeom>
        </p:spPr>
        <p:txBody>
          <a:bodyPr wrap="square">
            <a:spAutoFit/>
          </a:bodyPr>
          <a:lstStyle/>
          <a:p>
            <a:pPr defTabSz="976798"/>
            <a:r>
              <a:rPr lang="en-US" sz="2267" b="1" dirty="0">
                <a:solidFill>
                  <a:schemeClr val="tx2"/>
                </a:solidFill>
                <a:latin typeface="Arial"/>
              </a:rPr>
              <a:t>Empower the individual with tools and information</a:t>
            </a:r>
          </a:p>
        </p:txBody>
      </p:sp>
      <p:sp>
        <p:nvSpPr>
          <p:cNvPr id="20" name="Oval 19">
            <a:extLst>
              <a:ext uri="{FF2B5EF4-FFF2-40B4-BE49-F238E27FC236}">
                <a16:creationId xmlns:a16="http://schemas.microsoft.com/office/drawing/2014/main" id="{E34D7818-EB03-475A-A8E1-1BBB2BECB476}"/>
              </a:ext>
            </a:extLst>
          </p:cNvPr>
          <p:cNvSpPr/>
          <p:nvPr/>
        </p:nvSpPr>
        <p:spPr>
          <a:xfrm>
            <a:off x="6670141" y="5315657"/>
            <a:ext cx="530680" cy="530680"/>
          </a:xfrm>
          <a:prstGeom prst="ellipse">
            <a:avLst/>
          </a:prstGeom>
          <a:solidFill>
            <a:schemeClr val="accent1">
              <a:lumMod val="50000"/>
            </a:schemeClr>
          </a:solidFill>
        </p:spPr>
        <p:style>
          <a:lnRef idx="0">
            <a:schemeClr val="dk1"/>
          </a:lnRef>
          <a:fillRef idx="3">
            <a:schemeClr val="dk1"/>
          </a:fillRef>
          <a:effectRef idx="3">
            <a:schemeClr val="dk1"/>
          </a:effectRef>
          <a:fontRef idx="minor">
            <a:schemeClr val="lt1"/>
          </a:fontRef>
        </p:style>
        <p:txBody>
          <a:bodyPr rtlCol="0" anchor="ctr"/>
          <a:lstStyle/>
          <a:p>
            <a:pPr algn="ctr" defTabSz="976798"/>
            <a:endParaRPr lang="en-US" sz="1867" dirty="0">
              <a:solidFill>
                <a:prstClr val="white"/>
              </a:solidFill>
              <a:latin typeface="Arial"/>
            </a:endParaRPr>
          </a:p>
        </p:txBody>
      </p:sp>
      <p:pic>
        <p:nvPicPr>
          <p:cNvPr id="4" name="Picture 3">
            <a:extLst>
              <a:ext uri="{FF2B5EF4-FFF2-40B4-BE49-F238E27FC236}">
                <a16:creationId xmlns:a16="http://schemas.microsoft.com/office/drawing/2014/main" id="{C2E9C23B-FF18-472B-BF1A-8F55B79F0526}"/>
              </a:ext>
            </a:extLst>
          </p:cNvPr>
          <p:cNvPicPr>
            <a:picLocks noChangeAspect="1"/>
          </p:cNvPicPr>
          <p:nvPr/>
        </p:nvPicPr>
        <p:blipFill>
          <a:blip r:embed="rId3"/>
          <a:stretch>
            <a:fillRect/>
          </a:stretch>
        </p:blipFill>
        <p:spPr>
          <a:xfrm>
            <a:off x="1759611" y="1840422"/>
            <a:ext cx="3017166" cy="3004271"/>
          </a:xfrm>
          <a:prstGeom prst="rect">
            <a:avLst/>
          </a:prstGeom>
        </p:spPr>
      </p:pic>
      <p:sp>
        <p:nvSpPr>
          <p:cNvPr id="6" name="Slide Number Placeholder 5">
            <a:extLst>
              <a:ext uri="{FF2B5EF4-FFF2-40B4-BE49-F238E27FC236}">
                <a16:creationId xmlns:a16="http://schemas.microsoft.com/office/drawing/2014/main" id="{EC93E3A7-0801-4F5B-8D01-487F1E61E583}"/>
              </a:ext>
            </a:extLst>
          </p:cNvPr>
          <p:cNvSpPr>
            <a:spLocks noGrp="1"/>
          </p:cNvSpPr>
          <p:nvPr>
            <p:ph type="sldNum" sz="quarter" idx="12"/>
          </p:nvPr>
        </p:nvSpPr>
        <p:spPr/>
        <p:txBody>
          <a:bodyPr/>
          <a:lstStyle/>
          <a:p>
            <a:fld id="{4FA07702-9C82-4FBE-B98C-E58879511A7A}" type="slidenum">
              <a:rPr lang="en-US" smtClean="0"/>
              <a:t>39</a:t>
            </a:fld>
            <a:endParaRPr lang="en-US"/>
          </a:p>
        </p:txBody>
      </p:sp>
      <p:sp>
        <p:nvSpPr>
          <p:cNvPr id="15" name="Oval 14">
            <a:extLst>
              <a:ext uri="{FF2B5EF4-FFF2-40B4-BE49-F238E27FC236}">
                <a16:creationId xmlns:a16="http://schemas.microsoft.com/office/drawing/2014/main" id="{776D80B8-7A7A-49F6-89A8-3E21323D25F5}"/>
              </a:ext>
            </a:extLst>
          </p:cNvPr>
          <p:cNvSpPr/>
          <p:nvPr/>
        </p:nvSpPr>
        <p:spPr>
          <a:xfrm>
            <a:off x="6670141" y="2016083"/>
            <a:ext cx="530680" cy="530680"/>
          </a:xfrm>
          <a:prstGeom prst="ellipse">
            <a:avLst/>
          </a:prstGeom>
          <a:solidFill>
            <a:schemeClr val="accent1">
              <a:lumMod val="50000"/>
            </a:schemeClr>
          </a:solidFill>
        </p:spPr>
        <p:style>
          <a:lnRef idx="0">
            <a:schemeClr val="dk1"/>
          </a:lnRef>
          <a:fillRef idx="3">
            <a:schemeClr val="dk1"/>
          </a:fillRef>
          <a:effectRef idx="3">
            <a:schemeClr val="dk1"/>
          </a:effectRef>
          <a:fontRef idx="minor">
            <a:schemeClr val="lt1"/>
          </a:fontRef>
        </p:style>
        <p:txBody>
          <a:bodyPr rtlCol="0" anchor="ctr"/>
          <a:lstStyle/>
          <a:p>
            <a:pPr algn="ctr" defTabSz="976798"/>
            <a:endParaRPr lang="en-US" sz="1867" dirty="0">
              <a:solidFill>
                <a:prstClr val="white"/>
              </a:solidFill>
              <a:latin typeface="Arial"/>
            </a:endParaRPr>
          </a:p>
        </p:txBody>
      </p:sp>
      <p:sp>
        <p:nvSpPr>
          <p:cNvPr id="16" name="Rectangle 15">
            <a:extLst>
              <a:ext uri="{FF2B5EF4-FFF2-40B4-BE49-F238E27FC236}">
                <a16:creationId xmlns:a16="http://schemas.microsoft.com/office/drawing/2014/main" id="{FF3E7FFF-831B-4CB0-8DFA-B05A9F84CD60}"/>
              </a:ext>
            </a:extLst>
          </p:cNvPr>
          <p:cNvSpPr/>
          <p:nvPr/>
        </p:nvSpPr>
        <p:spPr>
          <a:xfrm>
            <a:off x="7266706" y="2983043"/>
            <a:ext cx="4925295" cy="790088"/>
          </a:xfrm>
          <a:prstGeom prst="rect">
            <a:avLst/>
          </a:prstGeom>
        </p:spPr>
        <p:txBody>
          <a:bodyPr wrap="square">
            <a:spAutoFit/>
          </a:bodyPr>
          <a:lstStyle/>
          <a:p>
            <a:pPr defTabSz="976798"/>
            <a:r>
              <a:rPr lang="en-US" sz="2267" b="1" dirty="0">
                <a:solidFill>
                  <a:schemeClr val="tx2"/>
                </a:solidFill>
                <a:latin typeface="Arial"/>
              </a:rPr>
              <a:t>Simplify and regionalize medical countermeasure production</a:t>
            </a:r>
          </a:p>
        </p:txBody>
      </p:sp>
      <p:sp>
        <p:nvSpPr>
          <p:cNvPr id="17" name="Oval 16">
            <a:extLst>
              <a:ext uri="{FF2B5EF4-FFF2-40B4-BE49-F238E27FC236}">
                <a16:creationId xmlns:a16="http://schemas.microsoft.com/office/drawing/2014/main" id="{F78E7D3E-A178-4C4C-B6E5-0AF6D659B713}"/>
              </a:ext>
            </a:extLst>
          </p:cNvPr>
          <p:cNvSpPr/>
          <p:nvPr/>
        </p:nvSpPr>
        <p:spPr>
          <a:xfrm>
            <a:off x="6670141" y="4222645"/>
            <a:ext cx="530680" cy="530680"/>
          </a:xfrm>
          <a:prstGeom prst="ellipse">
            <a:avLst/>
          </a:prstGeom>
          <a:solidFill>
            <a:schemeClr val="accent1">
              <a:lumMod val="50000"/>
            </a:schemeClr>
          </a:solidFill>
        </p:spPr>
        <p:style>
          <a:lnRef idx="0">
            <a:schemeClr val="dk1"/>
          </a:lnRef>
          <a:fillRef idx="3">
            <a:schemeClr val="dk1"/>
          </a:fillRef>
          <a:effectRef idx="3">
            <a:schemeClr val="dk1"/>
          </a:effectRef>
          <a:fontRef idx="minor">
            <a:schemeClr val="lt1"/>
          </a:fontRef>
        </p:style>
        <p:txBody>
          <a:bodyPr rtlCol="0" anchor="ctr"/>
          <a:lstStyle/>
          <a:p>
            <a:pPr algn="ctr" defTabSz="976798"/>
            <a:endParaRPr lang="en-US" sz="1867" dirty="0">
              <a:solidFill>
                <a:prstClr val="white"/>
              </a:solidFill>
              <a:latin typeface="Arial"/>
            </a:endParaRPr>
          </a:p>
        </p:txBody>
      </p:sp>
      <p:sp>
        <p:nvSpPr>
          <p:cNvPr id="18" name="Rectangle 17">
            <a:extLst>
              <a:ext uri="{FF2B5EF4-FFF2-40B4-BE49-F238E27FC236}">
                <a16:creationId xmlns:a16="http://schemas.microsoft.com/office/drawing/2014/main" id="{030402F0-FBF7-424F-B06E-4354CE0C0E11}"/>
              </a:ext>
            </a:extLst>
          </p:cNvPr>
          <p:cNvSpPr/>
          <p:nvPr/>
        </p:nvSpPr>
        <p:spPr>
          <a:xfrm>
            <a:off x="7266706" y="2016084"/>
            <a:ext cx="2994731" cy="441211"/>
          </a:xfrm>
          <a:prstGeom prst="rect">
            <a:avLst/>
          </a:prstGeom>
        </p:spPr>
        <p:txBody>
          <a:bodyPr wrap="none">
            <a:spAutoFit/>
          </a:bodyPr>
          <a:lstStyle/>
          <a:p>
            <a:pPr defTabSz="976798"/>
            <a:r>
              <a:rPr lang="en-US" sz="2267" b="1" dirty="0">
                <a:solidFill>
                  <a:schemeClr val="tx2"/>
                </a:solidFill>
                <a:latin typeface="Arial"/>
              </a:rPr>
              <a:t>Global collaboration</a:t>
            </a:r>
          </a:p>
        </p:txBody>
      </p:sp>
      <p:sp>
        <p:nvSpPr>
          <p:cNvPr id="24" name="TextBox 23">
            <a:extLst>
              <a:ext uri="{FF2B5EF4-FFF2-40B4-BE49-F238E27FC236}">
                <a16:creationId xmlns:a16="http://schemas.microsoft.com/office/drawing/2014/main" id="{3092F4B3-FA4D-4C34-AFE2-8FEC461E68A3}"/>
              </a:ext>
            </a:extLst>
          </p:cNvPr>
          <p:cNvSpPr txBox="1"/>
          <p:nvPr/>
        </p:nvSpPr>
        <p:spPr>
          <a:xfrm>
            <a:off x="7241348" y="4084547"/>
            <a:ext cx="4713343" cy="790088"/>
          </a:xfrm>
          <a:prstGeom prst="rect">
            <a:avLst/>
          </a:prstGeom>
          <a:noFill/>
        </p:spPr>
        <p:txBody>
          <a:bodyPr wrap="square" rtlCol="0">
            <a:spAutoFit/>
          </a:bodyPr>
          <a:lstStyle/>
          <a:p>
            <a:pPr defTabSz="976798"/>
            <a:r>
              <a:rPr lang="en-US" sz="2267" b="1" dirty="0">
                <a:solidFill>
                  <a:schemeClr val="tx2"/>
                </a:solidFill>
                <a:latin typeface="Arial"/>
              </a:rPr>
              <a:t>Local/Community/Hospital Preparedness and Exercises</a:t>
            </a:r>
          </a:p>
        </p:txBody>
      </p:sp>
      <p:sp>
        <p:nvSpPr>
          <p:cNvPr id="25" name="Oval 24">
            <a:extLst>
              <a:ext uri="{FF2B5EF4-FFF2-40B4-BE49-F238E27FC236}">
                <a16:creationId xmlns:a16="http://schemas.microsoft.com/office/drawing/2014/main" id="{0E22F187-473A-4FB2-A06F-8626CDF727CD}"/>
              </a:ext>
            </a:extLst>
          </p:cNvPr>
          <p:cNvSpPr/>
          <p:nvPr/>
        </p:nvSpPr>
        <p:spPr>
          <a:xfrm>
            <a:off x="6670141" y="3119364"/>
            <a:ext cx="530680" cy="530680"/>
          </a:xfrm>
          <a:prstGeom prst="ellipse">
            <a:avLst/>
          </a:prstGeom>
          <a:solidFill>
            <a:schemeClr val="accent1">
              <a:lumMod val="50000"/>
            </a:schemeClr>
          </a:solidFill>
        </p:spPr>
        <p:style>
          <a:lnRef idx="0">
            <a:schemeClr val="dk1"/>
          </a:lnRef>
          <a:fillRef idx="3">
            <a:schemeClr val="dk1"/>
          </a:fillRef>
          <a:effectRef idx="3">
            <a:schemeClr val="dk1"/>
          </a:effectRef>
          <a:fontRef idx="minor">
            <a:schemeClr val="lt1"/>
          </a:fontRef>
        </p:style>
        <p:txBody>
          <a:bodyPr rtlCol="0" anchor="ctr"/>
          <a:lstStyle/>
          <a:p>
            <a:pPr algn="ctr" defTabSz="976798"/>
            <a:endParaRPr lang="en-US" sz="1867" dirty="0">
              <a:solidFill>
                <a:prstClr val="white"/>
              </a:solidFill>
              <a:latin typeface="Arial"/>
            </a:endParaRPr>
          </a:p>
        </p:txBody>
      </p:sp>
    </p:spTree>
    <p:extLst>
      <p:ext uri="{BB962C8B-B14F-4D97-AF65-F5344CB8AC3E}">
        <p14:creationId xmlns:p14="http://schemas.microsoft.com/office/powerpoint/2010/main" val="14850310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F61D2BD-70B8-460F-A3F7-69FDA1EEF62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fld id="{00000000-1234-1234-1234-123412341234}" type="slidenum">
              <a:rPr kumimoji="0" lang="en-CA" sz="1100" b="0" i="0" u="none" strike="noStrike" kern="0" cap="none" spc="0" normalizeH="0" baseline="0" noProof="0" smtClean="0">
                <a:ln>
                  <a:noFill/>
                </a:ln>
                <a:solidFill>
                  <a:srgbClr val="888888"/>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100"/>
                <a:buFont typeface="Arial"/>
                <a:buNone/>
                <a:tabLst/>
                <a:defRPr/>
              </a:pPr>
              <a:t>4</a:t>
            </a:fld>
            <a:endParaRPr kumimoji="0" lang="en-CA" sz="1100" b="0" i="0" u="none" strike="noStrike" kern="0" cap="none" spc="0" normalizeH="0" baseline="0" noProof="0">
              <a:ln>
                <a:noFill/>
              </a:ln>
              <a:solidFill>
                <a:srgbClr val="888888"/>
              </a:solidFill>
              <a:effectLst/>
              <a:uLnTx/>
              <a:uFillTx/>
              <a:latin typeface="Calibri"/>
              <a:cs typeface="Calibri"/>
              <a:sym typeface="Calibri"/>
            </a:endParaRPr>
          </a:p>
        </p:txBody>
      </p:sp>
      <p:sp>
        <p:nvSpPr>
          <p:cNvPr id="4" name="Rectangle 3">
            <a:extLst>
              <a:ext uri="{FF2B5EF4-FFF2-40B4-BE49-F238E27FC236}">
                <a16:creationId xmlns:a16="http://schemas.microsoft.com/office/drawing/2014/main" id="{43C09CFE-D98B-4A60-93EC-F8FB6251B79E}"/>
              </a:ext>
            </a:extLst>
          </p:cNvPr>
          <p:cNvSpPr/>
          <p:nvPr/>
        </p:nvSpPr>
        <p:spPr>
          <a:xfrm>
            <a:off x="9477897" y="6545406"/>
            <a:ext cx="2545890"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100" b="0" i="0" u="none" strike="noStrike" kern="0" cap="none" spc="0" normalizeH="0" baseline="0" noProof="0" dirty="0">
                <a:ln>
                  <a:noFill/>
                </a:ln>
                <a:solidFill>
                  <a:srgbClr val="000000"/>
                </a:solidFill>
                <a:effectLst/>
                <a:uLnTx/>
                <a:uFillTx/>
                <a:latin typeface="Arial"/>
                <a:cs typeface="Arial"/>
                <a:sym typeface="Arial"/>
              </a:rPr>
              <a:t>Cell. 2020 Sep 3; 182(5): 1077–1092</a:t>
            </a:r>
            <a:r>
              <a:rPr kumimoji="0" lang="en-US" sz="1400" b="0" i="0" u="none" strike="noStrike" kern="0" cap="none" spc="0" normalizeH="0" baseline="0" noProof="0" dirty="0">
                <a:ln>
                  <a:noFill/>
                </a:ln>
                <a:solidFill>
                  <a:srgbClr val="000000"/>
                </a:solidFill>
                <a:effectLst/>
                <a:uLnTx/>
                <a:uFillTx/>
                <a:latin typeface="Arial"/>
                <a:cs typeface="Arial"/>
                <a:sym typeface="Arial"/>
              </a:rPr>
              <a:t>.</a:t>
            </a:r>
          </a:p>
        </p:txBody>
      </p:sp>
      <p:sp>
        <p:nvSpPr>
          <p:cNvPr id="6" name="Google Shape;756;ge0541c991e_19_9">
            <a:extLst>
              <a:ext uri="{FF2B5EF4-FFF2-40B4-BE49-F238E27FC236}">
                <a16:creationId xmlns:a16="http://schemas.microsoft.com/office/drawing/2014/main" id="{12ACCCF2-98EE-48C1-A770-63BAD5518DB6}"/>
              </a:ext>
            </a:extLst>
          </p:cNvPr>
          <p:cNvSpPr txBox="1">
            <a:spLocks/>
          </p:cNvSpPr>
          <p:nvPr/>
        </p:nvSpPr>
        <p:spPr>
          <a:xfrm>
            <a:off x="687366" y="64334"/>
            <a:ext cx="10895033" cy="654600"/>
          </a:xfrm>
          <a:prstGeom prst="rect">
            <a:avLst/>
          </a:prstGeom>
          <a:noFill/>
          <a:ln>
            <a:noFill/>
          </a:ln>
        </p:spPr>
        <p:txBody>
          <a:bodyPr spcFirstLastPara="1" wrap="square" lIns="0" tIns="8000" rIns="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900"/>
              <a:buFont typeface="Arial"/>
              <a:buNone/>
              <a:defRPr sz="1700" b="1" i="0" u="none" strike="noStrike" cap="none">
                <a:solidFill>
                  <a:schemeClr val="lt1"/>
                </a:solidFill>
                <a:latin typeface="Arial"/>
                <a:ea typeface="Arial"/>
                <a:cs typeface="Arial"/>
                <a:sym typeface="Arial"/>
              </a:defRPr>
            </a:lvl1pPr>
            <a:lvl2pPr marR="0" lvl="1" algn="l" rtl="0">
              <a:lnSpc>
                <a:spcPct val="100000"/>
              </a:lnSpc>
              <a:spcBef>
                <a:spcPts val="0"/>
              </a:spcBef>
              <a:spcAft>
                <a:spcPts val="0"/>
              </a:spcAft>
              <a:buClr>
                <a:srgbClr val="000000"/>
              </a:buClr>
              <a:buSzPts val="900"/>
              <a:buFont typeface="Arial"/>
              <a:buNone/>
              <a:defRPr sz="10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900"/>
              <a:buFont typeface="Arial"/>
              <a:buNone/>
              <a:defRPr sz="10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900"/>
              <a:buFont typeface="Arial"/>
              <a:buNone/>
              <a:defRPr sz="10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900"/>
              <a:buFont typeface="Arial"/>
              <a:buNone/>
              <a:defRPr sz="10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900"/>
              <a:buFont typeface="Arial"/>
              <a:buNone/>
              <a:defRPr sz="10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900"/>
              <a:buFont typeface="Arial"/>
              <a:buNone/>
              <a:defRPr sz="10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900"/>
              <a:buFont typeface="Arial"/>
              <a:buNone/>
              <a:defRPr sz="10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900"/>
              <a:buFont typeface="Arial"/>
              <a:buNone/>
              <a:defRPr sz="10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en-CA" sz="3200" b="0" i="0" u="none" strike="noStrike" kern="0" cap="none" spc="0" normalizeH="0" baseline="0" noProof="0" dirty="0">
                <a:ln>
                  <a:noFill/>
                </a:ln>
                <a:solidFill>
                  <a:srgbClr val="FFFFFF"/>
                </a:solidFill>
                <a:effectLst/>
                <a:uLnTx/>
                <a:uFillTx/>
                <a:latin typeface="Calibri"/>
                <a:ea typeface="Calibri"/>
                <a:cs typeface="Calibri"/>
                <a:sym typeface="Calibri"/>
              </a:rPr>
              <a:t>The Risk of Outbreak Potential Pathogens is Rapidly Increasing</a:t>
            </a:r>
            <a:endParaRPr kumimoji="0" lang="en-US" sz="3200" b="0" i="0" u="none" strike="noStrike" kern="0" cap="none" spc="0" normalizeH="0" baseline="0" noProof="0" dirty="0">
              <a:ln>
                <a:noFill/>
              </a:ln>
              <a:solidFill>
                <a:srgbClr val="FFFFFF"/>
              </a:solidFill>
              <a:effectLst/>
              <a:uLnTx/>
              <a:uFillTx/>
              <a:latin typeface="Arial"/>
              <a:cs typeface="Arial"/>
              <a:sym typeface="Arial"/>
            </a:endParaRPr>
          </a:p>
        </p:txBody>
      </p:sp>
      <p:pic>
        <p:nvPicPr>
          <p:cNvPr id="7" name="Picture 7" descr="Diagram&#10;&#10;Description automatically generated">
            <a:extLst>
              <a:ext uri="{FF2B5EF4-FFF2-40B4-BE49-F238E27FC236}">
                <a16:creationId xmlns:a16="http://schemas.microsoft.com/office/drawing/2014/main" id="{D6DF84F2-BA75-4574-8F1F-78C262DCF9FE}"/>
              </a:ext>
            </a:extLst>
          </p:cNvPr>
          <p:cNvPicPr>
            <a:picLocks noChangeAspect="1"/>
          </p:cNvPicPr>
          <p:nvPr/>
        </p:nvPicPr>
        <p:blipFill>
          <a:blip r:embed="rId3"/>
          <a:stretch>
            <a:fillRect/>
          </a:stretch>
        </p:blipFill>
        <p:spPr>
          <a:xfrm>
            <a:off x="2799609" y="1077343"/>
            <a:ext cx="6592783" cy="5626085"/>
          </a:xfrm>
          <a:prstGeom prst="rect">
            <a:avLst/>
          </a:prstGeom>
        </p:spPr>
      </p:pic>
    </p:spTree>
    <p:extLst>
      <p:ext uri="{BB962C8B-B14F-4D97-AF65-F5344CB8AC3E}">
        <p14:creationId xmlns:p14="http://schemas.microsoft.com/office/powerpoint/2010/main" val="19104219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ight Triangle 4">
            <a:extLst>
              <a:ext uri="{FF2B5EF4-FFF2-40B4-BE49-F238E27FC236}">
                <a16:creationId xmlns:a16="http://schemas.microsoft.com/office/drawing/2014/main" id="{5D4D0AB7-6D3E-6E4F-80B9-729F71AEDBFC}"/>
              </a:ext>
            </a:extLst>
          </p:cNvPr>
          <p:cNvSpPr/>
          <p:nvPr/>
        </p:nvSpPr>
        <p:spPr>
          <a:xfrm rot="16200000">
            <a:off x="3661843" y="-1885917"/>
            <a:ext cx="7443788" cy="10244070"/>
          </a:xfrm>
          <a:prstGeom prst="rtTriangle">
            <a:avLst/>
          </a:prstGeom>
          <a:solidFill>
            <a:srgbClr val="8725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BA57C3"/>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56D5102-D98B-4D87-A2E7-6EA5B2B33DB4}"/>
              </a:ext>
            </a:extLst>
          </p:cNvPr>
          <p:cNvSpPr>
            <a:spLocks noGrp="1"/>
          </p:cNvSpPr>
          <p:nvPr>
            <p:ph type="title"/>
          </p:nvPr>
        </p:nvSpPr>
        <p:spPr>
          <a:xfrm>
            <a:off x="838200" y="395366"/>
            <a:ext cx="10515600" cy="3147935"/>
          </a:xfrm>
        </p:spPr>
        <p:txBody>
          <a:bodyPr>
            <a:normAutofit/>
          </a:bodyPr>
          <a:lstStyle/>
          <a:p>
            <a:r>
              <a:rPr lang="en-US" sz="8800" b="1" dirty="0">
                <a:latin typeface="Arial"/>
                <a:cs typeface="Arial"/>
              </a:rPr>
              <a:t>Thank you </a:t>
            </a:r>
            <a:br>
              <a:rPr lang="en-US" sz="8800" b="1" dirty="0">
                <a:latin typeface="Arial"/>
                <a:cs typeface="Arial"/>
              </a:rPr>
            </a:br>
            <a:endParaRPr lang="en-US" sz="8800" b="1" dirty="0">
              <a:latin typeface="Arial"/>
              <a:cs typeface="Arial"/>
            </a:endParaRPr>
          </a:p>
        </p:txBody>
      </p:sp>
      <p:sp>
        <p:nvSpPr>
          <p:cNvPr id="4" name="Right Triangle 3">
            <a:extLst>
              <a:ext uri="{FF2B5EF4-FFF2-40B4-BE49-F238E27FC236}">
                <a16:creationId xmlns:a16="http://schemas.microsoft.com/office/drawing/2014/main" id="{B8D02083-A7F2-4D10-8C4C-AA675D938E18}"/>
              </a:ext>
            </a:extLst>
          </p:cNvPr>
          <p:cNvSpPr/>
          <p:nvPr/>
        </p:nvSpPr>
        <p:spPr>
          <a:xfrm rot="16200000">
            <a:off x="4076765" y="-1397532"/>
            <a:ext cx="6857999" cy="9437913"/>
          </a:xfrm>
          <a:prstGeom prst="rtTriangle">
            <a:avLst/>
          </a:prstGeom>
          <a:solidFill>
            <a:srgbClr val="318A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6" name="Picture 5" descr="Icon&#10;&#10;Description automatically generated">
            <a:extLst>
              <a:ext uri="{FF2B5EF4-FFF2-40B4-BE49-F238E27FC236}">
                <a16:creationId xmlns:a16="http://schemas.microsoft.com/office/drawing/2014/main" id="{9D415F75-F680-4924-8D49-BF0E6B567C63}"/>
              </a:ext>
            </a:extLst>
          </p:cNvPr>
          <p:cNvPicPr>
            <a:picLocks noChangeAspect="1"/>
          </p:cNvPicPr>
          <p:nvPr/>
        </p:nvPicPr>
        <p:blipFill>
          <a:blip r:embed="rId2"/>
          <a:stretch>
            <a:fillRect/>
          </a:stretch>
        </p:blipFill>
        <p:spPr>
          <a:xfrm>
            <a:off x="791070" y="1773821"/>
            <a:ext cx="4179998" cy="4255504"/>
          </a:xfrm>
          <a:prstGeom prst="rect">
            <a:avLst/>
          </a:prstGeom>
        </p:spPr>
      </p:pic>
      <p:sp>
        <p:nvSpPr>
          <p:cNvPr id="3" name="TextBox 2">
            <a:extLst>
              <a:ext uri="{FF2B5EF4-FFF2-40B4-BE49-F238E27FC236}">
                <a16:creationId xmlns:a16="http://schemas.microsoft.com/office/drawing/2014/main" id="{2CA21095-46E3-4ED0-A36C-B7DECB7CB06D}"/>
              </a:ext>
            </a:extLst>
          </p:cNvPr>
          <p:cNvSpPr txBox="1"/>
          <p:nvPr/>
        </p:nvSpPr>
        <p:spPr>
          <a:xfrm>
            <a:off x="8243948" y="4468839"/>
            <a:ext cx="4512262"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Calibri" panose="020F0502020204030204"/>
                <a:ea typeface="+mn-ea"/>
                <a:cs typeface="+mn-cs"/>
              </a:rPr>
              <a:t>To learn more follow u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7" name="Group 6">
            <a:extLst>
              <a:ext uri="{FF2B5EF4-FFF2-40B4-BE49-F238E27FC236}">
                <a16:creationId xmlns:a16="http://schemas.microsoft.com/office/drawing/2014/main" id="{822FB2E0-5703-4CFA-A9A1-EEFC72648346}"/>
              </a:ext>
            </a:extLst>
          </p:cNvPr>
          <p:cNvGrpSpPr/>
          <p:nvPr/>
        </p:nvGrpSpPr>
        <p:grpSpPr>
          <a:xfrm>
            <a:off x="9585739" y="5107273"/>
            <a:ext cx="2977665" cy="1644508"/>
            <a:chOff x="6709799" y="4399882"/>
            <a:chExt cx="2977665" cy="1644508"/>
          </a:xfrm>
        </p:grpSpPr>
        <p:sp>
          <p:nvSpPr>
            <p:cNvPr id="8" name="TextBox 7">
              <a:extLst>
                <a:ext uri="{FF2B5EF4-FFF2-40B4-BE49-F238E27FC236}">
                  <a16:creationId xmlns:a16="http://schemas.microsoft.com/office/drawing/2014/main" id="{A3CB780F-F1D6-4DED-A134-7BFDA3CD17D7}"/>
                </a:ext>
              </a:extLst>
            </p:cNvPr>
            <p:cNvSpPr txBox="1"/>
            <p:nvPr/>
          </p:nvSpPr>
          <p:spPr>
            <a:xfrm>
              <a:off x="7208332" y="4445554"/>
              <a:ext cx="152045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PPI_Insights</a:t>
              </a:r>
            </a:p>
          </p:txBody>
        </p:sp>
        <p:pic>
          <p:nvPicPr>
            <p:cNvPr id="9" name="Picture 8">
              <a:extLst>
                <a:ext uri="{FF2B5EF4-FFF2-40B4-BE49-F238E27FC236}">
                  <a16:creationId xmlns:a16="http://schemas.microsoft.com/office/drawing/2014/main" id="{B2FA28B4-7CC9-46FB-869B-6C2F8F9163BF}"/>
                </a:ext>
              </a:extLst>
            </p:cNvPr>
            <p:cNvPicPr>
              <a:picLocks noChangeAspect="1"/>
            </p:cNvPicPr>
            <p:nvPr/>
          </p:nvPicPr>
          <p:blipFill>
            <a:blip r:embed="rId3"/>
            <a:stretch>
              <a:fillRect/>
            </a:stretch>
          </p:blipFill>
          <p:spPr>
            <a:xfrm>
              <a:off x="6709799" y="4947476"/>
              <a:ext cx="483227" cy="465189"/>
            </a:xfrm>
            <a:prstGeom prst="roundRect">
              <a:avLst>
                <a:gd name="adj" fmla="val 32116"/>
              </a:avLst>
            </a:prstGeom>
          </p:spPr>
        </p:pic>
        <p:sp>
          <p:nvSpPr>
            <p:cNvPr id="10" name="TextBox 9">
              <a:extLst>
                <a:ext uri="{FF2B5EF4-FFF2-40B4-BE49-F238E27FC236}">
                  <a16:creationId xmlns:a16="http://schemas.microsoft.com/office/drawing/2014/main" id="{BEE2E179-E04D-4515-AFDB-1F9C2C09D634}"/>
                </a:ext>
              </a:extLst>
            </p:cNvPr>
            <p:cNvSpPr txBox="1"/>
            <p:nvPr/>
          </p:nvSpPr>
          <p:spPr>
            <a:xfrm>
              <a:off x="7208332" y="4970977"/>
              <a:ext cx="152045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PPI_Insights</a:t>
              </a:r>
            </a:p>
          </p:txBody>
        </p:sp>
        <p:pic>
          <p:nvPicPr>
            <p:cNvPr id="11" name="Picture 10">
              <a:extLst>
                <a:ext uri="{FF2B5EF4-FFF2-40B4-BE49-F238E27FC236}">
                  <a16:creationId xmlns:a16="http://schemas.microsoft.com/office/drawing/2014/main" id="{7DA20CAF-C49C-4A92-B26A-2B2167FF41E2}"/>
                </a:ext>
              </a:extLst>
            </p:cNvPr>
            <p:cNvPicPr>
              <a:picLocks noChangeAspect="1"/>
            </p:cNvPicPr>
            <p:nvPr/>
          </p:nvPicPr>
          <p:blipFill>
            <a:blip r:embed="rId4"/>
            <a:stretch>
              <a:fillRect/>
            </a:stretch>
          </p:blipFill>
          <p:spPr>
            <a:xfrm>
              <a:off x="6709799" y="5511628"/>
              <a:ext cx="455074" cy="434133"/>
            </a:xfrm>
            <a:prstGeom prst="roundRect">
              <a:avLst>
                <a:gd name="adj" fmla="val 17163"/>
              </a:avLst>
            </a:prstGeom>
          </p:spPr>
        </p:pic>
        <p:sp>
          <p:nvSpPr>
            <p:cNvPr id="12" name="TextBox 11">
              <a:extLst>
                <a:ext uri="{FF2B5EF4-FFF2-40B4-BE49-F238E27FC236}">
                  <a16:creationId xmlns:a16="http://schemas.microsoft.com/office/drawing/2014/main" id="{D4AE362F-3D36-4CEC-84EA-5625BD2DCA01}"/>
                </a:ext>
              </a:extLst>
            </p:cNvPr>
            <p:cNvSpPr txBox="1"/>
            <p:nvPr/>
          </p:nvSpPr>
          <p:spPr>
            <a:xfrm>
              <a:off x="7208332" y="5398059"/>
              <a:ext cx="247913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The Pandemic Prevention Institute </a:t>
              </a:r>
            </a:p>
          </p:txBody>
        </p:sp>
        <p:pic>
          <p:nvPicPr>
            <p:cNvPr id="13" name="Picture 12">
              <a:extLst>
                <a:ext uri="{FF2B5EF4-FFF2-40B4-BE49-F238E27FC236}">
                  <a16:creationId xmlns:a16="http://schemas.microsoft.com/office/drawing/2014/main" id="{EFC258E5-3BC8-4460-A3D3-CAB558086493}"/>
                </a:ext>
              </a:extLst>
            </p:cNvPr>
            <p:cNvPicPr>
              <a:picLocks noChangeAspect="1"/>
            </p:cNvPicPr>
            <p:nvPr/>
          </p:nvPicPr>
          <p:blipFill rotWithShape="1">
            <a:blip r:embed="rId5"/>
            <a:srcRect l="24202" t="6479" r="22589" b="5936"/>
            <a:stretch/>
          </p:blipFill>
          <p:spPr>
            <a:xfrm>
              <a:off x="6709799" y="4399882"/>
              <a:ext cx="484456" cy="446567"/>
            </a:xfrm>
            <a:prstGeom prst="roundRect">
              <a:avLst>
                <a:gd name="adj" fmla="val 23660"/>
              </a:avLst>
            </a:prstGeom>
          </p:spPr>
        </p:pic>
      </p:grpSp>
      <p:sp>
        <p:nvSpPr>
          <p:cNvPr id="14" name="Slide Number Placeholder 13">
            <a:extLst>
              <a:ext uri="{FF2B5EF4-FFF2-40B4-BE49-F238E27FC236}">
                <a16:creationId xmlns:a16="http://schemas.microsoft.com/office/drawing/2014/main" id="{521ED53A-1DBB-4492-9026-B11EE8FF6951}"/>
              </a:ext>
            </a:extLst>
          </p:cNvPr>
          <p:cNvSpPr>
            <a:spLocks noGrp="1"/>
          </p:cNvSpPr>
          <p:nvPr>
            <p:ph type="sldNum" sz="quarter" idx="12"/>
          </p:nvPr>
        </p:nvSpPr>
        <p:spPr/>
        <p:txBody>
          <a:bodyPr/>
          <a:lstStyle/>
          <a:p>
            <a:fld id="{D1541BB9-6530-43D2-B7E0-33A89042A350}" type="slidenum">
              <a:rPr lang="en-US" smtClean="0"/>
              <a:t>40</a:t>
            </a:fld>
            <a:endParaRPr lang="en-US"/>
          </a:p>
        </p:txBody>
      </p:sp>
    </p:spTree>
    <p:extLst>
      <p:ext uri="{BB962C8B-B14F-4D97-AF65-F5344CB8AC3E}">
        <p14:creationId xmlns:p14="http://schemas.microsoft.com/office/powerpoint/2010/main" val="40202854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First month">
            <a:extLst>
              <a:ext uri="{FF2B5EF4-FFF2-40B4-BE49-F238E27FC236}">
                <a16:creationId xmlns:a16="http://schemas.microsoft.com/office/drawing/2014/main" id="{5EAE12D5-5F47-42ED-A18B-4A21AA140D4F}"/>
              </a:ext>
            </a:extLst>
          </p:cNvPr>
          <p:cNvGrpSpPr/>
          <p:nvPr/>
        </p:nvGrpSpPr>
        <p:grpSpPr>
          <a:xfrm>
            <a:off x="689166" y="254000"/>
            <a:ext cx="10736629" cy="5648467"/>
            <a:chOff x="516874" y="190500"/>
            <a:chExt cx="8052472" cy="4236350"/>
          </a:xfrm>
        </p:grpSpPr>
        <p:pic>
          <p:nvPicPr>
            <p:cNvPr id="3" name="month" descr="A picture containing text&#10;&#10;Description generated with very high confidence">
              <a:extLst>
                <a:ext uri="{FF2B5EF4-FFF2-40B4-BE49-F238E27FC236}">
                  <a16:creationId xmlns:a16="http://schemas.microsoft.com/office/drawing/2014/main" id="{CBF0EA5C-28EC-4827-9848-44158DE348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6874" y="190500"/>
              <a:ext cx="8052472" cy="4236350"/>
            </a:xfrm>
            <a:prstGeom prst="rect">
              <a:avLst/>
            </a:prstGeom>
          </p:spPr>
        </p:pic>
        <p:sp>
          <p:nvSpPr>
            <p:cNvPr id="7" name="Rectangle 6">
              <a:extLst>
                <a:ext uri="{FF2B5EF4-FFF2-40B4-BE49-F238E27FC236}">
                  <a16:creationId xmlns:a16="http://schemas.microsoft.com/office/drawing/2014/main" id="{BCB1CF4B-EE2B-47C9-A115-E099E3C95B8F}"/>
                </a:ext>
              </a:extLst>
            </p:cNvPr>
            <p:cNvSpPr/>
            <p:nvPr/>
          </p:nvSpPr>
          <p:spPr>
            <a:xfrm>
              <a:off x="609600" y="2724150"/>
              <a:ext cx="9906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prstClr val="white"/>
                </a:solidFill>
                <a:latin typeface="Arial"/>
              </a:endParaRPr>
            </a:p>
          </p:txBody>
        </p:sp>
      </p:grpSp>
      <p:pic>
        <p:nvPicPr>
          <p:cNvPr id="6" name="month 1" descr="A picture containing text, map&#10;&#10;Description generated with very high confidence">
            <a:extLst>
              <a:ext uri="{FF2B5EF4-FFF2-40B4-BE49-F238E27FC236}">
                <a16:creationId xmlns:a16="http://schemas.microsoft.com/office/drawing/2014/main" id="{53693178-D579-4C6E-A24C-1146433C52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6297" y="301783"/>
            <a:ext cx="10585193" cy="5587892"/>
          </a:xfrm>
          <a:prstGeom prst="rect">
            <a:avLst/>
          </a:prstGeom>
        </p:spPr>
      </p:pic>
      <p:pic>
        <p:nvPicPr>
          <p:cNvPr id="9" name="month 2" descr="A picture containing text&#10;&#10;Description generated with very high confidence" hidden="1">
            <a:extLst>
              <a:ext uri="{FF2B5EF4-FFF2-40B4-BE49-F238E27FC236}">
                <a16:creationId xmlns:a16="http://schemas.microsoft.com/office/drawing/2014/main" id="{20F49FFC-3C2A-43DB-AED7-5A7100B5C95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4761" y="287113"/>
            <a:ext cx="10585196" cy="5633324"/>
          </a:xfrm>
          <a:prstGeom prst="rect">
            <a:avLst/>
          </a:prstGeom>
        </p:spPr>
      </p:pic>
      <p:pic>
        <p:nvPicPr>
          <p:cNvPr id="11" name="month 3" descr="A picture containing text, map&#10;&#10;Description generated with very high confidence">
            <a:extLst>
              <a:ext uri="{FF2B5EF4-FFF2-40B4-BE49-F238E27FC236}">
                <a16:creationId xmlns:a16="http://schemas.microsoft.com/office/drawing/2014/main" id="{D8603C9F-24FC-473A-B39A-6AA5F841CE8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8654" y="276383"/>
            <a:ext cx="10554908" cy="5587892"/>
          </a:xfrm>
          <a:prstGeom prst="rect">
            <a:avLst/>
          </a:prstGeom>
        </p:spPr>
      </p:pic>
      <p:pic>
        <p:nvPicPr>
          <p:cNvPr id="13" name="month 4" hidden="1">
            <a:extLst>
              <a:ext uri="{FF2B5EF4-FFF2-40B4-BE49-F238E27FC236}">
                <a16:creationId xmlns:a16="http://schemas.microsoft.com/office/drawing/2014/main" id="{DD5B4769-C8B6-405F-B427-F56EFA497E7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0941" y="269425"/>
            <a:ext cx="10570051" cy="5618179"/>
          </a:xfrm>
          <a:prstGeom prst="rect">
            <a:avLst/>
          </a:prstGeom>
        </p:spPr>
      </p:pic>
      <p:pic>
        <p:nvPicPr>
          <p:cNvPr id="15" name="month 5" descr="A picture containing text, map&#10;&#10;Description generated with high confidence" hidden="1">
            <a:extLst>
              <a:ext uri="{FF2B5EF4-FFF2-40B4-BE49-F238E27FC236}">
                <a16:creationId xmlns:a16="http://schemas.microsoft.com/office/drawing/2014/main" id="{ED2D8F1A-05E1-4F3D-8AE8-11F31860B62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50117" y="270933"/>
            <a:ext cx="10600339" cy="5648467"/>
          </a:xfrm>
          <a:prstGeom prst="rect">
            <a:avLst/>
          </a:prstGeom>
        </p:spPr>
      </p:pic>
      <p:pic>
        <p:nvPicPr>
          <p:cNvPr id="17" name="month 6" descr="A picture containing text, map&#10;&#10;Description generated with high confidence">
            <a:extLst>
              <a:ext uri="{FF2B5EF4-FFF2-40B4-BE49-F238E27FC236}">
                <a16:creationId xmlns:a16="http://schemas.microsoft.com/office/drawing/2014/main" id="{27230F7C-0D48-4DA6-8015-2C71FA3A87F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66295" y="279400"/>
            <a:ext cx="10585195" cy="5648467"/>
          </a:xfrm>
          <a:prstGeom prst="rect">
            <a:avLst/>
          </a:prstGeom>
        </p:spPr>
      </p:pic>
      <p:sp>
        <p:nvSpPr>
          <p:cNvPr id="4" name="Slide Number Placeholder 3">
            <a:extLst>
              <a:ext uri="{FF2B5EF4-FFF2-40B4-BE49-F238E27FC236}">
                <a16:creationId xmlns:a16="http://schemas.microsoft.com/office/drawing/2014/main" id="{4D173D4C-AF20-44FE-9D29-6EB6578B95D3}"/>
              </a:ext>
            </a:extLst>
          </p:cNvPr>
          <p:cNvSpPr>
            <a:spLocks noGrp="1"/>
          </p:cNvSpPr>
          <p:nvPr>
            <p:ph type="sldNum" sz="quarter" idx="12"/>
          </p:nvPr>
        </p:nvSpPr>
        <p:spPr/>
        <p:txBody>
          <a:bodyPr/>
          <a:lstStyle/>
          <a:p>
            <a:fld id="{4FA07702-9C82-4FBE-B98C-E58879511A7A}" type="slidenum">
              <a:rPr lang="en-US" smtClean="0"/>
              <a:t>5</a:t>
            </a:fld>
            <a:endParaRPr lang="en-US"/>
          </a:p>
        </p:txBody>
      </p:sp>
    </p:spTree>
    <p:extLst>
      <p:ext uri="{BB962C8B-B14F-4D97-AF65-F5344CB8AC3E}">
        <p14:creationId xmlns:p14="http://schemas.microsoft.com/office/powerpoint/2010/main" val="31255063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ECAAC4AB-D8DB-4AD2-9848-6CD26AA035C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0558"/>
          <a:stretch/>
        </p:blipFill>
        <p:spPr bwMode="auto">
          <a:xfrm>
            <a:off x="0" y="0"/>
            <a:ext cx="12192000" cy="6858000"/>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itle 1">
            <a:extLst>
              <a:ext uri="{FF2B5EF4-FFF2-40B4-BE49-F238E27FC236}">
                <a16:creationId xmlns:a16="http://schemas.microsoft.com/office/drawing/2014/main" id="{6332C751-9F95-4C68-AC5B-5BC5AD602F23}"/>
              </a:ext>
            </a:extLst>
          </p:cNvPr>
          <p:cNvSpPr>
            <a:spLocks noGrp="1"/>
          </p:cNvSpPr>
          <p:nvPr>
            <p:ph type="title"/>
          </p:nvPr>
        </p:nvSpPr>
        <p:spPr/>
        <p:txBody>
          <a:bodyPr/>
          <a:lstStyle/>
          <a:p>
            <a:pPr algn="ctr"/>
            <a:r>
              <a:rPr lang="en-US" b="1" dirty="0">
                <a:solidFill>
                  <a:srgbClr val="000104"/>
                </a:solidFill>
              </a:rPr>
              <a:t>Disease X</a:t>
            </a:r>
          </a:p>
        </p:txBody>
      </p:sp>
      <p:sp>
        <p:nvSpPr>
          <p:cNvPr id="3" name="Content Placeholder 2">
            <a:extLst>
              <a:ext uri="{FF2B5EF4-FFF2-40B4-BE49-F238E27FC236}">
                <a16:creationId xmlns:a16="http://schemas.microsoft.com/office/drawing/2014/main" id="{C295A927-DD97-45C7-B3F7-48A4EC2D9D38}"/>
              </a:ext>
            </a:extLst>
          </p:cNvPr>
          <p:cNvSpPr>
            <a:spLocks noGrp="1"/>
          </p:cNvSpPr>
          <p:nvPr>
            <p:ph idx="4294967295"/>
          </p:nvPr>
        </p:nvSpPr>
        <p:spPr>
          <a:xfrm>
            <a:off x="0" y="4530725"/>
            <a:ext cx="12180888" cy="1312863"/>
          </a:xfrm>
          <a:solidFill>
            <a:srgbClr val="FFC000">
              <a:alpha val="32000"/>
            </a:srgbClr>
          </a:solidFill>
        </p:spPr>
        <p:txBody>
          <a:bodyPr>
            <a:normAutofit/>
          </a:bodyPr>
          <a:lstStyle/>
          <a:p>
            <a:pPr marL="0" indent="0" algn="ctr">
              <a:buNone/>
            </a:pPr>
            <a:r>
              <a:rPr lang="en-US" sz="2800" b="1" dirty="0">
                <a:solidFill>
                  <a:srgbClr val="000104"/>
                </a:solidFill>
              </a:rPr>
              <a:t>It is estimated that as many as 631,000 - 827,000 undiscovered viral species exist with zoonotic potential in mammal or bird hosts.</a:t>
            </a:r>
            <a:r>
              <a:rPr lang="en-US" sz="2800" b="1" baseline="30000" dirty="0">
                <a:solidFill>
                  <a:srgbClr val="000104"/>
                </a:solidFill>
              </a:rPr>
              <a:t>¹</a:t>
            </a:r>
            <a:br>
              <a:rPr lang="en-US" baseline="30000" dirty="0">
                <a:solidFill>
                  <a:srgbClr val="000104"/>
                </a:solidFill>
              </a:rPr>
            </a:br>
            <a:r>
              <a:rPr lang="en-US" sz="1600" i="1" dirty="0">
                <a:solidFill>
                  <a:srgbClr val="000104"/>
                </a:solidFill>
              </a:rPr>
              <a:t>¹"The Global </a:t>
            </a:r>
            <a:r>
              <a:rPr lang="en-US" sz="1600" i="1" dirty="0" err="1">
                <a:solidFill>
                  <a:srgbClr val="000104"/>
                </a:solidFill>
              </a:rPr>
              <a:t>Virome</a:t>
            </a:r>
            <a:r>
              <a:rPr lang="en-US" sz="1600" i="1" dirty="0">
                <a:solidFill>
                  <a:srgbClr val="000104"/>
                </a:solidFill>
              </a:rPr>
              <a:t> Project." D Carroll et al. Science 359 (6378), 872-874. DOI: 10.1126/science.aap7463</a:t>
            </a:r>
          </a:p>
        </p:txBody>
      </p:sp>
      <p:sp>
        <p:nvSpPr>
          <p:cNvPr id="7" name="Rectangle 6">
            <a:extLst>
              <a:ext uri="{FF2B5EF4-FFF2-40B4-BE49-F238E27FC236}">
                <a16:creationId xmlns:a16="http://schemas.microsoft.com/office/drawing/2014/main" id="{8BA496BF-13B1-41D7-B68D-E4E3CE0783F7}"/>
              </a:ext>
            </a:extLst>
          </p:cNvPr>
          <p:cNvSpPr/>
          <p:nvPr/>
        </p:nvSpPr>
        <p:spPr>
          <a:xfrm>
            <a:off x="8822699" y="5830433"/>
            <a:ext cx="3389069" cy="256545"/>
          </a:xfrm>
          <a:prstGeom prst="rect">
            <a:avLst/>
          </a:prstGeom>
        </p:spPr>
        <p:txBody>
          <a:bodyPr wrap="none">
            <a:spAutoFit/>
          </a:bodyPr>
          <a:lstStyle/>
          <a:p>
            <a:pPr defTabSz="976798"/>
            <a:r>
              <a:rPr lang="en-US" sz="1067" i="1" dirty="0">
                <a:solidFill>
                  <a:prstClr val="white"/>
                </a:solidFill>
                <a:latin typeface="Arial"/>
              </a:rPr>
              <a:t>CREDIT: DOMNIQUE FAGET/AFP/GETTY IMAGES</a:t>
            </a:r>
            <a:endParaRPr lang="en-US" sz="1067" dirty="0">
              <a:solidFill>
                <a:prstClr val="white"/>
              </a:solidFill>
              <a:latin typeface="Arial"/>
            </a:endParaRPr>
          </a:p>
        </p:txBody>
      </p:sp>
      <p:sp>
        <p:nvSpPr>
          <p:cNvPr id="2" name="Slide Number Placeholder 1">
            <a:extLst>
              <a:ext uri="{FF2B5EF4-FFF2-40B4-BE49-F238E27FC236}">
                <a16:creationId xmlns:a16="http://schemas.microsoft.com/office/drawing/2014/main" id="{E340FCF5-5004-45B1-AC4B-1853C70C9EB2}"/>
              </a:ext>
            </a:extLst>
          </p:cNvPr>
          <p:cNvSpPr>
            <a:spLocks noGrp="1"/>
          </p:cNvSpPr>
          <p:nvPr>
            <p:ph type="sldNum" sz="quarter" idx="12"/>
          </p:nvPr>
        </p:nvSpPr>
        <p:spPr/>
        <p:txBody>
          <a:bodyPr/>
          <a:lstStyle/>
          <a:p>
            <a:fld id="{4FA07702-9C82-4FBE-B98C-E58879511A7A}" type="slidenum">
              <a:rPr lang="en-US" smtClean="0"/>
              <a:t>6</a:t>
            </a:fld>
            <a:endParaRPr lang="en-US"/>
          </a:p>
        </p:txBody>
      </p:sp>
    </p:spTree>
    <p:extLst>
      <p:ext uri="{BB962C8B-B14F-4D97-AF65-F5344CB8AC3E}">
        <p14:creationId xmlns:p14="http://schemas.microsoft.com/office/powerpoint/2010/main" val="37909546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8" name="Picture 137">
            <a:extLst>
              <a:ext uri="{FF2B5EF4-FFF2-40B4-BE49-F238E27FC236}">
                <a16:creationId xmlns:a16="http://schemas.microsoft.com/office/drawing/2014/main" id="{0532A93E-15FB-4743-8B1E-EFED7B68FBDB}"/>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rcRect t="28" b="28"/>
          <a:stretch/>
        </p:blipFill>
        <p:spPr>
          <a:xfrm>
            <a:off x="0" y="-1"/>
            <a:ext cx="12192000" cy="6727371"/>
          </a:xfrm>
          <a:prstGeom prst="rect">
            <a:avLst/>
          </a:prstGeom>
        </p:spPr>
      </p:pic>
      <p:sp>
        <p:nvSpPr>
          <p:cNvPr id="9" name="Title 8">
            <a:extLst>
              <a:ext uri="{FF2B5EF4-FFF2-40B4-BE49-F238E27FC236}">
                <a16:creationId xmlns:a16="http://schemas.microsoft.com/office/drawing/2014/main" id="{1D94EEF1-4DF0-D04A-81C6-28362BD3E6E5}"/>
              </a:ext>
            </a:extLst>
          </p:cNvPr>
          <p:cNvSpPr txBox="1">
            <a:spLocks noGrp="1"/>
          </p:cNvSpPr>
          <p:nvPr>
            <p:ph type="title"/>
          </p:nvPr>
        </p:nvSpPr>
        <p:spPr>
          <a:xfrm>
            <a:off x="558282" y="196538"/>
            <a:ext cx="10321212" cy="701731"/>
          </a:xfrm>
          <a:prstGeom prst="rect">
            <a:avLst/>
          </a:prstGeom>
          <a:noFill/>
        </p:spPr>
        <p:txBody>
          <a:bodyPr wrap="square" rtlCol="0">
            <a:spAutoFit/>
          </a:bodyPr>
          <a:lstStyle/>
          <a:p>
            <a:pPr algn="ctr"/>
            <a:r>
              <a:rPr lang="en-US" dirty="0">
                <a:solidFill>
                  <a:schemeClr val="bg1"/>
                </a:solidFill>
                <a:ea typeface="Helvetica Neue Condensed" panose="02000503000000020004" pitchFamily="2" charset="0"/>
                <a:cs typeface="Helvetica Neue Condensed" panose="02000503000000020004" pitchFamily="2" charset="0"/>
              </a:rPr>
              <a:t>Pandemic Preparedness Principles</a:t>
            </a:r>
          </a:p>
        </p:txBody>
      </p:sp>
      <p:grpSp>
        <p:nvGrpSpPr>
          <p:cNvPr id="94" name="Group 93" descr="Pandemic Preparedness Principles that in include Flexible agreements, Platforms for Faster Development, Expand Access, Sustainable, Improved Delivery, and Production Capacity.">
            <a:extLst>
              <a:ext uri="{FF2B5EF4-FFF2-40B4-BE49-F238E27FC236}">
                <a16:creationId xmlns:a16="http://schemas.microsoft.com/office/drawing/2014/main" id="{72CED73F-36AC-4E34-8FE4-F4BD35451D85}"/>
              </a:ext>
            </a:extLst>
          </p:cNvPr>
          <p:cNvGrpSpPr/>
          <p:nvPr/>
        </p:nvGrpSpPr>
        <p:grpSpPr>
          <a:xfrm>
            <a:off x="203200" y="1053192"/>
            <a:ext cx="11682584" cy="4928104"/>
            <a:chOff x="152400" y="789894"/>
            <a:chExt cx="8761938" cy="3696078"/>
          </a:xfrm>
        </p:grpSpPr>
        <p:grpSp>
          <p:nvGrpSpPr>
            <p:cNvPr id="12" name="Group 11">
              <a:extLst>
                <a:ext uri="{FF2B5EF4-FFF2-40B4-BE49-F238E27FC236}">
                  <a16:creationId xmlns:a16="http://schemas.microsoft.com/office/drawing/2014/main" id="{A3FE3108-95EC-4F27-8F94-4EDB59DAB227}"/>
                </a:ext>
              </a:extLst>
            </p:cNvPr>
            <p:cNvGrpSpPr/>
            <p:nvPr/>
          </p:nvGrpSpPr>
          <p:grpSpPr>
            <a:xfrm>
              <a:off x="152400" y="2079786"/>
              <a:ext cx="2556400" cy="1110251"/>
              <a:chOff x="925957" y="2112760"/>
              <a:chExt cx="2556400" cy="1110251"/>
            </a:xfrm>
          </p:grpSpPr>
          <p:sp>
            <p:nvSpPr>
              <p:cNvPr id="117" name="Rectangle 116">
                <a:extLst>
                  <a:ext uri="{FF2B5EF4-FFF2-40B4-BE49-F238E27FC236}">
                    <a16:creationId xmlns:a16="http://schemas.microsoft.com/office/drawing/2014/main" id="{1EDD00C6-57E7-4620-AE0A-482B18F4E4A4}"/>
                  </a:ext>
                </a:extLst>
              </p:cNvPr>
              <p:cNvSpPr/>
              <p:nvPr/>
            </p:nvSpPr>
            <p:spPr>
              <a:xfrm>
                <a:off x="925957" y="2838120"/>
                <a:ext cx="2001271" cy="384891"/>
              </a:xfrm>
              <a:prstGeom prst="rect">
                <a:avLst/>
              </a:prstGeom>
              <a:solidFill>
                <a:srgbClr val="008CAC"/>
              </a:solidFill>
              <a:ln w="41275">
                <a:noFill/>
              </a:ln>
            </p:spPr>
            <p:style>
              <a:lnRef idx="2">
                <a:schemeClr val="dk1"/>
              </a:lnRef>
              <a:fillRef idx="1">
                <a:schemeClr val="lt1"/>
              </a:fillRef>
              <a:effectRef idx="0">
                <a:schemeClr val="dk1"/>
              </a:effectRef>
              <a:fontRef idx="minor">
                <a:schemeClr val="dk1"/>
              </a:fontRef>
            </p:style>
            <p:txBody>
              <a:bodyPr rtlCol="0" anchor="ctr"/>
              <a:lstStyle/>
              <a:p>
                <a:pPr defTabSz="1219170"/>
                <a:r>
                  <a:rPr lang="en-US" sz="1600" b="1" dirty="0">
                    <a:solidFill>
                      <a:prstClr val="white"/>
                    </a:solidFill>
                    <a:effectLst>
                      <a:outerShdw blurRad="38100" dist="38100" dir="2700000" algn="tl">
                        <a:srgbClr val="000000">
                          <a:alpha val="43137"/>
                        </a:srgbClr>
                      </a:outerShdw>
                    </a:effectLst>
                    <a:latin typeface="Arial"/>
                  </a:rPr>
                  <a:t>Platforms for </a:t>
                </a:r>
                <a:br>
                  <a:rPr lang="en-US" sz="1600" b="1" dirty="0">
                    <a:solidFill>
                      <a:prstClr val="white"/>
                    </a:solidFill>
                    <a:effectLst>
                      <a:outerShdw blurRad="38100" dist="38100" dir="2700000" algn="tl">
                        <a:srgbClr val="000000">
                          <a:alpha val="43137"/>
                        </a:srgbClr>
                      </a:outerShdw>
                    </a:effectLst>
                    <a:latin typeface="Arial"/>
                  </a:rPr>
                </a:br>
                <a:r>
                  <a:rPr lang="en-US" sz="1600" b="1" dirty="0">
                    <a:solidFill>
                      <a:prstClr val="white"/>
                    </a:solidFill>
                    <a:effectLst>
                      <a:outerShdw blurRad="38100" dist="38100" dir="2700000" algn="tl">
                        <a:srgbClr val="000000">
                          <a:alpha val="43137"/>
                        </a:srgbClr>
                      </a:outerShdw>
                    </a:effectLst>
                    <a:latin typeface="Arial"/>
                  </a:rPr>
                  <a:t>Faster  Development</a:t>
                </a:r>
              </a:p>
            </p:txBody>
          </p:sp>
          <p:sp>
            <p:nvSpPr>
              <p:cNvPr id="49" name="Oval 48">
                <a:extLst>
                  <a:ext uri="{FF2B5EF4-FFF2-40B4-BE49-F238E27FC236}">
                    <a16:creationId xmlns:a16="http://schemas.microsoft.com/office/drawing/2014/main" id="{19B87506-CA88-42A3-83A5-C74B835BC766}"/>
                  </a:ext>
                </a:extLst>
              </p:cNvPr>
              <p:cNvSpPr/>
              <p:nvPr/>
            </p:nvSpPr>
            <p:spPr>
              <a:xfrm>
                <a:off x="2372106" y="2112760"/>
                <a:ext cx="1110251" cy="1110251"/>
              </a:xfrm>
              <a:prstGeom prst="ellipse">
                <a:avLst/>
              </a:prstGeom>
              <a:solidFill>
                <a:srgbClr val="008CAC"/>
              </a:solidFill>
              <a:ln w="41275">
                <a:noFill/>
              </a:ln>
            </p:spPr>
            <p:style>
              <a:lnRef idx="2">
                <a:schemeClr val="dk1"/>
              </a:lnRef>
              <a:fillRef idx="1">
                <a:schemeClr val="lt1"/>
              </a:fillRef>
              <a:effectRef idx="0">
                <a:schemeClr val="dk1"/>
              </a:effectRef>
              <a:fontRef idx="minor">
                <a:schemeClr val="dk1"/>
              </a:fontRef>
            </p:style>
            <p:txBody>
              <a:bodyPr rtlCol="0" anchor="ctr"/>
              <a:lstStyle/>
              <a:p>
                <a:pPr algn="ctr" defTabSz="1219170"/>
                <a:endParaRPr lang="en-US" sz="1867" dirty="0">
                  <a:solidFill>
                    <a:srgbClr val="102B62"/>
                  </a:solidFill>
                  <a:latin typeface="Arial"/>
                </a:endParaRPr>
              </a:p>
            </p:txBody>
          </p:sp>
          <p:sp>
            <p:nvSpPr>
              <p:cNvPr id="48" name="Oval 47" descr="Rocket ship icon">
                <a:extLst>
                  <a:ext uri="{FF2B5EF4-FFF2-40B4-BE49-F238E27FC236}">
                    <a16:creationId xmlns:a16="http://schemas.microsoft.com/office/drawing/2014/main" id="{DC45176E-D190-4152-ABB7-EB5EC58D52A2}"/>
                  </a:ext>
                </a:extLst>
              </p:cNvPr>
              <p:cNvSpPr/>
              <p:nvPr/>
            </p:nvSpPr>
            <p:spPr>
              <a:xfrm>
                <a:off x="2464683" y="2205336"/>
                <a:ext cx="925099" cy="925099"/>
              </a:xfrm>
              <a:prstGeom prst="ellipse">
                <a:avLst/>
              </a:prstGeom>
              <a:gradFill>
                <a:gsLst>
                  <a:gs pos="0">
                    <a:schemeClr val="bg1">
                      <a:lumMod val="95000"/>
                    </a:schemeClr>
                  </a:gs>
                  <a:gs pos="50000">
                    <a:schemeClr val="bg1">
                      <a:lumMod val="85000"/>
                    </a:schemeClr>
                  </a:gs>
                  <a:gs pos="100000">
                    <a:schemeClr val="bg1">
                      <a:lumMod val="75000"/>
                    </a:schemeClr>
                  </a:gs>
                </a:gsLst>
              </a:gra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defTabSz="1219170"/>
                <a:endParaRPr lang="en-US" sz="1867" dirty="0">
                  <a:solidFill>
                    <a:srgbClr val="102B62"/>
                  </a:solidFill>
                  <a:latin typeface="Arial"/>
                </a:endParaRPr>
              </a:p>
            </p:txBody>
          </p:sp>
        </p:grpSp>
        <p:grpSp>
          <p:nvGrpSpPr>
            <p:cNvPr id="20" name="Graphic 16">
              <a:extLst>
                <a:ext uri="{FF2B5EF4-FFF2-40B4-BE49-F238E27FC236}">
                  <a16:creationId xmlns:a16="http://schemas.microsoft.com/office/drawing/2014/main" id="{0134AC28-4BDC-406C-9A5F-C23A673389EF}"/>
                </a:ext>
              </a:extLst>
            </p:cNvPr>
            <p:cNvGrpSpPr/>
            <p:nvPr/>
          </p:nvGrpSpPr>
          <p:grpSpPr>
            <a:xfrm>
              <a:off x="1902874" y="2359804"/>
              <a:ext cx="515620" cy="507520"/>
              <a:chOff x="3576637" y="1590675"/>
              <a:chExt cx="1988724" cy="1957482"/>
            </a:xfrm>
            <a:solidFill>
              <a:srgbClr val="008CAC"/>
            </a:solidFill>
          </p:grpSpPr>
          <p:sp>
            <p:nvSpPr>
              <p:cNvPr id="21" name="Freeform: Shape 20">
                <a:extLst>
                  <a:ext uri="{FF2B5EF4-FFF2-40B4-BE49-F238E27FC236}">
                    <a16:creationId xmlns:a16="http://schemas.microsoft.com/office/drawing/2014/main" id="{DF75B465-24E5-42E8-95A6-5CB7858791C0}"/>
                  </a:ext>
                </a:extLst>
              </p:cNvPr>
              <p:cNvSpPr/>
              <p:nvPr/>
            </p:nvSpPr>
            <p:spPr>
              <a:xfrm>
                <a:off x="3576637" y="1590675"/>
                <a:ext cx="1988724" cy="1953196"/>
              </a:xfrm>
              <a:custGeom>
                <a:avLst/>
                <a:gdLst>
                  <a:gd name="connsiteX0" fmla="*/ 1696974 w 1988724"/>
                  <a:gd name="connsiteY0" fmla="*/ 1208246 h 1953196"/>
                  <a:gd name="connsiteX1" fmla="*/ 1647063 w 1988724"/>
                  <a:gd name="connsiteY1" fmla="*/ 1071658 h 1953196"/>
                  <a:gd name="connsiteX2" fmla="*/ 1988725 w 1988724"/>
                  <a:gd name="connsiteY2" fmla="*/ 756761 h 1953196"/>
                  <a:gd name="connsiteX3" fmla="*/ 1975961 w 1988724"/>
                  <a:gd name="connsiteY3" fmla="*/ 735806 h 1953196"/>
                  <a:gd name="connsiteX4" fmla="*/ 1805654 w 1988724"/>
                  <a:gd name="connsiteY4" fmla="*/ 588550 h 1953196"/>
                  <a:gd name="connsiteX5" fmla="*/ 1569911 w 1988724"/>
                  <a:gd name="connsiteY5" fmla="*/ 510254 h 1953196"/>
                  <a:gd name="connsiteX6" fmla="*/ 1212723 w 1988724"/>
                  <a:gd name="connsiteY6" fmla="*/ 516065 h 1953196"/>
                  <a:gd name="connsiteX7" fmla="*/ 1184053 w 1988724"/>
                  <a:gd name="connsiteY7" fmla="*/ 520732 h 1953196"/>
                  <a:gd name="connsiteX8" fmla="*/ 1126046 w 1988724"/>
                  <a:gd name="connsiteY8" fmla="*/ 476536 h 1953196"/>
                  <a:gd name="connsiteX9" fmla="*/ 748665 w 1988724"/>
                  <a:gd name="connsiteY9" fmla="*/ 249555 h 1953196"/>
                  <a:gd name="connsiteX10" fmla="*/ 401288 w 1988724"/>
                  <a:gd name="connsiteY10" fmla="*/ 105918 h 1953196"/>
                  <a:gd name="connsiteX11" fmla="*/ 46673 w 1988724"/>
                  <a:gd name="connsiteY11" fmla="*/ 8287 h 1953196"/>
                  <a:gd name="connsiteX12" fmla="*/ 0 w 1988724"/>
                  <a:gd name="connsiteY12" fmla="*/ 0 h 1953196"/>
                  <a:gd name="connsiteX13" fmla="*/ 12478 w 1988724"/>
                  <a:gd name="connsiteY13" fmla="*/ 45720 h 1953196"/>
                  <a:gd name="connsiteX14" fmla="*/ 153448 w 1988724"/>
                  <a:gd name="connsiteY14" fmla="*/ 450914 h 1953196"/>
                  <a:gd name="connsiteX15" fmla="*/ 324326 w 1988724"/>
                  <a:gd name="connsiteY15" fmla="*/ 811721 h 1953196"/>
                  <a:gd name="connsiteX16" fmla="*/ 556546 w 1988724"/>
                  <a:gd name="connsiteY16" fmla="*/ 1147858 h 1953196"/>
                  <a:gd name="connsiteX17" fmla="*/ 551783 w 1988724"/>
                  <a:gd name="connsiteY17" fmla="*/ 1177195 h 1953196"/>
                  <a:gd name="connsiteX18" fmla="*/ 545973 w 1988724"/>
                  <a:gd name="connsiteY18" fmla="*/ 1534382 h 1953196"/>
                  <a:gd name="connsiteX19" fmla="*/ 624269 w 1988724"/>
                  <a:gd name="connsiteY19" fmla="*/ 1770126 h 1953196"/>
                  <a:gd name="connsiteX20" fmla="*/ 771525 w 1988724"/>
                  <a:gd name="connsiteY20" fmla="*/ 1940433 h 1953196"/>
                  <a:gd name="connsiteX21" fmla="*/ 792480 w 1988724"/>
                  <a:gd name="connsiteY21" fmla="*/ 1953197 h 1953196"/>
                  <a:gd name="connsiteX22" fmla="*/ 1092422 w 1988724"/>
                  <a:gd name="connsiteY22" fmla="*/ 1630204 h 1953196"/>
                  <a:gd name="connsiteX23" fmla="*/ 1197007 w 1988724"/>
                  <a:gd name="connsiteY23" fmla="*/ 1696879 h 1953196"/>
                  <a:gd name="connsiteX24" fmla="*/ 1216724 w 1988724"/>
                  <a:gd name="connsiteY24" fmla="*/ 1707642 h 1953196"/>
                  <a:gd name="connsiteX25" fmla="*/ 1700308 w 1988724"/>
                  <a:gd name="connsiteY25" fmla="*/ 1224058 h 1953196"/>
                  <a:gd name="connsiteX26" fmla="*/ 1696974 w 1988724"/>
                  <a:gd name="connsiteY26" fmla="*/ 1208246 h 1953196"/>
                  <a:gd name="connsiteX27" fmla="*/ 1773269 w 1988724"/>
                  <a:gd name="connsiteY27" fmla="*/ 639032 h 1953196"/>
                  <a:gd name="connsiteX28" fmla="*/ 1910239 w 1988724"/>
                  <a:gd name="connsiteY28" fmla="*/ 747522 h 1953196"/>
                  <a:gd name="connsiteX29" fmla="*/ 1626013 w 1988724"/>
                  <a:gd name="connsiteY29" fmla="*/ 1009460 h 1953196"/>
                  <a:gd name="connsiteX30" fmla="*/ 1587627 w 1988724"/>
                  <a:gd name="connsiteY30" fmla="*/ 961263 h 1953196"/>
                  <a:gd name="connsiteX31" fmla="*/ 1424273 w 1988724"/>
                  <a:gd name="connsiteY31" fmla="*/ 743807 h 1953196"/>
                  <a:gd name="connsiteX32" fmla="*/ 1361599 w 1988724"/>
                  <a:gd name="connsiteY32" fmla="*/ 677704 h 1953196"/>
                  <a:gd name="connsiteX33" fmla="*/ 1273874 w 1988724"/>
                  <a:gd name="connsiteY33" fmla="*/ 567785 h 1953196"/>
                  <a:gd name="connsiteX34" fmla="*/ 1773269 w 1988724"/>
                  <a:gd name="connsiteY34" fmla="*/ 639032 h 1953196"/>
                  <a:gd name="connsiteX35" fmla="*/ 84201 w 1988724"/>
                  <a:gd name="connsiteY35" fmla="*/ 77343 h 1953196"/>
                  <a:gd name="connsiteX36" fmla="*/ 383096 w 1988724"/>
                  <a:gd name="connsiteY36" fmla="*/ 162973 h 1953196"/>
                  <a:gd name="connsiteX37" fmla="*/ 585788 w 1988724"/>
                  <a:gd name="connsiteY37" fmla="*/ 241078 h 1953196"/>
                  <a:gd name="connsiteX38" fmla="*/ 344710 w 1988724"/>
                  <a:gd name="connsiteY38" fmla="*/ 520637 h 1953196"/>
                  <a:gd name="connsiteX39" fmla="*/ 266986 w 1988724"/>
                  <a:gd name="connsiteY39" fmla="*/ 563213 h 1953196"/>
                  <a:gd name="connsiteX40" fmla="*/ 209169 w 1988724"/>
                  <a:gd name="connsiteY40" fmla="*/ 428911 h 1953196"/>
                  <a:gd name="connsiteX41" fmla="*/ 84201 w 1988724"/>
                  <a:gd name="connsiteY41" fmla="*/ 77343 h 1953196"/>
                  <a:gd name="connsiteX42" fmla="*/ 783336 w 1988724"/>
                  <a:gd name="connsiteY42" fmla="*/ 1874520 h 1953196"/>
                  <a:gd name="connsiteX43" fmla="*/ 674751 w 1988724"/>
                  <a:gd name="connsiteY43" fmla="*/ 1737551 h 1953196"/>
                  <a:gd name="connsiteX44" fmla="*/ 603409 w 1988724"/>
                  <a:gd name="connsiteY44" fmla="*/ 1239584 h 1953196"/>
                  <a:gd name="connsiteX45" fmla="*/ 1036034 w 1988724"/>
                  <a:gd name="connsiteY45" fmla="*/ 1602486 h 1953196"/>
                  <a:gd name="connsiteX46" fmla="*/ 783336 w 1988724"/>
                  <a:gd name="connsiteY46" fmla="*/ 1874520 h 1953196"/>
                  <a:gd name="connsiteX47" fmla="*/ 1206437 w 1988724"/>
                  <a:gd name="connsiteY47" fmla="*/ 1632871 h 1953196"/>
                  <a:gd name="connsiteX48" fmla="*/ 1043273 w 1988724"/>
                  <a:gd name="connsiteY48" fmla="*/ 1520190 h 1953196"/>
                  <a:gd name="connsiteX49" fmla="*/ 603695 w 1988724"/>
                  <a:gd name="connsiteY49" fmla="*/ 1110520 h 1953196"/>
                  <a:gd name="connsiteX50" fmla="*/ 292608 w 1988724"/>
                  <a:gd name="connsiteY50" fmla="*/ 617982 h 1953196"/>
                  <a:gd name="connsiteX51" fmla="*/ 372047 w 1988724"/>
                  <a:gd name="connsiteY51" fmla="*/ 575024 h 1953196"/>
                  <a:gd name="connsiteX52" fmla="*/ 641509 w 1988724"/>
                  <a:gd name="connsiteY52" fmla="*/ 265557 h 1953196"/>
                  <a:gd name="connsiteX53" fmla="*/ 1090613 w 1988724"/>
                  <a:gd name="connsiteY53" fmla="*/ 524828 h 1953196"/>
                  <a:gd name="connsiteX54" fmla="*/ 1317498 w 1988724"/>
                  <a:gd name="connsiteY54" fmla="*/ 718947 h 1953196"/>
                  <a:gd name="connsiteX55" fmla="*/ 1538288 w 1988724"/>
                  <a:gd name="connsiteY55" fmla="*/ 995744 h 1953196"/>
                  <a:gd name="connsiteX56" fmla="*/ 1543526 w 1988724"/>
                  <a:gd name="connsiteY56" fmla="*/ 1004507 h 1953196"/>
                  <a:gd name="connsiteX57" fmla="*/ 1634300 w 1988724"/>
                  <a:gd name="connsiteY57" fmla="*/ 1205008 h 1953196"/>
                  <a:gd name="connsiteX58" fmla="*/ 1206437 w 1988724"/>
                  <a:gd name="connsiteY58" fmla="*/ 1632871 h 1953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988724" h="1953196">
                    <a:moveTo>
                      <a:pt x="1696974" y="1208246"/>
                    </a:moveTo>
                    <a:cubicBezTo>
                      <a:pt x="1696403" y="1205389"/>
                      <a:pt x="1685830" y="1154049"/>
                      <a:pt x="1647063" y="1071658"/>
                    </a:cubicBezTo>
                    <a:lnTo>
                      <a:pt x="1988725" y="756761"/>
                    </a:lnTo>
                    <a:lnTo>
                      <a:pt x="1975961" y="735806"/>
                    </a:lnTo>
                    <a:cubicBezTo>
                      <a:pt x="1973961" y="732473"/>
                      <a:pt x="1925384" y="654272"/>
                      <a:pt x="1805654" y="588550"/>
                    </a:cubicBezTo>
                    <a:cubicBezTo>
                      <a:pt x="1736408" y="550450"/>
                      <a:pt x="1657064" y="524161"/>
                      <a:pt x="1569911" y="510254"/>
                    </a:cubicBezTo>
                    <a:cubicBezTo>
                      <a:pt x="1462088" y="493109"/>
                      <a:pt x="1341882" y="495014"/>
                      <a:pt x="1212723" y="516065"/>
                    </a:cubicBezTo>
                    <a:lnTo>
                      <a:pt x="1184053" y="520732"/>
                    </a:lnTo>
                    <a:cubicBezTo>
                      <a:pt x="1165098" y="505778"/>
                      <a:pt x="1145858" y="491014"/>
                      <a:pt x="1126046" y="476536"/>
                    </a:cubicBezTo>
                    <a:cubicBezTo>
                      <a:pt x="1013174" y="393383"/>
                      <a:pt x="886206" y="316992"/>
                      <a:pt x="748665" y="249555"/>
                    </a:cubicBezTo>
                    <a:cubicBezTo>
                      <a:pt x="638747" y="195739"/>
                      <a:pt x="521970" y="147352"/>
                      <a:pt x="401288" y="105918"/>
                    </a:cubicBezTo>
                    <a:cubicBezTo>
                      <a:pt x="195929" y="35243"/>
                      <a:pt x="52673" y="9335"/>
                      <a:pt x="46673" y="8287"/>
                    </a:cubicBezTo>
                    <a:lnTo>
                      <a:pt x="0" y="0"/>
                    </a:lnTo>
                    <a:lnTo>
                      <a:pt x="12478" y="45720"/>
                    </a:lnTo>
                    <a:cubicBezTo>
                      <a:pt x="12954" y="47530"/>
                      <a:pt x="62198" y="226790"/>
                      <a:pt x="153448" y="450914"/>
                    </a:cubicBezTo>
                    <a:cubicBezTo>
                      <a:pt x="207074" y="582644"/>
                      <a:pt x="264605" y="703993"/>
                      <a:pt x="324326" y="811721"/>
                    </a:cubicBezTo>
                    <a:cubicBezTo>
                      <a:pt x="398621" y="945547"/>
                      <a:pt x="476726" y="1058609"/>
                      <a:pt x="556546" y="1147858"/>
                    </a:cubicBezTo>
                    <a:lnTo>
                      <a:pt x="551783" y="1177195"/>
                    </a:lnTo>
                    <a:cubicBezTo>
                      <a:pt x="530733" y="1306449"/>
                      <a:pt x="528733" y="1426655"/>
                      <a:pt x="545973" y="1534382"/>
                    </a:cubicBezTo>
                    <a:cubicBezTo>
                      <a:pt x="559880" y="1621536"/>
                      <a:pt x="586169" y="1700784"/>
                      <a:pt x="624269" y="1770126"/>
                    </a:cubicBezTo>
                    <a:cubicBezTo>
                      <a:pt x="689991" y="1889855"/>
                      <a:pt x="768287" y="1938338"/>
                      <a:pt x="771525" y="1940433"/>
                    </a:cubicBezTo>
                    <a:lnTo>
                      <a:pt x="792480" y="1953197"/>
                    </a:lnTo>
                    <a:lnTo>
                      <a:pt x="1092422" y="1630204"/>
                    </a:lnTo>
                    <a:cubicBezTo>
                      <a:pt x="1156907" y="1674876"/>
                      <a:pt x="1194911" y="1695736"/>
                      <a:pt x="1197007" y="1696879"/>
                    </a:cubicBezTo>
                    <a:lnTo>
                      <a:pt x="1216724" y="1707642"/>
                    </a:lnTo>
                    <a:lnTo>
                      <a:pt x="1700308" y="1224058"/>
                    </a:lnTo>
                    <a:lnTo>
                      <a:pt x="1696974" y="1208246"/>
                    </a:lnTo>
                    <a:close/>
                    <a:moveTo>
                      <a:pt x="1773269" y="639032"/>
                    </a:moveTo>
                    <a:cubicBezTo>
                      <a:pt x="1845945" y="678275"/>
                      <a:pt x="1889570" y="722757"/>
                      <a:pt x="1910239" y="747522"/>
                    </a:cubicBezTo>
                    <a:lnTo>
                      <a:pt x="1626013" y="1009460"/>
                    </a:lnTo>
                    <a:lnTo>
                      <a:pt x="1587627" y="961263"/>
                    </a:lnTo>
                    <a:cubicBezTo>
                      <a:pt x="1542574" y="887444"/>
                      <a:pt x="1487710" y="814388"/>
                      <a:pt x="1424273" y="743807"/>
                    </a:cubicBezTo>
                    <a:cubicBezTo>
                      <a:pt x="1404271" y="721519"/>
                      <a:pt x="1383316" y="699516"/>
                      <a:pt x="1361599" y="677704"/>
                    </a:cubicBezTo>
                    <a:lnTo>
                      <a:pt x="1273874" y="567785"/>
                    </a:lnTo>
                    <a:cubicBezTo>
                      <a:pt x="1519333" y="537496"/>
                      <a:pt x="1679924" y="588645"/>
                      <a:pt x="1773269" y="639032"/>
                    </a:cubicBezTo>
                    <a:close/>
                    <a:moveTo>
                      <a:pt x="84201" y="77343"/>
                    </a:moveTo>
                    <a:cubicBezTo>
                      <a:pt x="142780" y="90488"/>
                      <a:pt x="250603" y="117348"/>
                      <a:pt x="383096" y="162973"/>
                    </a:cubicBezTo>
                    <a:cubicBezTo>
                      <a:pt x="442817" y="183547"/>
                      <a:pt x="511683" y="209360"/>
                      <a:pt x="585788" y="241078"/>
                    </a:cubicBezTo>
                    <a:cubicBezTo>
                      <a:pt x="482918" y="401574"/>
                      <a:pt x="398145" y="481584"/>
                      <a:pt x="344710" y="520637"/>
                    </a:cubicBezTo>
                    <a:cubicBezTo>
                      <a:pt x="308991" y="546640"/>
                      <a:pt x="282512" y="558165"/>
                      <a:pt x="266986" y="563213"/>
                    </a:cubicBezTo>
                    <a:cubicBezTo>
                      <a:pt x="245555" y="516065"/>
                      <a:pt x="226219" y="470725"/>
                      <a:pt x="209169" y="428911"/>
                    </a:cubicBezTo>
                    <a:cubicBezTo>
                      <a:pt x="146971" y="276035"/>
                      <a:pt x="104584" y="144494"/>
                      <a:pt x="84201" y="77343"/>
                    </a:cubicBezTo>
                    <a:close/>
                    <a:moveTo>
                      <a:pt x="783336" y="1874520"/>
                    </a:moveTo>
                    <a:cubicBezTo>
                      <a:pt x="758476" y="1853851"/>
                      <a:pt x="713994" y="1810322"/>
                      <a:pt x="674751" y="1737551"/>
                    </a:cubicBezTo>
                    <a:cubicBezTo>
                      <a:pt x="624459" y="1644396"/>
                      <a:pt x="573405" y="1484281"/>
                      <a:pt x="603409" y="1239584"/>
                    </a:cubicBezTo>
                    <a:lnTo>
                      <a:pt x="1036034" y="1602486"/>
                    </a:lnTo>
                    <a:lnTo>
                      <a:pt x="783336" y="1874520"/>
                    </a:lnTo>
                    <a:close/>
                    <a:moveTo>
                      <a:pt x="1206437" y="1632871"/>
                    </a:moveTo>
                    <a:cubicBezTo>
                      <a:pt x="1178243" y="1615821"/>
                      <a:pt x="1120712" y="1579150"/>
                      <a:pt x="1043273" y="1520190"/>
                    </a:cubicBezTo>
                    <a:cubicBezTo>
                      <a:pt x="940499" y="1441895"/>
                      <a:pt x="780860" y="1307306"/>
                      <a:pt x="603695" y="1110520"/>
                    </a:cubicBezTo>
                    <a:cubicBezTo>
                      <a:pt x="477679" y="970502"/>
                      <a:pt x="372523" y="785908"/>
                      <a:pt x="292608" y="617982"/>
                    </a:cubicBezTo>
                    <a:cubicBezTo>
                      <a:pt x="312325" y="610838"/>
                      <a:pt x="339281" y="597980"/>
                      <a:pt x="372047" y="575024"/>
                    </a:cubicBezTo>
                    <a:cubicBezTo>
                      <a:pt x="459391" y="513874"/>
                      <a:pt x="550069" y="409766"/>
                      <a:pt x="641509" y="265557"/>
                    </a:cubicBezTo>
                    <a:cubicBezTo>
                      <a:pt x="783908" y="329851"/>
                      <a:pt x="941642" y="415004"/>
                      <a:pt x="1090613" y="524828"/>
                    </a:cubicBezTo>
                    <a:cubicBezTo>
                      <a:pt x="1180148" y="590836"/>
                      <a:pt x="1255014" y="656463"/>
                      <a:pt x="1317498" y="718947"/>
                    </a:cubicBezTo>
                    <a:lnTo>
                      <a:pt x="1538288" y="995744"/>
                    </a:lnTo>
                    <a:cubicBezTo>
                      <a:pt x="1540097" y="998696"/>
                      <a:pt x="1541812" y="1001649"/>
                      <a:pt x="1543526" y="1004507"/>
                    </a:cubicBezTo>
                    <a:cubicBezTo>
                      <a:pt x="1601343" y="1101662"/>
                      <a:pt x="1625822" y="1174909"/>
                      <a:pt x="1634300" y="1205008"/>
                    </a:cubicBezTo>
                    <a:lnTo>
                      <a:pt x="1206437" y="1632871"/>
                    </a:lnTo>
                    <a:close/>
                  </a:path>
                </a:pathLst>
              </a:custGeom>
              <a:grpFill/>
              <a:ln w="9525" cap="flat">
                <a:solidFill>
                  <a:srgbClr val="008CAC"/>
                </a:solidFill>
                <a:prstDash val="solid"/>
                <a:miter/>
              </a:ln>
            </p:spPr>
            <p:txBody>
              <a:bodyPr rtlCol="0" anchor="ctr"/>
              <a:lstStyle/>
              <a:p>
                <a:pPr defTabSz="1219170"/>
                <a:endParaRPr lang="en-US" sz="2400">
                  <a:solidFill>
                    <a:srgbClr val="102B62"/>
                  </a:solidFill>
                  <a:latin typeface="Arial"/>
                </a:endParaRPr>
              </a:p>
            </p:txBody>
          </p:sp>
          <p:sp>
            <p:nvSpPr>
              <p:cNvPr id="28" name="Freeform: Shape 27">
                <a:extLst>
                  <a:ext uri="{FF2B5EF4-FFF2-40B4-BE49-F238E27FC236}">
                    <a16:creationId xmlns:a16="http://schemas.microsoft.com/office/drawing/2014/main" id="{8D22B6C4-B980-43B6-A925-7D68FCC4FCF2}"/>
                  </a:ext>
                </a:extLst>
              </p:cNvPr>
              <p:cNvSpPr/>
              <p:nvPr/>
            </p:nvSpPr>
            <p:spPr>
              <a:xfrm>
                <a:off x="4295107" y="2305526"/>
                <a:ext cx="535685" cy="535685"/>
              </a:xfrm>
              <a:custGeom>
                <a:avLst/>
                <a:gdLst>
                  <a:gd name="connsiteX0" fmla="*/ 267843 w 535685"/>
                  <a:gd name="connsiteY0" fmla="*/ 0 h 535685"/>
                  <a:gd name="connsiteX1" fmla="*/ 0 w 535685"/>
                  <a:gd name="connsiteY1" fmla="*/ 267843 h 535685"/>
                  <a:gd name="connsiteX2" fmla="*/ 267843 w 535685"/>
                  <a:gd name="connsiteY2" fmla="*/ 535686 h 535685"/>
                  <a:gd name="connsiteX3" fmla="*/ 535686 w 535685"/>
                  <a:gd name="connsiteY3" fmla="*/ 267843 h 535685"/>
                  <a:gd name="connsiteX4" fmla="*/ 267843 w 535685"/>
                  <a:gd name="connsiteY4" fmla="*/ 0 h 535685"/>
                  <a:gd name="connsiteX5" fmla="*/ 267843 w 535685"/>
                  <a:gd name="connsiteY5" fmla="*/ 475678 h 535685"/>
                  <a:gd name="connsiteX6" fmla="*/ 60008 w 535685"/>
                  <a:gd name="connsiteY6" fmla="*/ 267843 h 535685"/>
                  <a:gd name="connsiteX7" fmla="*/ 267843 w 535685"/>
                  <a:gd name="connsiteY7" fmla="*/ 60007 h 535685"/>
                  <a:gd name="connsiteX8" fmla="*/ 475679 w 535685"/>
                  <a:gd name="connsiteY8" fmla="*/ 267843 h 535685"/>
                  <a:gd name="connsiteX9" fmla="*/ 267843 w 535685"/>
                  <a:gd name="connsiteY9" fmla="*/ 475678 h 535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5685" h="535685">
                    <a:moveTo>
                      <a:pt x="267843" y="0"/>
                    </a:moveTo>
                    <a:cubicBezTo>
                      <a:pt x="120206" y="0"/>
                      <a:pt x="0" y="120110"/>
                      <a:pt x="0" y="267843"/>
                    </a:cubicBezTo>
                    <a:cubicBezTo>
                      <a:pt x="0" y="415576"/>
                      <a:pt x="120110" y="535686"/>
                      <a:pt x="267843" y="535686"/>
                    </a:cubicBezTo>
                    <a:cubicBezTo>
                      <a:pt x="415576" y="535686"/>
                      <a:pt x="535686" y="415576"/>
                      <a:pt x="535686" y="267843"/>
                    </a:cubicBezTo>
                    <a:cubicBezTo>
                      <a:pt x="535686" y="120110"/>
                      <a:pt x="415481" y="0"/>
                      <a:pt x="267843" y="0"/>
                    </a:cubicBezTo>
                    <a:close/>
                    <a:moveTo>
                      <a:pt x="267843" y="475678"/>
                    </a:moveTo>
                    <a:cubicBezTo>
                      <a:pt x="153257" y="475678"/>
                      <a:pt x="60008" y="382429"/>
                      <a:pt x="60008" y="267843"/>
                    </a:cubicBezTo>
                    <a:cubicBezTo>
                      <a:pt x="60008" y="153257"/>
                      <a:pt x="153257" y="60007"/>
                      <a:pt x="267843" y="60007"/>
                    </a:cubicBezTo>
                    <a:cubicBezTo>
                      <a:pt x="382429" y="60007"/>
                      <a:pt x="475679" y="153257"/>
                      <a:pt x="475679" y="267843"/>
                    </a:cubicBezTo>
                    <a:cubicBezTo>
                      <a:pt x="475679" y="382429"/>
                      <a:pt x="382429" y="475678"/>
                      <a:pt x="267843" y="475678"/>
                    </a:cubicBezTo>
                    <a:close/>
                  </a:path>
                </a:pathLst>
              </a:custGeom>
              <a:grpFill/>
              <a:ln w="9525" cap="flat">
                <a:solidFill>
                  <a:srgbClr val="008CAC"/>
                </a:solidFill>
                <a:prstDash val="solid"/>
                <a:miter/>
              </a:ln>
            </p:spPr>
            <p:txBody>
              <a:bodyPr rtlCol="0" anchor="ctr"/>
              <a:lstStyle/>
              <a:p>
                <a:pPr defTabSz="1219170"/>
                <a:endParaRPr lang="en-US" sz="2400">
                  <a:solidFill>
                    <a:srgbClr val="102B62"/>
                  </a:solidFill>
                  <a:latin typeface="Arial"/>
                </a:endParaRPr>
              </a:p>
            </p:txBody>
          </p:sp>
          <p:sp>
            <p:nvSpPr>
              <p:cNvPr id="29" name="Freeform: Shape 28">
                <a:extLst>
                  <a:ext uri="{FF2B5EF4-FFF2-40B4-BE49-F238E27FC236}">
                    <a16:creationId xmlns:a16="http://schemas.microsoft.com/office/drawing/2014/main" id="{AF4ED5EF-6EA5-4029-ABFF-D57AD064B945}"/>
                  </a:ext>
                </a:extLst>
              </p:cNvPr>
              <p:cNvSpPr/>
              <p:nvPr/>
            </p:nvSpPr>
            <p:spPr>
              <a:xfrm>
                <a:off x="5077617" y="3034526"/>
                <a:ext cx="466909" cy="513631"/>
              </a:xfrm>
              <a:custGeom>
                <a:avLst/>
                <a:gdLst>
                  <a:gd name="connsiteX0" fmla="*/ 370492 w 466909"/>
                  <a:gd name="connsiteY0" fmla="*/ 98913 h 513631"/>
                  <a:gd name="connsiteX1" fmla="*/ 41212 w 466909"/>
                  <a:gd name="connsiteY1" fmla="*/ 3853 h 513631"/>
                  <a:gd name="connsiteX2" fmla="*/ 21115 w 466909"/>
                  <a:gd name="connsiteY2" fmla="*/ 6044 h 513631"/>
                  <a:gd name="connsiteX3" fmla="*/ 15590 w 466909"/>
                  <a:gd name="connsiteY3" fmla="*/ 25475 h 513631"/>
                  <a:gd name="connsiteX4" fmla="*/ 67216 w 466909"/>
                  <a:gd name="connsiteY4" fmla="*/ 372090 h 513631"/>
                  <a:gd name="connsiteX5" fmla="*/ 430118 w 466909"/>
                  <a:gd name="connsiteY5" fmla="*/ 513631 h 513631"/>
                  <a:gd name="connsiteX6" fmla="*/ 455169 w 466909"/>
                  <a:gd name="connsiteY6" fmla="*/ 513631 h 513631"/>
                  <a:gd name="connsiteX7" fmla="*/ 459646 w 466909"/>
                  <a:gd name="connsiteY7" fmla="*/ 488962 h 513631"/>
                  <a:gd name="connsiteX8" fmla="*/ 465456 w 466909"/>
                  <a:gd name="connsiteY8" fmla="*/ 349039 h 513631"/>
                  <a:gd name="connsiteX9" fmla="*/ 370492 w 466909"/>
                  <a:gd name="connsiteY9" fmla="*/ 98913 h 513631"/>
                  <a:gd name="connsiteX10" fmla="*/ 74550 w 466909"/>
                  <a:gd name="connsiteY10" fmla="*/ 73005 h 513631"/>
                  <a:gd name="connsiteX11" fmla="*/ 162942 w 466909"/>
                  <a:gd name="connsiteY11" fmla="*/ 103104 h 513631"/>
                  <a:gd name="connsiteX12" fmla="*/ 194279 w 466909"/>
                  <a:gd name="connsiteY12" fmla="*/ 214165 h 513631"/>
                  <a:gd name="connsiteX13" fmla="*/ 94362 w 466909"/>
                  <a:gd name="connsiteY13" fmla="*/ 169684 h 513631"/>
                  <a:gd name="connsiteX14" fmla="*/ 74550 w 466909"/>
                  <a:gd name="connsiteY14" fmla="*/ 73005 h 513631"/>
                  <a:gd name="connsiteX15" fmla="*/ 403829 w 466909"/>
                  <a:gd name="connsiteY15" fmla="*/ 453243 h 513631"/>
                  <a:gd name="connsiteX16" fmla="*/ 115412 w 466909"/>
                  <a:gd name="connsiteY16" fmla="*/ 336276 h 513631"/>
                  <a:gd name="connsiteX17" fmla="*/ 68168 w 466909"/>
                  <a:gd name="connsiteY17" fmla="*/ 228739 h 513631"/>
                  <a:gd name="connsiteX18" fmla="*/ 221521 w 466909"/>
                  <a:gd name="connsiteY18" fmla="*/ 275221 h 513631"/>
                  <a:gd name="connsiteX19" fmla="*/ 246571 w 466909"/>
                  <a:gd name="connsiteY19" fmla="*/ 275221 h 513631"/>
                  <a:gd name="connsiteX20" fmla="*/ 251048 w 466909"/>
                  <a:gd name="connsiteY20" fmla="*/ 250551 h 513631"/>
                  <a:gd name="connsiteX21" fmla="*/ 216949 w 466909"/>
                  <a:gd name="connsiteY21" fmla="*/ 74053 h 513631"/>
                  <a:gd name="connsiteX22" fmla="*/ 326581 w 466909"/>
                  <a:gd name="connsiteY22" fmla="*/ 139680 h 513631"/>
                  <a:gd name="connsiteX23" fmla="*/ 403829 w 466909"/>
                  <a:gd name="connsiteY23" fmla="*/ 453243 h 513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66909" h="513631">
                    <a:moveTo>
                      <a:pt x="370492" y="98913"/>
                    </a:moveTo>
                    <a:cubicBezTo>
                      <a:pt x="297054" y="20141"/>
                      <a:pt x="186278" y="-11768"/>
                      <a:pt x="41212" y="3853"/>
                    </a:cubicBezTo>
                    <a:lnTo>
                      <a:pt x="21115" y="6044"/>
                    </a:lnTo>
                    <a:lnTo>
                      <a:pt x="15590" y="25475"/>
                    </a:lnTo>
                    <a:cubicBezTo>
                      <a:pt x="13209" y="33762"/>
                      <a:pt x="-40798" y="228929"/>
                      <a:pt x="67216" y="372090"/>
                    </a:cubicBezTo>
                    <a:cubicBezTo>
                      <a:pt x="138082" y="466006"/>
                      <a:pt x="260192" y="513631"/>
                      <a:pt x="430118" y="513631"/>
                    </a:cubicBezTo>
                    <a:lnTo>
                      <a:pt x="455169" y="513631"/>
                    </a:lnTo>
                    <a:lnTo>
                      <a:pt x="459646" y="488962"/>
                    </a:lnTo>
                    <a:cubicBezTo>
                      <a:pt x="460122" y="486485"/>
                      <a:pt x="470695" y="426382"/>
                      <a:pt x="465456" y="349039"/>
                    </a:cubicBezTo>
                    <a:cubicBezTo>
                      <a:pt x="458503" y="244645"/>
                      <a:pt x="425641" y="158063"/>
                      <a:pt x="370492" y="98913"/>
                    </a:cubicBezTo>
                    <a:close/>
                    <a:moveTo>
                      <a:pt x="74550" y="73005"/>
                    </a:moveTo>
                    <a:cubicBezTo>
                      <a:pt x="113793" y="72243"/>
                      <a:pt x="143511" y="82339"/>
                      <a:pt x="162942" y="103104"/>
                    </a:cubicBezTo>
                    <a:cubicBezTo>
                      <a:pt x="192184" y="134251"/>
                      <a:pt x="195422" y="183971"/>
                      <a:pt x="194279" y="214165"/>
                    </a:cubicBezTo>
                    <a:cubicBezTo>
                      <a:pt x="147416" y="210165"/>
                      <a:pt x="113888" y="195211"/>
                      <a:pt x="94362" y="169684"/>
                    </a:cubicBezTo>
                    <a:cubicBezTo>
                      <a:pt x="70930" y="138727"/>
                      <a:pt x="71502" y="97294"/>
                      <a:pt x="74550" y="73005"/>
                    </a:cubicBezTo>
                    <a:close/>
                    <a:moveTo>
                      <a:pt x="403829" y="453243"/>
                    </a:moveTo>
                    <a:cubicBezTo>
                      <a:pt x="267812" y="448861"/>
                      <a:pt x="170848" y="409523"/>
                      <a:pt x="115412" y="336276"/>
                    </a:cubicBezTo>
                    <a:cubicBezTo>
                      <a:pt x="90266" y="303034"/>
                      <a:pt x="75883" y="265505"/>
                      <a:pt x="68168" y="228739"/>
                    </a:cubicBezTo>
                    <a:cubicBezTo>
                      <a:pt x="103792" y="259600"/>
                      <a:pt x="155227" y="275221"/>
                      <a:pt x="221521" y="275221"/>
                    </a:cubicBezTo>
                    <a:lnTo>
                      <a:pt x="246571" y="275221"/>
                    </a:lnTo>
                    <a:lnTo>
                      <a:pt x="251048" y="250551"/>
                    </a:lnTo>
                    <a:cubicBezTo>
                      <a:pt x="251905" y="245979"/>
                      <a:pt x="269431" y="143680"/>
                      <a:pt x="216949" y="74053"/>
                    </a:cubicBezTo>
                    <a:cubicBezTo>
                      <a:pt x="261145" y="87007"/>
                      <a:pt x="297816" y="108914"/>
                      <a:pt x="326581" y="139680"/>
                    </a:cubicBezTo>
                    <a:cubicBezTo>
                      <a:pt x="415450" y="234930"/>
                      <a:pt x="409925" y="392378"/>
                      <a:pt x="403829" y="453243"/>
                    </a:cubicBezTo>
                    <a:close/>
                  </a:path>
                </a:pathLst>
              </a:custGeom>
              <a:grpFill/>
              <a:ln w="9525" cap="flat">
                <a:solidFill>
                  <a:srgbClr val="008CAC"/>
                </a:solidFill>
                <a:prstDash val="solid"/>
                <a:miter/>
              </a:ln>
            </p:spPr>
            <p:txBody>
              <a:bodyPr rtlCol="0" anchor="ctr"/>
              <a:lstStyle/>
              <a:p>
                <a:pPr defTabSz="1219170"/>
                <a:endParaRPr lang="en-US" sz="2400">
                  <a:solidFill>
                    <a:srgbClr val="102B62"/>
                  </a:solidFill>
                  <a:latin typeface="Arial"/>
                </a:endParaRPr>
              </a:p>
            </p:txBody>
          </p:sp>
        </p:grpSp>
        <p:grpSp>
          <p:nvGrpSpPr>
            <p:cNvPr id="93" name="Group 92"/>
            <p:cNvGrpSpPr/>
            <p:nvPr/>
          </p:nvGrpSpPr>
          <p:grpSpPr>
            <a:xfrm>
              <a:off x="2863829" y="3194867"/>
              <a:ext cx="3408017" cy="1183422"/>
              <a:chOff x="2863829" y="3194867"/>
              <a:chExt cx="3408017" cy="1183422"/>
            </a:xfrm>
          </p:grpSpPr>
          <p:sp>
            <p:nvSpPr>
              <p:cNvPr id="98" name="Text Box 3">
                <a:extLst>
                  <a:ext uri="{FF2B5EF4-FFF2-40B4-BE49-F238E27FC236}">
                    <a16:creationId xmlns:a16="http://schemas.microsoft.com/office/drawing/2014/main" id="{3174D718-9CC1-42B1-B0AF-C702CC5678F4}"/>
                  </a:ext>
                </a:extLst>
              </p:cNvPr>
              <p:cNvSpPr txBox="1">
                <a:spLocks noChangeArrowheads="1"/>
              </p:cNvSpPr>
              <p:nvPr/>
            </p:nvSpPr>
            <p:spPr bwMode="auto">
              <a:xfrm>
                <a:off x="3052917" y="3423516"/>
                <a:ext cx="1256245" cy="6390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square" lIns="112288" tIns="56144" rIns="112288" bIns="56144" anchor="ctr">
                <a:spAutoFit/>
              </a:bodyPr>
              <a:lstStyle>
                <a:lvl1pPr algn="l" defTabSz="912813">
                  <a:defRPr sz="2400">
                    <a:solidFill>
                      <a:schemeClr val="tx1"/>
                    </a:solidFill>
                    <a:latin typeface="Times New Roman" pitchFamily="18" charset="0"/>
                  </a:defRPr>
                </a:lvl1pPr>
                <a:lvl2pPr algn="l" defTabSz="912813">
                  <a:defRPr sz="2400">
                    <a:solidFill>
                      <a:schemeClr val="tx1"/>
                    </a:solidFill>
                    <a:latin typeface="Times New Roman" pitchFamily="18" charset="0"/>
                  </a:defRPr>
                </a:lvl2pPr>
                <a:lvl3pPr algn="l" defTabSz="912813">
                  <a:defRPr sz="2400">
                    <a:solidFill>
                      <a:schemeClr val="tx1"/>
                    </a:solidFill>
                    <a:latin typeface="Times New Roman" pitchFamily="18" charset="0"/>
                  </a:defRPr>
                </a:lvl3pPr>
                <a:lvl4pPr algn="l" defTabSz="912813">
                  <a:defRPr sz="2400">
                    <a:solidFill>
                      <a:schemeClr val="tx1"/>
                    </a:solidFill>
                    <a:latin typeface="Times New Roman" pitchFamily="18" charset="0"/>
                  </a:defRPr>
                </a:lvl4pPr>
                <a:lvl5pPr algn="l" defTabSz="912813">
                  <a:defRPr sz="2400">
                    <a:solidFill>
                      <a:schemeClr val="tx1"/>
                    </a:solidFill>
                    <a:latin typeface="Times New Roman" pitchFamily="18" charset="0"/>
                  </a:defRPr>
                </a:lvl5pPr>
                <a:lvl6pPr defTabSz="912813" eaLnBrk="0" fontAlgn="base" hangingPunct="0">
                  <a:spcBef>
                    <a:spcPct val="0"/>
                  </a:spcBef>
                  <a:spcAft>
                    <a:spcPct val="0"/>
                  </a:spcAft>
                  <a:defRPr sz="2400">
                    <a:solidFill>
                      <a:schemeClr val="tx1"/>
                    </a:solidFill>
                    <a:latin typeface="Times New Roman" pitchFamily="18" charset="0"/>
                  </a:defRPr>
                </a:lvl6pPr>
                <a:lvl7pPr defTabSz="912813" eaLnBrk="0" fontAlgn="base" hangingPunct="0">
                  <a:spcBef>
                    <a:spcPct val="0"/>
                  </a:spcBef>
                  <a:spcAft>
                    <a:spcPct val="0"/>
                  </a:spcAft>
                  <a:defRPr sz="2400">
                    <a:solidFill>
                      <a:schemeClr val="tx1"/>
                    </a:solidFill>
                    <a:latin typeface="Times New Roman" pitchFamily="18" charset="0"/>
                  </a:defRPr>
                </a:lvl7pPr>
                <a:lvl8pPr defTabSz="912813" eaLnBrk="0" fontAlgn="base" hangingPunct="0">
                  <a:spcBef>
                    <a:spcPct val="0"/>
                  </a:spcBef>
                  <a:spcAft>
                    <a:spcPct val="0"/>
                  </a:spcAft>
                  <a:defRPr sz="2400">
                    <a:solidFill>
                      <a:schemeClr val="tx1"/>
                    </a:solidFill>
                    <a:latin typeface="Times New Roman" pitchFamily="18" charset="0"/>
                  </a:defRPr>
                </a:lvl8pPr>
                <a:lvl9pPr defTabSz="912813" eaLnBrk="0" fontAlgn="base" hangingPunct="0">
                  <a:spcBef>
                    <a:spcPct val="0"/>
                  </a:spcBef>
                  <a:spcAft>
                    <a:spcPct val="0"/>
                  </a:spcAft>
                  <a:defRPr sz="2400">
                    <a:solidFill>
                      <a:schemeClr val="tx1"/>
                    </a:solidFill>
                    <a:latin typeface="Times New Roman" pitchFamily="18" charset="0"/>
                  </a:defRPr>
                </a:lvl9pPr>
              </a:lstStyle>
              <a:p>
                <a:pPr algn="ctr" defTabSz="1217054"/>
                <a:r>
                  <a:rPr lang="en-US" altLang="en-US" sz="1600" b="1" dirty="0">
                    <a:solidFill>
                      <a:srgbClr val="009BD4"/>
                    </a:solidFill>
                    <a:latin typeface="Arial" panose="020B0604020202020204" pitchFamily="34" charset="0"/>
                    <a:cs typeface="Arial" panose="020B0604020202020204" pitchFamily="34" charset="0"/>
                  </a:rPr>
                  <a:t>Pandemic</a:t>
                </a:r>
              </a:p>
              <a:p>
                <a:pPr algn="ctr" defTabSz="1217054"/>
                <a:r>
                  <a:rPr lang="en-US" altLang="en-US" sz="1600" b="1" dirty="0">
                    <a:solidFill>
                      <a:srgbClr val="009BD4"/>
                    </a:solidFill>
                    <a:latin typeface="Arial" panose="020B0604020202020204" pitchFamily="34" charset="0"/>
                    <a:cs typeface="Arial" panose="020B0604020202020204" pitchFamily="34" charset="0"/>
                  </a:rPr>
                  <a:t>Influenza</a:t>
                </a:r>
              </a:p>
              <a:p>
                <a:pPr algn="ctr" defTabSz="1217054"/>
                <a:r>
                  <a:rPr lang="en-US" altLang="en-US" sz="1600" b="1" dirty="0">
                    <a:solidFill>
                      <a:srgbClr val="009BD4"/>
                    </a:solidFill>
                    <a:latin typeface="Arial" panose="020B0604020202020204" pitchFamily="34" charset="0"/>
                    <a:cs typeface="Arial" panose="020B0604020202020204" pitchFamily="34" charset="0"/>
                  </a:rPr>
                  <a:t>Preparedness </a:t>
                </a:r>
              </a:p>
            </p:txBody>
          </p:sp>
          <p:sp>
            <p:nvSpPr>
              <p:cNvPr id="105" name="Text Box 3">
                <a:extLst>
                  <a:ext uri="{FF2B5EF4-FFF2-40B4-BE49-F238E27FC236}">
                    <a16:creationId xmlns:a16="http://schemas.microsoft.com/office/drawing/2014/main" id="{557DEE21-4604-458A-9DC8-9F9406392F45}"/>
                  </a:ext>
                </a:extLst>
              </p:cNvPr>
              <p:cNvSpPr txBox="1">
                <a:spLocks noChangeArrowheads="1"/>
              </p:cNvSpPr>
              <p:nvPr/>
            </p:nvSpPr>
            <p:spPr bwMode="auto">
              <a:xfrm>
                <a:off x="4882280" y="3331182"/>
                <a:ext cx="1256245" cy="8237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square" lIns="112288" tIns="56144" rIns="112288" bIns="56144" anchor="ctr">
                <a:spAutoFit/>
              </a:bodyPr>
              <a:lstStyle>
                <a:lvl1pPr algn="l" defTabSz="912813">
                  <a:defRPr sz="2400">
                    <a:solidFill>
                      <a:schemeClr val="tx1"/>
                    </a:solidFill>
                    <a:latin typeface="Times New Roman" pitchFamily="18" charset="0"/>
                  </a:defRPr>
                </a:lvl1pPr>
                <a:lvl2pPr algn="l" defTabSz="912813">
                  <a:defRPr sz="2400">
                    <a:solidFill>
                      <a:schemeClr val="tx1"/>
                    </a:solidFill>
                    <a:latin typeface="Times New Roman" pitchFamily="18" charset="0"/>
                  </a:defRPr>
                </a:lvl2pPr>
                <a:lvl3pPr algn="l" defTabSz="912813">
                  <a:defRPr sz="2400">
                    <a:solidFill>
                      <a:schemeClr val="tx1"/>
                    </a:solidFill>
                    <a:latin typeface="Times New Roman" pitchFamily="18" charset="0"/>
                  </a:defRPr>
                </a:lvl3pPr>
                <a:lvl4pPr algn="l" defTabSz="912813">
                  <a:defRPr sz="2400">
                    <a:solidFill>
                      <a:schemeClr val="tx1"/>
                    </a:solidFill>
                    <a:latin typeface="Times New Roman" pitchFamily="18" charset="0"/>
                  </a:defRPr>
                </a:lvl4pPr>
                <a:lvl5pPr algn="l" defTabSz="912813">
                  <a:defRPr sz="2400">
                    <a:solidFill>
                      <a:schemeClr val="tx1"/>
                    </a:solidFill>
                    <a:latin typeface="Times New Roman" pitchFamily="18" charset="0"/>
                  </a:defRPr>
                </a:lvl5pPr>
                <a:lvl6pPr defTabSz="912813" eaLnBrk="0" fontAlgn="base" hangingPunct="0">
                  <a:spcBef>
                    <a:spcPct val="0"/>
                  </a:spcBef>
                  <a:spcAft>
                    <a:spcPct val="0"/>
                  </a:spcAft>
                  <a:defRPr sz="2400">
                    <a:solidFill>
                      <a:schemeClr val="tx1"/>
                    </a:solidFill>
                    <a:latin typeface="Times New Roman" pitchFamily="18" charset="0"/>
                  </a:defRPr>
                </a:lvl6pPr>
                <a:lvl7pPr defTabSz="912813" eaLnBrk="0" fontAlgn="base" hangingPunct="0">
                  <a:spcBef>
                    <a:spcPct val="0"/>
                  </a:spcBef>
                  <a:spcAft>
                    <a:spcPct val="0"/>
                  </a:spcAft>
                  <a:defRPr sz="2400">
                    <a:solidFill>
                      <a:schemeClr val="tx1"/>
                    </a:solidFill>
                    <a:latin typeface="Times New Roman" pitchFamily="18" charset="0"/>
                  </a:defRPr>
                </a:lvl7pPr>
                <a:lvl8pPr defTabSz="912813" eaLnBrk="0" fontAlgn="base" hangingPunct="0">
                  <a:spcBef>
                    <a:spcPct val="0"/>
                  </a:spcBef>
                  <a:spcAft>
                    <a:spcPct val="0"/>
                  </a:spcAft>
                  <a:defRPr sz="2400">
                    <a:solidFill>
                      <a:schemeClr val="tx1"/>
                    </a:solidFill>
                    <a:latin typeface="Times New Roman" pitchFamily="18" charset="0"/>
                  </a:defRPr>
                </a:lvl8pPr>
                <a:lvl9pPr defTabSz="912813" eaLnBrk="0" fontAlgn="base" hangingPunct="0">
                  <a:spcBef>
                    <a:spcPct val="0"/>
                  </a:spcBef>
                  <a:spcAft>
                    <a:spcPct val="0"/>
                  </a:spcAft>
                  <a:defRPr sz="2400">
                    <a:solidFill>
                      <a:schemeClr val="tx1"/>
                    </a:solidFill>
                    <a:latin typeface="Times New Roman" pitchFamily="18" charset="0"/>
                  </a:defRPr>
                </a:lvl9pPr>
              </a:lstStyle>
              <a:p>
                <a:pPr algn="ctr" defTabSz="1217054"/>
                <a:r>
                  <a:rPr lang="en-US" altLang="en-US" sz="1600" b="1" spc="-27" dirty="0">
                    <a:solidFill>
                      <a:srgbClr val="00C970"/>
                    </a:solidFill>
                    <a:latin typeface="Arial" panose="020B0604020202020204" pitchFamily="34" charset="0"/>
                    <a:cs typeface="Arial" panose="020B0604020202020204" pitchFamily="34" charset="0"/>
                  </a:rPr>
                  <a:t>Emerging Infectious Diseases</a:t>
                </a:r>
              </a:p>
              <a:p>
                <a:pPr algn="ctr" defTabSz="1217054"/>
                <a:r>
                  <a:rPr lang="en-US" altLang="en-US" sz="1600" b="1" spc="-27" dirty="0">
                    <a:solidFill>
                      <a:srgbClr val="00C970"/>
                    </a:solidFill>
                    <a:latin typeface="Arial" panose="020B0604020202020204" pitchFamily="34" charset="0"/>
                    <a:cs typeface="Arial" panose="020B0604020202020204" pitchFamily="34" charset="0"/>
                  </a:rPr>
                  <a:t>Preparedness </a:t>
                </a:r>
              </a:p>
            </p:txBody>
          </p:sp>
          <p:sp>
            <p:nvSpPr>
              <p:cNvPr id="106" name="Graphic 17">
                <a:extLst>
                  <a:ext uri="{FF2B5EF4-FFF2-40B4-BE49-F238E27FC236}">
                    <a16:creationId xmlns:a16="http://schemas.microsoft.com/office/drawing/2014/main" id="{A68F2762-D669-4F66-BF43-EE20B5BFD2ED}"/>
                  </a:ext>
                </a:extLst>
              </p:cNvPr>
              <p:cNvSpPr/>
              <p:nvPr/>
            </p:nvSpPr>
            <p:spPr>
              <a:xfrm>
                <a:off x="2863829" y="3194867"/>
                <a:ext cx="3408017" cy="1183422"/>
              </a:xfrm>
              <a:custGeom>
                <a:avLst/>
                <a:gdLst>
                  <a:gd name="connsiteX0" fmla="*/ 3428550 w 7199726"/>
                  <a:gd name="connsiteY0" fmla="*/ 1386197 h 3111285"/>
                  <a:gd name="connsiteX1" fmla="*/ 2441212 w 7199726"/>
                  <a:gd name="connsiteY1" fmla="*/ 418475 h 3111285"/>
                  <a:gd name="connsiteX2" fmla="*/ 483536 w 7199726"/>
                  <a:gd name="connsiteY2" fmla="*/ 449860 h 3111285"/>
                  <a:gd name="connsiteX3" fmla="*/ 483536 w 7199726"/>
                  <a:gd name="connsiteY3" fmla="*/ 2658621 h 3111285"/>
                  <a:gd name="connsiteX4" fmla="*/ 1580724 w 7199726"/>
                  <a:gd name="connsiteY4" fmla="*/ 3111096 h 3111285"/>
                  <a:gd name="connsiteX5" fmla="*/ 2736760 w 7199726"/>
                  <a:gd name="connsiteY5" fmla="*/ 2591926 h 3111285"/>
                  <a:gd name="connsiteX6" fmla="*/ 4686589 w 7199726"/>
                  <a:gd name="connsiteY6" fmla="*/ 757177 h 3111285"/>
                  <a:gd name="connsiteX7" fmla="*/ 5622926 w 7199726"/>
                  <a:gd name="connsiteY7" fmla="*/ 326933 h 3111285"/>
                  <a:gd name="connsiteX8" fmla="*/ 6489952 w 7199726"/>
                  <a:gd name="connsiteY8" fmla="*/ 690483 h 3111285"/>
                  <a:gd name="connsiteX9" fmla="*/ 6489952 w 7199726"/>
                  <a:gd name="connsiteY9" fmla="*/ 2420614 h 3111285"/>
                  <a:gd name="connsiteX10" fmla="*/ 4844825 w 7199726"/>
                  <a:gd name="connsiteY10" fmla="*/ 2487308 h 3111285"/>
                  <a:gd name="connsiteX11" fmla="*/ 3748945 w 7199726"/>
                  <a:gd name="connsiteY11" fmla="*/ 1681744 h 3111285"/>
                  <a:gd name="connsiteX12" fmla="*/ 4706205 w 7199726"/>
                  <a:gd name="connsiteY12" fmla="*/ 2680852 h 3111285"/>
                  <a:gd name="connsiteX13" fmla="*/ 6716190 w 7199726"/>
                  <a:gd name="connsiteY13" fmla="*/ 2658621 h 3111285"/>
                  <a:gd name="connsiteX14" fmla="*/ 6716190 w 7199726"/>
                  <a:gd name="connsiteY14" fmla="*/ 449860 h 3111285"/>
                  <a:gd name="connsiteX15" fmla="*/ 5619003 w 7199726"/>
                  <a:gd name="connsiteY15" fmla="*/ 0 h 3111285"/>
                  <a:gd name="connsiteX16" fmla="*/ 4462967 w 7199726"/>
                  <a:gd name="connsiteY16" fmla="*/ 516554 h 3111285"/>
                  <a:gd name="connsiteX17" fmla="*/ 2511830 w 7199726"/>
                  <a:gd name="connsiteY17" fmla="*/ 2353919 h 3111285"/>
                  <a:gd name="connsiteX18" fmla="*/ 1575493 w 7199726"/>
                  <a:gd name="connsiteY18" fmla="*/ 2784163 h 3111285"/>
                  <a:gd name="connsiteX19" fmla="*/ 708466 w 7199726"/>
                  <a:gd name="connsiteY19" fmla="*/ 2420614 h 3111285"/>
                  <a:gd name="connsiteX20" fmla="*/ 708466 w 7199726"/>
                  <a:gd name="connsiteY20" fmla="*/ 687867 h 3111285"/>
                  <a:gd name="connsiteX21" fmla="*/ 2353594 w 7199726"/>
                  <a:gd name="connsiteY21" fmla="*/ 621173 h 3111285"/>
                  <a:gd name="connsiteX22" fmla="*/ 3428550 w 7199726"/>
                  <a:gd name="connsiteY22" fmla="*/ 1386197 h 3111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199726" h="3111285">
                    <a:moveTo>
                      <a:pt x="3428550" y="1386197"/>
                    </a:moveTo>
                    <a:cubicBezTo>
                      <a:pt x="3182696" y="1161267"/>
                      <a:pt x="2685758" y="643405"/>
                      <a:pt x="2441212" y="418475"/>
                    </a:cubicBezTo>
                    <a:cubicBezTo>
                      <a:pt x="1868425" y="-64079"/>
                      <a:pt x="1123018" y="-155620"/>
                      <a:pt x="483536" y="449860"/>
                    </a:cubicBezTo>
                    <a:cubicBezTo>
                      <a:pt x="-158561" y="1056648"/>
                      <a:pt x="-163792" y="2054448"/>
                      <a:pt x="483536" y="2658621"/>
                    </a:cubicBezTo>
                    <a:cubicBezTo>
                      <a:pt x="801315" y="2954168"/>
                      <a:pt x="1184481" y="3117635"/>
                      <a:pt x="1580724" y="3111096"/>
                    </a:cubicBezTo>
                    <a:cubicBezTo>
                      <a:pt x="1976967" y="3104558"/>
                      <a:pt x="2379749" y="2930629"/>
                      <a:pt x="2736760" y="2591926"/>
                    </a:cubicBezTo>
                    <a:lnTo>
                      <a:pt x="4686589" y="757177"/>
                    </a:lnTo>
                    <a:cubicBezTo>
                      <a:pt x="4996522" y="464245"/>
                      <a:pt x="5318224" y="332164"/>
                      <a:pt x="5622926" y="326933"/>
                    </a:cubicBezTo>
                    <a:cubicBezTo>
                      <a:pt x="5928935" y="321702"/>
                      <a:pt x="6224483" y="442014"/>
                      <a:pt x="6489952" y="690483"/>
                    </a:cubicBezTo>
                    <a:cubicBezTo>
                      <a:pt x="7007815" y="1174344"/>
                      <a:pt x="7005199" y="1932829"/>
                      <a:pt x="6489952" y="2420614"/>
                    </a:cubicBezTo>
                    <a:cubicBezTo>
                      <a:pt x="5959013" y="2922783"/>
                      <a:pt x="5305147" y="2874397"/>
                      <a:pt x="4844825" y="2487308"/>
                    </a:cubicBezTo>
                    <a:lnTo>
                      <a:pt x="3748945" y="1681744"/>
                    </a:lnTo>
                    <a:cubicBezTo>
                      <a:pt x="3994798" y="1906674"/>
                      <a:pt x="4461659" y="2455922"/>
                      <a:pt x="4706205" y="2680852"/>
                    </a:cubicBezTo>
                    <a:cubicBezTo>
                      <a:pt x="5278992" y="3163406"/>
                      <a:pt x="6076709" y="3264101"/>
                      <a:pt x="6716190" y="2658621"/>
                    </a:cubicBezTo>
                    <a:cubicBezTo>
                      <a:pt x="7358287" y="2051833"/>
                      <a:pt x="7363518" y="1054033"/>
                      <a:pt x="6716190" y="449860"/>
                    </a:cubicBezTo>
                    <a:cubicBezTo>
                      <a:pt x="6370949" y="151697"/>
                      <a:pt x="5973398" y="0"/>
                      <a:pt x="5619003" y="0"/>
                    </a:cubicBezTo>
                    <a:cubicBezTo>
                      <a:pt x="5120757" y="37924"/>
                      <a:pt x="4762438" y="215776"/>
                      <a:pt x="4462967" y="516554"/>
                    </a:cubicBezTo>
                    <a:lnTo>
                      <a:pt x="2511830" y="2353919"/>
                    </a:lnTo>
                    <a:cubicBezTo>
                      <a:pt x="2201897" y="2646851"/>
                      <a:pt x="1880195" y="2778932"/>
                      <a:pt x="1575493" y="2784163"/>
                    </a:cubicBezTo>
                    <a:cubicBezTo>
                      <a:pt x="1269484" y="2789394"/>
                      <a:pt x="973936" y="2669083"/>
                      <a:pt x="708466" y="2420614"/>
                    </a:cubicBezTo>
                    <a:cubicBezTo>
                      <a:pt x="190604" y="1936752"/>
                      <a:pt x="193220" y="1175652"/>
                      <a:pt x="708466" y="687867"/>
                    </a:cubicBezTo>
                    <a:cubicBezTo>
                      <a:pt x="1239406" y="185698"/>
                      <a:pt x="1893272" y="234084"/>
                      <a:pt x="2353594" y="621173"/>
                    </a:cubicBezTo>
                    <a:lnTo>
                      <a:pt x="3428550" y="1386197"/>
                    </a:lnTo>
                    <a:close/>
                  </a:path>
                </a:pathLst>
              </a:custGeom>
              <a:gradFill>
                <a:gsLst>
                  <a:gs pos="0">
                    <a:srgbClr val="009AD5"/>
                  </a:gs>
                  <a:gs pos="100000">
                    <a:srgbClr val="00CA6E"/>
                  </a:gs>
                </a:gsLst>
                <a:lin ang="600000" scaled="0"/>
              </a:gradFill>
              <a:ln w="13069" cap="flat">
                <a:noFill/>
                <a:prstDash val="solid"/>
                <a:miter/>
              </a:ln>
              <a:effectLst/>
            </p:spPr>
            <p:txBody>
              <a:bodyPr rtlCol="0" anchor="ctr"/>
              <a:lstStyle/>
              <a:p>
                <a:pPr defTabSz="1219170"/>
                <a:endParaRPr lang="en-US" sz="1400">
                  <a:solidFill>
                    <a:srgbClr val="102B62"/>
                  </a:solidFill>
                  <a:latin typeface="Arial"/>
                </a:endParaRPr>
              </a:p>
            </p:txBody>
          </p:sp>
        </p:grpSp>
        <p:grpSp>
          <p:nvGrpSpPr>
            <p:cNvPr id="69" name="Group 68"/>
            <p:cNvGrpSpPr/>
            <p:nvPr/>
          </p:nvGrpSpPr>
          <p:grpSpPr>
            <a:xfrm>
              <a:off x="229662" y="789894"/>
              <a:ext cx="2292087" cy="1097280"/>
              <a:chOff x="314637" y="789894"/>
              <a:chExt cx="2292087" cy="1097280"/>
            </a:xfrm>
          </p:grpSpPr>
          <p:grpSp>
            <p:nvGrpSpPr>
              <p:cNvPr id="11" name="Group 10">
                <a:extLst>
                  <a:ext uri="{FF2B5EF4-FFF2-40B4-BE49-F238E27FC236}">
                    <a16:creationId xmlns:a16="http://schemas.microsoft.com/office/drawing/2014/main" id="{85B9CB19-FA6B-4325-B2B2-F241229E103F}"/>
                  </a:ext>
                </a:extLst>
              </p:cNvPr>
              <p:cNvGrpSpPr/>
              <p:nvPr/>
            </p:nvGrpSpPr>
            <p:grpSpPr>
              <a:xfrm>
                <a:off x="314637" y="789894"/>
                <a:ext cx="2292087" cy="1097280"/>
                <a:chOff x="232434" y="789894"/>
                <a:chExt cx="2292087" cy="1097280"/>
              </a:xfrm>
            </p:grpSpPr>
            <p:sp>
              <p:nvSpPr>
                <p:cNvPr id="75791" name="Rectangle 75790">
                  <a:extLst>
                    <a:ext uri="{FF2B5EF4-FFF2-40B4-BE49-F238E27FC236}">
                      <a16:creationId xmlns:a16="http://schemas.microsoft.com/office/drawing/2014/main" id="{C14D8641-A4EB-4735-BD2F-A2DA983277CF}"/>
                    </a:ext>
                  </a:extLst>
                </p:cNvPr>
                <p:cNvSpPr/>
                <p:nvPr/>
              </p:nvSpPr>
              <p:spPr>
                <a:xfrm>
                  <a:off x="232434" y="1502282"/>
                  <a:ext cx="1771364" cy="384891"/>
                </a:xfrm>
                <a:prstGeom prst="rect">
                  <a:avLst/>
                </a:prstGeom>
                <a:solidFill>
                  <a:srgbClr val="02C2DA"/>
                </a:solidFill>
                <a:ln w="41275">
                  <a:noFill/>
                </a:ln>
              </p:spPr>
              <p:style>
                <a:lnRef idx="2">
                  <a:schemeClr val="dk1"/>
                </a:lnRef>
                <a:fillRef idx="1">
                  <a:schemeClr val="lt1"/>
                </a:fillRef>
                <a:effectRef idx="0">
                  <a:schemeClr val="dk1"/>
                </a:effectRef>
                <a:fontRef idx="minor">
                  <a:schemeClr val="dk1"/>
                </a:fontRef>
              </p:style>
              <p:txBody>
                <a:bodyPr rtlCol="0" anchor="ctr"/>
                <a:lstStyle/>
                <a:p>
                  <a:pPr defTabSz="1219170"/>
                  <a:r>
                    <a:rPr lang="en-US" sz="1600" b="1" dirty="0">
                      <a:solidFill>
                        <a:prstClr val="white"/>
                      </a:solidFill>
                      <a:effectLst>
                        <a:outerShdw blurRad="38100" dist="38100" dir="2700000" algn="tl">
                          <a:srgbClr val="000000">
                            <a:alpha val="43137"/>
                          </a:srgbClr>
                        </a:outerShdw>
                      </a:effectLst>
                      <a:latin typeface="Arial"/>
                    </a:rPr>
                    <a:t>Flexible </a:t>
                  </a:r>
                </a:p>
                <a:p>
                  <a:pPr defTabSz="1219170"/>
                  <a:r>
                    <a:rPr lang="en-US" sz="1600" b="1" dirty="0">
                      <a:solidFill>
                        <a:prstClr val="white"/>
                      </a:solidFill>
                      <a:effectLst>
                        <a:outerShdw blurRad="38100" dist="38100" dir="2700000" algn="tl">
                          <a:srgbClr val="000000">
                            <a:alpha val="43137"/>
                          </a:srgbClr>
                        </a:outerShdw>
                      </a:effectLst>
                      <a:latin typeface="Arial"/>
                    </a:rPr>
                    <a:t>Agreements </a:t>
                  </a:r>
                </a:p>
              </p:txBody>
            </p:sp>
            <p:sp>
              <p:nvSpPr>
                <p:cNvPr id="45" name="Oval 44">
                  <a:extLst>
                    <a:ext uri="{FF2B5EF4-FFF2-40B4-BE49-F238E27FC236}">
                      <a16:creationId xmlns:a16="http://schemas.microsoft.com/office/drawing/2014/main" id="{D9C13310-BBFF-4B4A-BACF-FF29D6652BC7}"/>
                    </a:ext>
                  </a:extLst>
                </p:cNvPr>
                <p:cNvSpPr/>
                <p:nvPr/>
              </p:nvSpPr>
              <p:spPr>
                <a:xfrm>
                  <a:off x="1414270" y="789894"/>
                  <a:ext cx="1110251" cy="1097280"/>
                </a:xfrm>
                <a:prstGeom prst="ellipse">
                  <a:avLst/>
                </a:prstGeom>
                <a:solidFill>
                  <a:srgbClr val="02C2DA"/>
                </a:solidFill>
                <a:ln w="41275">
                  <a:noFill/>
                </a:ln>
              </p:spPr>
              <p:style>
                <a:lnRef idx="2">
                  <a:schemeClr val="dk1"/>
                </a:lnRef>
                <a:fillRef idx="1">
                  <a:schemeClr val="lt1"/>
                </a:fillRef>
                <a:effectRef idx="0">
                  <a:schemeClr val="dk1"/>
                </a:effectRef>
                <a:fontRef idx="minor">
                  <a:schemeClr val="dk1"/>
                </a:fontRef>
              </p:style>
              <p:txBody>
                <a:bodyPr rtlCol="0" anchor="ctr"/>
                <a:lstStyle/>
                <a:p>
                  <a:pPr algn="ctr" defTabSz="1219170"/>
                  <a:endParaRPr lang="en-US" sz="1867" dirty="0">
                    <a:solidFill>
                      <a:srgbClr val="102B62"/>
                    </a:solidFill>
                    <a:latin typeface="Arial"/>
                  </a:endParaRPr>
                </a:p>
              </p:txBody>
            </p:sp>
            <p:sp>
              <p:nvSpPr>
                <p:cNvPr id="2" name="Oval 1" descr="Handshake icon">
                  <a:extLst>
                    <a:ext uri="{FF2B5EF4-FFF2-40B4-BE49-F238E27FC236}">
                      <a16:creationId xmlns:a16="http://schemas.microsoft.com/office/drawing/2014/main" id="{DB1F2A3C-60D9-48D8-ACFE-41172348433A}"/>
                    </a:ext>
                  </a:extLst>
                </p:cNvPr>
                <p:cNvSpPr/>
                <p:nvPr/>
              </p:nvSpPr>
              <p:spPr>
                <a:xfrm>
                  <a:off x="1506847" y="881388"/>
                  <a:ext cx="925099" cy="914291"/>
                </a:xfrm>
                <a:prstGeom prst="ellipse">
                  <a:avLst/>
                </a:prstGeom>
                <a:gradFill>
                  <a:gsLst>
                    <a:gs pos="0">
                      <a:schemeClr val="bg1">
                        <a:lumMod val="95000"/>
                      </a:schemeClr>
                    </a:gs>
                    <a:gs pos="50000">
                      <a:schemeClr val="bg1">
                        <a:lumMod val="85000"/>
                      </a:schemeClr>
                    </a:gs>
                    <a:gs pos="100000">
                      <a:schemeClr val="bg1">
                        <a:lumMod val="75000"/>
                      </a:schemeClr>
                    </a:gs>
                  </a:gsLst>
                </a:gra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defTabSz="1219170"/>
                  <a:endParaRPr lang="en-US" sz="1867" dirty="0">
                    <a:solidFill>
                      <a:srgbClr val="102B62"/>
                    </a:solidFill>
                    <a:latin typeface="Arial"/>
                  </a:endParaRPr>
                </a:p>
              </p:txBody>
            </p:sp>
          </p:grpSp>
          <p:grpSp>
            <p:nvGrpSpPr>
              <p:cNvPr id="78" name="Graphic 75780" descr="Handshake">
                <a:extLst>
                  <a:ext uri="{FF2B5EF4-FFF2-40B4-BE49-F238E27FC236}">
                    <a16:creationId xmlns:a16="http://schemas.microsoft.com/office/drawing/2014/main" id="{CDF84243-0DBE-415E-98DC-56934978EAE1}"/>
                  </a:ext>
                </a:extLst>
              </p:cNvPr>
              <p:cNvGrpSpPr/>
              <p:nvPr/>
            </p:nvGrpSpPr>
            <p:grpSpPr>
              <a:xfrm>
                <a:off x="1709230" y="1007619"/>
                <a:ext cx="687108" cy="687108"/>
                <a:chOff x="4114800" y="2114550"/>
                <a:chExt cx="914400" cy="914400"/>
              </a:xfrm>
              <a:solidFill>
                <a:srgbClr val="02C2DA"/>
              </a:solidFill>
            </p:grpSpPr>
            <p:sp>
              <p:nvSpPr>
                <p:cNvPr id="79" name="Freeform: Shape 78">
                  <a:extLst>
                    <a:ext uri="{FF2B5EF4-FFF2-40B4-BE49-F238E27FC236}">
                      <a16:creationId xmlns:a16="http://schemas.microsoft.com/office/drawing/2014/main" id="{9622C7DD-921A-4854-87C9-FB5474C78338}"/>
                    </a:ext>
                  </a:extLst>
                </p:cNvPr>
                <p:cNvSpPr/>
                <p:nvPr/>
              </p:nvSpPr>
              <p:spPr>
                <a:xfrm>
                  <a:off x="4521821" y="2723501"/>
                  <a:ext cx="74640" cy="80658"/>
                </a:xfrm>
                <a:custGeom>
                  <a:avLst/>
                  <a:gdLst>
                    <a:gd name="connsiteX0" fmla="*/ 20651 w 74640"/>
                    <a:gd name="connsiteY0" fmla="*/ 80659 h 80658"/>
                    <a:gd name="connsiteX1" fmla="*/ 6364 w 74640"/>
                    <a:gd name="connsiteY1" fmla="*/ 75896 h 80658"/>
                    <a:gd name="connsiteX2" fmla="*/ 4459 w 74640"/>
                    <a:gd name="connsiteY2" fmla="*/ 49226 h 80658"/>
                    <a:gd name="connsiteX3" fmla="*/ 41606 w 74640"/>
                    <a:gd name="connsiteY3" fmla="*/ 6364 h 80658"/>
                    <a:gd name="connsiteX4" fmla="*/ 68276 w 74640"/>
                    <a:gd name="connsiteY4" fmla="*/ 4459 h 80658"/>
                    <a:gd name="connsiteX5" fmla="*/ 70181 w 74640"/>
                    <a:gd name="connsiteY5" fmla="*/ 31129 h 80658"/>
                    <a:gd name="connsiteX6" fmla="*/ 33034 w 74640"/>
                    <a:gd name="connsiteY6" fmla="*/ 73991 h 80658"/>
                    <a:gd name="connsiteX7" fmla="*/ 20651 w 74640"/>
                    <a:gd name="connsiteY7" fmla="*/ 80659 h 80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640" h="80658">
                      <a:moveTo>
                        <a:pt x="20651" y="80659"/>
                      </a:moveTo>
                      <a:cubicBezTo>
                        <a:pt x="15889" y="80659"/>
                        <a:pt x="10174" y="79706"/>
                        <a:pt x="6364" y="75896"/>
                      </a:cubicBezTo>
                      <a:cubicBezTo>
                        <a:pt x="-1256" y="69229"/>
                        <a:pt x="-2209" y="56846"/>
                        <a:pt x="4459" y="49226"/>
                      </a:cubicBezTo>
                      <a:lnTo>
                        <a:pt x="41606" y="6364"/>
                      </a:lnTo>
                      <a:cubicBezTo>
                        <a:pt x="48274" y="-1256"/>
                        <a:pt x="60656" y="-2209"/>
                        <a:pt x="68276" y="4459"/>
                      </a:cubicBezTo>
                      <a:cubicBezTo>
                        <a:pt x="75896" y="11126"/>
                        <a:pt x="76849" y="23509"/>
                        <a:pt x="70181" y="31129"/>
                      </a:cubicBezTo>
                      <a:lnTo>
                        <a:pt x="33034" y="73991"/>
                      </a:lnTo>
                      <a:cubicBezTo>
                        <a:pt x="30176" y="77801"/>
                        <a:pt x="25414" y="79706"/>
                        <a:pt x="20651" y="80659"/>
                      </a:cubicBez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80" name="Freeform: Shape 79">
                  <a:extLst>
                    <a:ext uri="{FF2B5EF4-FFF2-40B4-BE49-F238E27FC236}">
                      <a16:creationId xmlns:a16="http://schemas.microsoft.com/office/drawing/2014/main" id="{2F9C9CA8-EA73-4463-8881-952548C65BFC}"/>
                    </a:ext>
                  </a:extLst>
                </p:cNvPr>
                <p:cNvSpPr/>
                <p:nvPr/>
              </p:nvSpPr>
              <p:spPr>
                <a:xfrm>
                  <a:off x="4458491" y="2684936"/>
                  <a:ext cx="90810" cy="97554"/>
                </a:xfrm>
                <a:custGeom>
                  <a:avLst/>
                  <a:gdLst>
                    <a:gd name="connsiteX0" fmla="*/ 25879 w 90810"/>
                    <a:gd name="connsiteY0" fmla="*/ 97316 h 97554"/>
                    <a:gd name="connsiteX1" fmla="*/ 7781 w 90810"/>
                    <a:gd name="connsiteY1" fmla="*/ 91601 h 97554"/>
                    <a:gd name="connsiteX2" fmla="*/ 5876 w 90810"/>
                    <a:gd name="connsiteY2" fmla="*/ 58264 h 97554"/>
                    <a:gd name="connsiteX3" fmla="*/ 49691 w 90810"/>
                    <a:gd name="connsiteY3" fmla="*/ 7781 h 97554"/>
                    <a:gd name="connsiteX4" fmla="*/ 83029 w 90810"/>
                    <a:gd name="connsiteY4" fmla="*/ 5876 h 97554"/>
                    <a:gd name="connsiteX5" fmla="*/ 84934 w 90810"/>
                    <a:gd name="connsiteY5" fmla="*/ 39214 h 97554"/>
                    <a:gd name="connsiteX6" fmla="*/ 41119 w 90810"/>
                    <a:gd name="connsiteY6" fmla="*/ 89696 h 97554"/>
                    <a:gd name="connsiteX7" fmla="*/ 25879 w 90810"/>
                    <a:gd name="connsiteY7" fmla="*/ 97316 h 97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810" h="97554">
                      <a:moveTo>
                        <a:pt x="25879" y="97316"/>
                      </a:moveTo>
                      <a:cubicBezTo>
                        <a:pt x="19211" y="98269"/>
                        <a:pt x="13496" y="96364"/>
                        <a:pt x="7781" y="91601"/>
                      </a:cubicBezTo>
                      <a:cubicBezTo>
                        <a:pt x="-1744" y="83029"/>
                        <a:pt x="-2696" y="67789"/>
                        <a:pt x="5876" y="58264"/>
                      </a:cubicBezTo>
                      <a:lnTo>
                        <a:pt x="49691" y="7781"/>
                      </a:lnTo>
                      <a:cubicBezTo>
                        <a:pt x="58264" y="-1744"/>
                        <a:pt x="73504" y="-2696"/>
                        <a:pt x="83029" y="5876"/>
                      </a:cubicBezTo>
                      <a:cubicBezTo>
                        <a:pt x="92554" y="14449"/>
                        <a:pt x="93506" y="29689"/>
                        <a:pt x="84934" y="39214"/>
                      </a:cubicBezTo>
                      <a:lnTo>
                        <a:pt x="41119" y="89696"/>
                      </a:lnTo>
                      <a:cubicBezTo>
                        <a:pt x="37309" y="94459"/>
                        <a:pt x="31594" y="97316"/>
                        <a:pt x="25879" y="97316"/>
                      </a:cubicBez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81" name="Freeform: Shape 80">
                  <a:extLst>
                    <a:ext uri="{FF2B5EF4-FFF2-40B4-BE49-F238E27FC236}">
                      <a16:creationId xmlns:a16="http://schemas.microsoft.com/office/drawing/2014/main" id="{813754CE-F78C-4FF0-AF71-83818398F7E4}"/>
                    </a:ext>
                  </a:extLst>
                </p:cNvPr>
                <p:cNvSpPr/>
                <p:nvPr/>
              </p:nvSpPr>
              <p:spPr>
                <a:xfrm>
                  <a:off x="4393666" y="2640114"/>
                  <a:ext cx="100443" cy="107078"/>
                </a:xfrm>
                <a:custGeom>
                  <a:avLst/>
                  <a:gdLst>
                    <a:gd name="connsiteX0" fmla="*/ 30696 w 100443"/>
                    <a:gd name="connsiteY0" fmla="*/ 106896 h 107078"/>
                    <a:gd name="connsiteX1" fmla="*/ 9741 w 100443"/>
                    <a:gd name="connsiteY1" fmla="*/ 100228 h 107078"/>
                    <a:gd name="connsiteX2" fmla="*/ 6883 w 100443"/>
                    <a:gd name="connsiteY2" fmla="*/ 60223 h 107078"/>
                    <a:gd name="connsiteX3" fmla="*/ 50698 w 100443"/>
                    <a:gd name="connsiteY3" fmla="*/ 9741 h 107078"/>
                    <a:gd name="connsiteX4" fmla="*/ 90703 w 100443"/>
                    <a:gd name="connsiteY4" fmla="*/ 6883 h 107078"/>
                    <a:gd name="connsiteX5" fmla="*/ 93561 w 100443"/>
                    <a:gd name="connsiteY5" fmla="*/ 46888 h 107078"/>
                    <a:gd name="connsiteX6" fmla="*/ 49746 w 100443"/>
                    <a:gd name="connsiteY6" fmla="*/ 97371 h 107078"/>
                    <a:gd name="connsiteX7" fmla="*/ 30696 w 100443"/>
                    <a:gd name="connsiteY7" fmla="*/ 106896 h 107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43" h="107078">
                      <a:moveTo>
                        <a:pt x="30696" y="106896"/>
                      </a:moveTo>
                      <a:cubicBezTo>
                        <a:pt x="23076" y="107848"/>
                        <a:pt x="15456" y="104991"/>
                        <a:pt x="9741" y="100228"/>
                      </a:cubicBezTo>
                      <a:cubicBezTo>
                        <a:pt x="-1689" y="89751"/>
                        <a:pt x="-3594" y="71653"/>
                        <a:pt x="6883" y="60223"/>
                      </a:cubicBezTo>
                      <a:lnTo>
                        <a:pt x="50698" y="9741"/>
                      </a:lnTo>
                      <a:cubicBezTo>
                        <a:pt x="61176" y="-1689"/>
                        <a:pt x="79273" y="-3594"/>
                        <a:pt x="90703" y="6883"/>
                      </a:cubicBezTo>
                      <a:cubicBezTo>
                        <a:pt x="102133" y="17361"/>
                        <a:pt x="104038" y="35458"/>
                        <a:pt x="93561" y="46888"/>
                      </a:cubicBezTo>
                      <a:lnTo>
                        <a:pt x="49746" y="97371"/>
                      </a:lnTo>
                      <a:cubicBezTo>
                        <a:pt x="44983" y="103086"/>
                        <a:pt x="37363" y="106896"/>
                        <a:pt x="30696" y="106896"/>
                      </a:cubicBez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82" name="Freeform: Shape 81">
                  <a:extLst>
                    <a:ext uri="{FF2B5EF4-FFF2-40B4-BE49-F238E27FC236}">
                      <a16:creationId xmlns:a16="http://schemas.microsoft.com/office/drawing/2014/main" id="{A0DE0AF1-9FAE-44DA-8F0A-52A19EF14F79}"/>
                    </a:ext>
                  </a:extLst>
                </p:cNvPr>
                <p:cNvSpPr/>
                <p:nvPr/>
              </p:nvSpPr>
              <p:spPr>
                <a:xfrm>
                  <a:off x="4324134" y="2598204"/>
                  <a:ext cx="107111" cy="113745"/>
                </a:xfrm>
                <a:custGeom>
                  <a:avLst/>
                  <a:gdLst>
                    <a:gd name="connsiteX0" fmla="*/ 30696 w 107111"/>
                    <a:gd name="connsiteY0" fmla="*/ 113563 h 113745"/>
                    <a:gd name="connsiteX1" fmla="*/ 9741 w 107111"/>
                    <a:gd name="connsiteY1" fmla="*/ 106896 h 113745"/>
                    <a:gd name="connsiteX2" fmla="*/ 6883 w 107111"/>
                    <a:gd name="connsiteY2" fmla="*/ 66891 h 113745"/>
                    <a:gd name="connsiteX3" fmla="*/ 57366 w 107111"/>
                    <a:gd name="connsiteY3" fmla="*/ 9741 h 113745"/>
                    <a:gd name="connsiteX4" fmla="*/ 97371 w 107111"/>
                    <a:gd name="connsiteY4" fmla="*/ 6883 h 113745"/>
                    <a:gd name="connsiteX5" fmla="*/ 100228 w 107111"/>
                    <a:gd name="connsiteY5" fmla="*/ 46888 h 113745"/>
                    <a:gd name="connsiteX6" fmla="*/ 49746 w 107111"/>
                    <a:gd name="connsiteY6" fmla="*/ 104038 h 113745"/>
                    <a:gd name="connsiteX7" fmla="*/ 30696 w 107111"/>
                    <a:gd name="connsiteY7" fmla="*/ 113563 h 113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111" h="113745">
                      <a:moveTo>
                        <a:pt x="30696" y="113563"/>
                      </a:moveTo>
                      <a:cubicBezTo>
                        <a:pt x="23076" y="114516"/>
                        <a:pt x="15456" y="111658"/>
                        <a:pt x="9741" y="106896"/>
                      </a:cubicBezTo>
                      <a:cubicBezTo>
                        <a:pt x="-1689" y="96418"/>
                        <a:pt x="-3594" y="78321"/>
                        <a:pt x="6883" y="66891"/>
                      </a:cubicBezTo>
                      <a:lnTo>
                        <a:pt x="57366" y="9741"/>
                      </a:lnTo>
                      <a:cubicBezTo>
                        <a:pt x="67843" y="-1689"/>
                        <a:pt x="85941" y="-3594"/>
                        <a:pt x="97371" y="6883"/>
                      </a:cubicBezTo>
                      <a:cubicBezTo>
                        <a:pt x="108801" y="17361"/>
                        <a:pt x="110706" y="35458"/>
                        <a:pt x="100228" y="46888"/>
                      </a:cubicBezTo>
                      <a:lnTo>
                        <a:pt x="49746" y="104038"/>
                      </a:lnTo>
                      <a:cubicBezTo>
                        <a:pt x="44031" y="109753"/>
                        <a:pt x="37363" y="112611"/>
                        <a:pt x="30696" y="113563"/>
                      </a:cubicBez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83" name="Freeform: Shape 82">
                  <a:extLst>
                    <a:ext uri="{FF2B5EF4-FFF2-40B4-BE49-F238E27FC236}">
                      <a16:creationId xmlns:a16="http://schemas.microsoft.com/office/drawing/2014/main" id="{E51159FA-D76D-4849-9EA6-0FF5E651C941}"/>
                    </a:ext>
                  </a:extLst>
                </p:cNvPr>
                <p:cNvSpPr/>
                <p:nvPr/>
              </p:nvSpPr>
              <p:spPr>
                <a:xfrm>
                  <a:off x="4158614" y="2323147"/>
                  <a:ext cx="190574" cy="226769"/>
                </a:xfrm>
                <a:custGeom>
                  <a:avLst/>
                  <a:gdLst>
                    <a:gd name="connsiteX0" fmla="*/ 0 w 190574"/>
                    <a:gd name="connsiteY0" fmla="*/ 179070 h 226769"/>
                    <a:gd name="connsiteX1" fmla="*/ 73343 w 190574"/>
                    <a:gd name="connsiteY1" fmla="*/ 223838 h 226769"/>
                    <a:gd name="connsiteX2" fmla="*/ 99060 w 190574"/>
                    <a:gd name="connsiteY2" fmla="*/ 217170 h 226769"/>
                    <a:gd name="connsiteX3" fmla="*/ 187643 w 190574"/>
                    <a:gd name="connsiteY3" fmla="*/ 70485 h 226769"/>
                    <a:gd name="connsiteX4" fmla="*/ 180975 w 190574"/>
                    <a:gd name="connsiteY4" fmla="*/ 44768 h 226769"/>
                    <a:gd name="connsiteX5" fmla="*/ 108585 w 190574"/>
                    <a:gd name="connsiteY5" fmla="*/ 0 h 226769"/>
                    <a:gd name="connsiteX6" fmla="*/ 0 w 190574"/>
                    <a:gd name="connsiteY6" fmla="*/ 179070 h 22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74" h="226769">
                      <a:moveTo>
                        <a:pt x="0" y="179070"/>
                      </a:moveTo>
                      <a:lnTo>
                        <a:pt x="73343" y="223838"/>
                      </a:lnTo>
                      <a:cubicBezTo>
                        <a:pt x="81915" y="229553"/>
                        <a:pt x="94298" y="226695"/>
                        <a:pt x="99060" y="217170"/>
                      </a:cubicBezTo>
                      <a:lnTo>
                        <a:pt x="187643" y="70485"/>
                      </a:lnTo>
                      <a:cubicBezTo>
                        <a:pt x="193358" y="61913"/>
                        <a:pt x="190500" y="49530"/>
                        <a:pt x="180975" y="44768"/>
                      </a:cubicBezTo>
                      <a:lnTo>
                        <a:pt x="108585" y="0"/>
                      </a:lnTo>
                      <a:lnTo>
                        <a:pt x="0" y="179070"/>
                      </a:ln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84" name="Freeform: Shape 83">
                  <a:extLst>
                    <a:ext uri="{FF2B5EF4-FFF2-40B4-BE49-F238E27FC236}">
                      <a16:creationId xmlns:a16="http://schemas.microsoft.com/office/drawing/2014/main" id="{4B22B597-0349-4293-A8AC-6A002BB8D921}"/>
                    </a:ext>
                  </a:extLst>
                </p:cNvPr>
                <p:cNvSpPr/>
                <p:nvPr/>
              </p:nvSpPr>
              <p:spPr>
                <a:xfrm>
                  <a:off x="4275772" y="2408872"/>
                  <a:ext cx="510700" cy="409759"/>
                </a:xfrm>
                <a:custGeom>
                  <a:avLst/>
                  <a:gdLst>
                    <a:gd name="connsiteX0" fmla="*/ 500063 w 510700"/>
                    <a:gd name="connsiteY0" fmla="*/ 218123 h 409759"/>
                    <a:gd name="connsiteX1" fmla="*/ 346710 w 510700"/>
                    <a:gd name="connsiteY1" fmla="*/ 86678 h 409759"/>
                    <a:gd name="connsiteX2" fmla="*/ 336233 w 510700"/>
                    <a:gd name="connsiteY2" fmla="*/ 77153 h 409759"/>
                    <a:gd name="connsiteX3" fmla="*/ 270510 w 510700"/>
                    <a:gd name="connsiteY3" fmla="*/ 152400 h 409759"/>
                    <a:gd name="connsiteX4" fmla="*/ 232410 w 510700"/>
                    <a:gd name="connsiteY4" fmla="*/ 171450 h 409759"/>
                    <a:gd name="connsiteX5" fmla="*/ 227648 w 510700"/>
                    <a:gd name="connsiteY5" fmla="*/ 171450 h 409759"/>
                    <a:gd name="connsiteX6" fmla="*/ 190500 w 510700"/>
                    <a:gd name="connsiteY6" fmla="*/ 157163 h 409759"/>
                    <a:gd name="connsiteX7" fmla="*/ 184785 w 510700"/>
                    <a:gd name="connsiteY7" fmla="*/ 76200 h 409759"/>
                    <a:gd name="connsiteX8" fmla="*/ 240983 w 510700"/>
                    <a:gd name="connsiteY8" fmla="*/ 11430 h 409759"/>
                    <a:gd name="connsiteX9" fmla="*/ 82868 w 510700"/>
                    <a:gd name="connsiteY9" fmla="*/ 0 h 409759"/>
                    <a:gd name="connsiteX10" fmla="*/ 0 w 510700"/>
                    <a:gd name="connsiteY10" fmla="*/ 137160 h 409759"/>
                    <a:gd name="connsiteX11" fmla="*/ 64770 w 510700"/>
                    <a:gd name="connsiteY11" fmla="*/ 212408 h 409759"/>
                    <a:gd name="connsiteX12" fmla="*/ 89535 w 510700"/>
                    <a:gd name="connsiteY12" fmla="*/ 183833 h 409759"/>
                    <a:gd name="connsiteX13" fmla="*/ 125730 w 510700"/>
                    <a:gd name="connsiteY13" fmla="*/ 167640 h 409759"/>
                    <a:gd name="connsiteX14" fmla="*/ 125730 w 510700"/>
                    <a:gd name="connsiteY14" fmla="*/ 167640 h 409759"/>
                    <a:gd name="connsiteX15" fmla="*/ 157163 w 510700"/>
                    <a:gd name="connsiteY15" fmla="*/ 179070 h 409759"/>
                    <a:gd name="connsiteX16" fmla="*/ 173355 w 510700"/>
                    <a:gd name="connsiteY16" fmla="*/ 213360 h 409759"/>
                    <a:gd name="connsiteX17" fmla="*/ 189548 w 510700"/>
                    <a:gd name="connsiteY17" fmla="*/ 210503 h 409759"/>
                    <a:gd name="connsiteX18" fmla="*/ 220980 w 510700"/>
                    <a:gd name="connsiteY18" fmla="*/ 221933 h 409759"/>
                    <a:gd name="connsiteX19" fmla="*/ 237173 w 510700"/>
                    <a:gd name="connsiteY19" fmla="*/ 257175 h 409759"/>
                    <a:gd name="connsiteX20" fmla="*/ 249555 w 510700"/>
                    <a:gd name="connsiteY20" fmla="*/ 255270 h 409759"/>
                    <a:gd name="connsiteX21" fmla="*/ 249555 w 510700"/>
                    <a:gd name="connsiteY21" fmla="*/ 255270 h 409759"/>
                    <a:gd name="connsiteX22" fmla="*/ 278130 w 510700"/>
                    <a:gd name="connsiteY22" fmla="*/ 265748 h 409759"/>
                    <a:gd name="connsiteX23" fmla="*/ 292418 w 510700"/>
                    <a:gd name="connsiteY23" fmla="*/ 295275 h 409759"/>
                    <a:gd name="connsiteX24" fmla="*/ 302895 w 510700"/>
                    <a:gd name="connsiteY24" fmla="*/ 293370 h 409759"/>
                    <a:gd name="connsiteX25" fmla="*/ 302895 w 510700"/>
                    <a:gd name="connsiteY25" fmla="*/ 293370 h 409759"/>
                    <a:gd name="connsiteX26" fmla="*/ 327660 w 510700"/>
                    <a:gd name="connsiteY26" fmla="*/ 302895 h 409759"/>
                    <a:gd name="connsiteX27" fmla="*/ 340995 w 510700"/>
                    <a:gd name="connsiteY27" fmla="*/ 328613 h 409759"/>
                    <a:gd name="connsiteX28" fmla="*/ 331470 w 510700"/>
                    <a:gd name="connsiteY28" fmla="*/ 356235 h 409759"/>
                    <a:gd name="connsiteX29" fmla="*/ 299085 w 510700"/>
                    <a:gd name="connsiteY29" fmla="*/ 393382 h 409759"/>
                    <a:gd name="connsiteX30" fmla="*/ 312420 w 510700"/>
                    <a:gd name="connsiteY30" fmla="*/ 403860 h 409759"/>
                    <a:gd name="connsiteX31" fmla="*/ 335280 w 510700"/>
                    <a:gd name="connsiteY31" fmla="*/ 409575 h 409759"/>
                    <a:gd name="connsiteX32" fmla="*/ 369570 w 510700"/>
                    <a:gd name="connsiteY32" fmla="*/ 368618 h 409759"/>
                    <a:gd name="connsiteX33" fmla="*/ 369570 w 510700"/>
                    <a:gd name="connsiteY33" fmla="*/ 367665 h 409759"/>
                    <a:gd name="connsiteX34" fmla="*/ 379095 w 510700"/>
                    <a:gd name="connsiteY34" fmla="*/ 368618 h 409759"/>
                    <a:gd name="connsiteX35" fmla="*/ 413385 w 510700"/>
                    <a:gd name="connsiteY35" fmla="*/ 327660 h 409759"/>
                    <a:gd name="connsiteX36" fmla="*/ 413385 w 510700"/>
                    <a:gd name="connsiteY36" fmla="*/ 326707 h 409759"/>
                    <a:gd name="connsiteX37" fmla="*/ 422910 w 510700"/>
                    <a:gd name="connsiteY37" fmla="*/ 327660 h 409759"/>
                    <a:gd name="connsiteX38" fmla="*/ 457200 w 510700"/>
                    <a:gd name="connsiteY38" fmla="*/ 286703 h 409759"/>
                    <a:gd name="connsiteX39" fmla="*/ 456248 w 510700"/>
                    <a:gd name="connsiteY39" fmla="*/ 280988 h 409759"/>
                    <a:gd name="connsiteX40" fmla="*/ 476250 w 510700"/>
                    <a:gd name="connsiteY40" fmla="*/ 284798 h 409759"/>
                    <a:gd name="connsiteX41" fmla="*/ 510540 w 510700"/>
                    <a:gd name="connsiteY41" fmla="*/ 243840 h 409759"/>
                    <a:gd name="connsiteX42" fmla="*/ 500063 w 510700"/>
                    <a:gd name="connsiteY42" fmla="*/ 218123 h 409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10700" h="409759">
                      <a:moveTo>
                        <a:pt x="500063" y="218123"/>
                      </a:moveTo>
                      <a:lnTo>
                        <a:pt x="346710" y="86678"/>
                      </a:lnTo>
                      <a:lnTo>
                        <a:pt x="336233" y="77153"/>
                      </a:lnTo>
                      <a:lnTo>
                        <a:pt x="270510" y="152400"/>
                      </a:lnTo>
                      <a:cubicBezTo>
                        <a:pt x="260985" y="163830"/>
                        <a:pt x="247650" y="170498"/>
                        <a:pt x="232410" y="171450"/>
                      </a:cubicBezTo>
                      <a:cubicBezTo>
                        <a:pt x="230505" y="171450"/>
                        <a:pt x="228600" y="171450"/>
                        <a:pt x="227648" y="171450"/>
                      </a:cubicBezTo>
                      <a:cubicBezTo>
                        <a:pt x="213360" y="171450"/>
                        <a:pt x="200025" y="166688"/>
                        <a:pt x="190500" y="157163"/>
                      </a:cubicBezTo>
                      <a:cubicBezTo>
                        <a:pt x="166688" y="136208"/>
                        <a:pt x="164783" y="100013"/>
                        <a:pt x="184785" y="76200"/>
                      </a:cubicBezTo>
                      <a:lnTo>
                        <a:pt x="240983" y="11430"/>
                      </a:lnTo>
                      <a:cubicBezTo>
                        <a:pt x="197167" y="5715"/>
                        <a:pt x="140970" y="28575"/>
                        <a:pt x="82868" y="0"/>
                      </a:cubicBezTo>
                      <a:lnTo>
                        <a:pt x="0" y="137160"/>
                      </a:lnTo>
                      <a:lnTo>
                        <a:pt x="64770" y="212408"/>
                      </a:lnTo>
                      <a:lnTo>
                        <a:pt x="89535" y="183833"/>
                      </a:lnTo>
                      <a:cubicBezTo>
                        <a:pt x="98108" y="173355"/>
                        <a:pt x="111443" y="167640"/>
                        <a:pt x="125730" y="167640"/>
                      </a:cubicBezTo>
                      <a:lnTo>
                        <a:pt x="125730" y="167640"/>
                      </a:lnTo>
                      <a:cubicBezTo>
                        <a:pt x="137160" y="167640"/>
                        <a:pt x="148590" y="171450"/>
                        <a:pt x="157163" y="179070"/>
                      </a:cubicBezTo>
                      <a:cubicBezTo>
                        <a:pt x="167640" y="187642"/>
                        <a:pt x="172403" y="200025"/>
                        <a:pt x="173355" y="213360"/>
                      </a:cubicBezTo>
                      <a:cubicBezTo>
                        <a:pt x="178117" y="211455"/>
                        <a:pt x="183833" y="210503"/>
                        <a:pt x="189548" y="210503"/>
                      </a:cubicBezTo>
                      <a:cubicBezTo>
                        <a:pt x="200978" y="210503"/>
                        <a:pt x="212408" y="214313"/>
                        <a:pt x="220980" y="221933"/>
                      </a:cubicBezTo>
                      <a:cubicBezTo>
                        <a:pt x="231458" y="231458"/>
                        <a:pt x="237173" y="243840"/>
                        <a:pt x="237173" y="257175"/>
                      </a:cubicBezTo>
                      <a:cubicBezTo>
                        <a:pt x="240983" y="256223"/>
                        <a:pt x="245745" y="255270"/>
                        <a:pt x="249555" y="255270"/>
                      </a:cubicBezTo>
                      <a:lnTo>
                        <a:pt x="249555" y="255270"/>
                      </a:lnTo>
                      <a:cubicBezTo>
                        <a:pt x="260033" y="255270"/>
                        <a:pt x="269558" y="259080"/>
                        <a:pt x="278130" y="265748"/>
                      </a:cubicBezTo>
                      <a:cubicBezTo>
                        <a:pt x="286703" y="273368"/>
                        <a:pt x="291465" y="283845"/>
                        <a:pt x="292418" y="295275"/>
                      </a:cubicBezTo>
                      <a:cubicBezTo>
                        <a:pt x="295275" y="294323"/>
                        <a:pt x="299085" y="293370"/>
                        <a:pt x="302895" y="293370"/>
                      </a:cubicBezTo>
                      <a:lnTo>
                        <a:pt x="302895" y="293370"/>
                      </a:lnTo>
                      <a:cubicBezTo>
                        <a:pt x="312420" y="293370"/>
                        <a:pt x="320993" y="296228"/>
                        <a:pt x="327660" y="302895"/>
                      </a:cubicBezTo>
                      <a:cubicBezTo>
                        <a:pt x="335280" y="309563"/>
                        <a:pt x="340043" y="319088"/>
                        <a:pt x="340995" y="328613"/>
                      </a:cubicBezTo>
                      <a:cubicBezTo>
                        <a:pt x="341948" y="339090"/>
                        <a:pt x="338138" y="348615"/>
                        <a:pt x="331470" y="356235"/>
                      </a:cubicBezTo>
                      <a:lnTo>
                        <a:pt x="299085" y="393382"/>
                      </a:lnTo>
                      <a:lnTo>
                        <a:pt x="312420" y="403860"/>
                      </a:lnTo>
                      <a:cubicBezTo>
                        <a:pt x="319088" y="407670"/>
                        <a:pt x="326708" y="410528"/>
                        <a:pt x="335280" y="409575"/>
                      </a:cubicBezTo>
                      <a:cubicBezTo>
                        <a:pt x="356235" y="407670"/>
                        <a:pt x="371475" y="389573"/>
                        <a:pt x="369570" y="368618"/>
                      </a:cubicBezTo>
                      <a:cubicBezTo>
                        <a:pt x="369570" y="368618"/>
                        <a:pt x="369570" y="367665"/>
                        <a:pt x="369570" y="367665"/>
                      </a:cubicBezTo>
                      <a:cubicBezTo>
                        <a:pt x="372428" y="368618"/>
                        <a:pt x="376238" y="368618"/>
                        <a:pt x="379095" y="368618"/>
                      </a:cubicBezTo>
                      <a:cubicBezTo>
                        <a:pt x="400050" y="366713"/>
                        <a:pt x="415290" y="348615"/>
                        <a:pt x="413385" y="327660"/>
                      </a:cubicBezTo>
                      <a:cubicBezTo>
                        <a:pt x="413385" y="327660"/>
                        <a:pt x="413385" y="326707"/>
                        <a:pt x="413385" y="326707"/>
                      </a:cubicBezTo>
                      <a:cubicBezTo>
                        <a:pt x="416243" y="327660"/>
                        <a:pt x="420053" y="327660"/>
                        <a:pt x="422910" y="327660"/>
                      </a:cubicBezTo>
                      <a:cubicBezTo>
                        <a:pt x="443865" y="325755"/>
                        <a:pt x="459105" y="307658"/>
                        <a:pt x="457200" y="286703"/>
                      </a:cubicBezTo>
                      <a:cubicBezTo>
                        <a:pt x="457200" y="284798"/>
                        <a:pt x="456248" y="282893"/>
                        <a:pt x="456248" y="280988"/>
                      </a:cubicBezTo>
                      <a:cubicBezTo>
                        <a:pt x="461963" y="283845"/>
                        <a:pt x="468630" y="285750"/>
                        <a:pt x="476250" y="284798"/>
                      </a:cubicBezTo>
                      <a:cubicBezTo>
                        <a:pt x="497205" y="282893"/>
                        <a:pt x="512445" y="264795"/>
                        <a:pt x="510540" y="243840"/>
                      </a:cubicBezTo>
                      <a:cubicBezTo>
                        <a:pt x="511493" y="233363"/>
                        <a:pt x="506730" y="224790"/>
                        <a:pt x="500063" y="218123"/>
                      </a:cubicBez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85" name="Freeform: Shape 84">
                  <a:extLst>
                    <a:ext uri="{FF2B5EF4-FFF2-40B4-BE49-F238E27FC236}">
                      <a16:creationId xmlns:a16="http://schemas.microsoft.com/office/drawing/2014/main" id="{D7E6B903-5B4F-4CC0-843C-EAFC9DB94477}"/>
                    </a:ext>
                  </a:extLst>
                </p:cNvPr>
                <p:cNvSpPr/>
                <p:nvPr/>
              </p:nvSpPr>
              <p:spPr>
                <a:xfrm>
                  <a:off x="4794810" y="2323147"/>
                  <a:ext cx="190574" cy="226769"/>
                </a:xfrm>
                <a:custGeom>
                  <a:avLst/>
                  <a:gdLst>
                    <a:gd name="connsiteX0" fmla="*/ 190575 w 190574"/>
                    <a:gd name="connsiteY0" fmla="*/ 179070 h 226769"/>
                    <a:gd name="connsiteX1" fmla="*/ 117232 w 190574"/>
                    <a:gd name="connsiteY1" fmla="*/ 223838 h 226769"/>
                    <a:gd name="connsiteX2" fmla="*/ 91515 w 190574"/>
                    <a:gd name="connsiteY2" fmla="*/ 217170 h 226769"/>
                    <a:gd name="connsiteX3" fmla="*/ 2932 w 190574"/>
                    <a:gd name="connsiteY3" fmla="*/ 70485 h 226769"/>
                    <a:gd name="connsiteX4" fmla="*/ 9600 w 190574"/>
                    <a:gd name="connsiteY4" fmla="*/ 44768 h 226769"/>
                    <a:gd name="connsiteX5" fmla="*/ 82942 w 190574"/>
                    <a:gd name="connsiteY5" fmla="*/ 0 h 226769"/>
                    <a:gd name="connsiteX6" fmla="*/ 190575 w 190574"/>
                    <a:gd name="connsiteY6" fmla="*/ 179070 h 22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74" h="226769">
                      <a:moveTo>
                        <a:pt x="190575" y="179070"/>
                      </a:moveTo>
                      <a:lnTo>
                        <a:pt x="117232" y="223838"/>
                      </a:lnTo>
                      <a:cubicBezTo>
                        <a:pt x="108660" y="229553"/>
                        <a:pt x="96277" y="226695"/>
                        <a:pt x="91515" y="217170"/>
                      </a:cubicBezTo>
                      <a:lnTo>
                        <a:pt x="2932" y="70485"/>
                      </a:lnTo>
                      <a:cubicBezTo>
                        <a:pt x="-2783" y="61913"/>
                        <a:pt x="75" y="49530"/>
                        <a:pt x="9600" y="44768"/>
                      </a:cubicBezTo>
                      <a:lnTo>
                        <a:pt x="82942" y="0"/>
                      </a:lnTo>
                      <a:lnTo>
                        <a:pt x="190575" y="179070"/>
                      </a:ln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86" name="Freeform: Shape 85">
                  <a:extLst>
                    <a:ext uri="{FF2B5EF4-FFF2-40B4-BE49-F238E27FC236}">
                      <a16:creationId xmlns:a16="http://schemas.microsoft.com/office/drawing/2014/main" id="{8FEAA2B7-D4A2-471D-979B-67894D967769}"/>
                    </a:ext>
                  </a:extLst>
                </p:cNvPr>
                <p:cNvSpPr/>
                <p:nvPr/>
              </p:nvSpPr>
              <p:spPr>
                <a:xfrm>
                  <a:off x="4464267" y="2400158"/>
                  <a:ext cx="403007" cy="223979"/>
                </a:xfrm>
                <a:custGeom>
                  <a:avLst/>
                  <a:gdLst>
                    <a:gd name="connsiteX0" fmla="*/ 322045 w 403007"/>
                    <a:gd name="connsiteY0" fmla="*/ 12524 h 223979"/>
                    <a:gd name="connsiteX1" fmla="*/ 122020 w 403007"/>
                    <a:gd name="connsiteY1" fmla="*/ 1094 h 223979"/>
                    <a:gd name="connsiteX2" fmla="*/ 117258 w 403007"/>
                    <a:gd name="connsiteY2" fmla="*/ 142 h 223979"/>
                    <a:gd name="connsiteX3" fmla="*/ 84873 w 403007"/>
                    <a:gd name="connsiteY3" fmla="*/ 12524 h 223979"/>
                    <a:gd name="connsiteX4" fmla="*/ 9625 w 403007"/>
                    <a:gd name="connsiteY4" fmla="*/ 98249 h 223979"/>
                    <a:gd name="connsiteX5" fmla="*/ 13435 w 403007"/>
                    <a:gd name="connsiteY5" fmla="*/ 151589 h 223979"/>
                    <a:gd name="connsiteX6" fmla="*/ 42010 w 403007"/>
                    <a:gd name="connsiteY6" fmla="*/ 161114 h 223979"/>
                    <a:gd name="connsiteX7" fmla="*/ 67728 w 403007"/>
                    <a:gd name="connsiteY7" fmla="*/ 147779 h 223979"/>
                    <a:gd name="connsiteX8" fmla="*/ 145833 w 403007"/>
                    <a:gd name="connsiteY8" fmla="*/ 58244 h 223979"/>
                    <a:gd name="connsiteX9" fmla="*/ 323950 w 403007"/>
                    <a:gd name="connsiteY9" fmla="*/ 211597 h 223979"/>
                    <a:gd name="connsiteX10" fmla="*/ 323950 w 403007"/>
                    <a:gd name="connsiteY10" fmla="*/ 211597 h 223979"/>
                    <a:gd name="connsiteX11" fmla="*/ 323950 w 403007"/>
                    <a:gd name="connsiteY11" fmla="*/ 211597 h 223979"/>
                    <a:gd name="connsiteX12" fmla="*/ 334428 w 403007"/>
                    <a:gd name="connsiteY12" fmla="*/ 223979 h 223979"/>
                    <a:gd name="connsiteX13" fmla="*/ 403008 w 403007"/>
                    <a:gd name="connsiteY13" fmla="*/ 144922 h 223979"/>
                    <a:gd name="connsiteX14" fmla="*/ 322045 w 403007"/>
                    <a:gd name="connsiteY14" fmla="*/ 12524 h 223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3007" h="223979">
                      <a:moveTo>
                        <a:pt x="322045" y="12524"/>
                      </a:moveTo>
                      <a:cubicBezTo>
                        <a:pt x="242988" y="41099"/>
                        <a:pt x="185838" y="13477"/>
                        <a:pt x="122020" y="1094"/>
                      </a:cubicBezTo>
                      <a:cubicBezTo>
                        <a:pt x="121068" y="1094"/>
                        <a:pt x="117258" y="142"/>
                        <a:pt x="117258" y="142"/>
                      </a:cubicBezTo>
                      <a:cubicBezTo>
                        <a:pt x="105828" y="-811"/>
                        <a:pt x="93445" y="2999"/>
                        <a:pt x="84873" y="12524"/>
                      </a:cubicBezTo>
                      <a:lnTo>
                        <a:pt x="9625" y="98249"/>
                      </a:lnTo>
                      <a:cubicBezTo>
                        <a:pt x="-4662" y="114442"/>
                        <a:pt x="-2757" y="138254"/>
                        <a:pt x="13435" y="151589"/>
                      </a:cubicBezTo>
                      <a:cubicBezTo>
                        <a:pt x="22008" y="158257"/>
                        <a:pt x="31533" y="162067"/>
                        <a:pt x="42010" y="161114"/>
                      </a:cubicBezTo>
                      <a:cubicBezTo>
                        <a:pt x="51535" y="160162"/>
                        <a:pt x="61060" y="156352"/>
                        <a:pt x="67728" y="147779"/>
                      </a:cubicBezTo>
                      <a:cubicBezTo>
                        <a:pt x="67728" y="147779"/>
                        <a:pt x="145833" y="58244"/>
                        <a:pt x="145833" y="58244"/>
                      </a:cubicBezTo>
                      <a:lnTo>
                        <a:pt x="323950" y="211597"/>
                      </a:lnTo>
                      <a:lnTo>
                        <a:pt x="323950" y="211597"/>
                      </a:lnTo>
                      <a:lnTo>
                        <a:pt x="323950" y="211597"/>
                      </a:lnTo>
                      <a:cubicBezTo>
                        <a:pt x="328713" y="216359"/>
                        <a:pt x="330618" y="218264"/>
                        <a:pt x="334428" y="223979"/>
                      </a:cubicBezTo>
                      <a:lnTo>
                        <a:pt x="403008" y="144922"/>
                      </a:lnTo>
                      <a:lnTo>
                        <a:pt x="322045" y="12524"/>
                      </a:ln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grpSp>
        </p:grpSp>
        <p:grpSp>
          <p:nvGrpSpPr>
            <p:cNvPr id="73" name="Group 72"/>
            <p:cNvGrpSpPr/>
            <p:nvPr/>
          </p:nvGrpSpPr>
          <p:grpSpPr>
            <a:xfrm>
              <a:off x="6495023" y="2079786"/>
              <a:ext cx="2419315" cy="1110251"/>
              <a:chOff x="6495023" y="2093789"/>
              <a:chExt cx="2419315" cy="1110251"/>
            </a:xfrm>
          </p:grpSpPr>
          <p:grpSp>
            <p:nvGrpSpPr>
              <p:cNvPr id="15" name="Group 14">
                <a:extLst>
                  <a:ext uri="{FF2B5EF4-FFF2-40B4-BE49-F238E27FC236}">
                    <a16:creationId xmlns:a16="http://schemas.microsoft.com/office/drawing/2014/main" id="{4B8E80C8-1583-4DB3-92A8-B96B038F01CE}"/>
                  </a:ext>
                </a:extLst>
              </p:cNvPr>
              <p:cNvGrpSpPr/>
              <p:nvPr/>
            </p:nvGrpSpPr>
            <p:grpSpPr>
              <a:xfrm>
                <a:off x="6495023" y="2093789"/>
                <a:ext cx="2419315" cy="1110251"/>
                <a:chOff x="5465373" y="2112760"/>
                <a:chExt cx="2419315" cy="1110251"/>
              </a:xfrm>
            </p:grpSpPr>
            <p:sp>
              <p:nvSpPr>
                <p:cNvPr id="125" name="Rectangle 124">
                  <a:extLst>
                    <a:ext uri="{FF2B5EF4-FFF2-40B4-BE49-F238E27FC236}">
                      <a16:creationId xmlns:a16="http://schemas.microsoft.com/office/drawing/2014/main" id="{AE1DE8EC-22A1-44E0-BD5B-CF99AEDE7A75}"/>
                    </a:ext>
                  </a:extLst>
                </p:cNvPr>
                <p:cNvSpPr/>
                <p:nvPr/>
              </p:nvSpPr>
              <p:spPr>
                <a:xfrm>
                  <a:off x="6024146" y="2838120"/>
                  <a:ext cx="1860542" cy="384891"/>
                </a:xfrm>
                <a:prstGeom prst="rect">
                  <a:avLst/>
                </a:prstGeom>
                <a:solidFill>
                  <a:srgbClr val="008CAC"/>
                </a:solidFill>
                <a:ln w="41275">
                  <a:noFill/>
                </a:ln>
              </p:spPr>
              <p:style>
                <a:lnRef idx="2">
                  <a:schemeClr val="dk1"/>
                </a:lnRef>
                <a:fillRef idx="1">
                  <a:schemeClr val="lt1"/>
                </a:fillRef>
                <a:effectRef idx="0">
                  <a:schemeClr val="dk1"/>
                </a:effectRef>
                <a:fontRef idx="minor">
                  <a:schemeClr val="dk1"/>
                </a:fontRef>
              </p:style>
              <p:txBody>
                <a:bodyPr rtlCol="0" anchor="ctr"/>
                <a:lstStyle/>
                <a:p>
                  <a:pPr algn="r" defTabSz="1219170"/>
                  <a:r>
                    <a:rPr lang="en-US" sz="1600" b="1" dirty="0">
                      <a:solidFill>
                        <a:prstClr val="white"/>
                      </a:solidFill>
                      <a:effectLst>
                        <a:outerShdw blurRad="38100" dist="38100" dir="2700000" algn="tl">
                          <a:srgbClr val="000000">
                            <a:alpha val="43137"/>
                          </a:srgbClr>
                        </a:outerShdw>
                      </a:effectLst>
                      <a:latin typeface="Arial"/>
                    </a:rPr>
                    <a:t>Improved </a:t>
                  </a:r>
                  <a:br>
                    <a:rPr lang="en-US" sz="1600" b="1" dirty="0">
                      <a:solidFill>
                        <a:prstClr val="white"/>
                      </a:solidFill>
                      <a:effectLst>
                        <a:outerShdw blurRad="38100" dist="38100" dir="2700000" algn="tl">
                          <a:srgbClr val="000000">
                            <a:alpha val="43137"/>
                          </a:srgbClr>
                        </a:outerShdw>
                      </a:effectLst>
                      <a:latin typeface="Arial"/>
                    </a:rPr>
                  </a:br>
                  <a:r>
                    <a:rPr lang="en-US" sz="1600" b="1" dirty="0">
                      <a:solidFill>
                        <a:prstClr val="white"/>
                      </a:solidFill>
                      <a:effectLst>
                        <a:outerShdw blurRad="38100" dist="38100" dir="2700000" algn="tl">
                          <a:srgbClr val="000000">
                            <a:alpha val="43137"/>
                          </a:srgbClr>
                        </a:outerShdw>
                      </a:effectLst>
                      <a:latin typeface="Arial"/>
                    </a:rPr>
                    <a:t>Delivery</a:t>
                  </a:r>
                </a:p>
              </p:txBody>
            </p:sp>
            <p:sp>
              <p:nvSpPr>
                <p:cNvPr id="55" name="Oval 54">
                  <a:extLst>
                    <a:ext uri="{FF2B5EF4-FFF2-40B4-BE49-F238E27FC236}">
                      <a16:creationId xmlns:a16="http://schemas.microsoft.com/office/drawing/2014/main" id="{74F2A287-7D59-4CDA-9FF5-7C69314E89DB}"/>
                    </a:ext>
                  </a:extLst>
                </p:cNvPr>
                <p:cNvSpPr/>
                <p:nvPr/>
              </p:nvSpPr>
              <p:spPr>
                <a:xfrm>
                  <a:off x="5465373" y="2112760"/>
                  <a:ext cx="1110251" cy="1110251"/>
                </a:xfrm>
                <a:prstGeom prst="ellipse">
                  <a:avLst/>
                </a:prstGeom>
                <a:solidFill>
                  <a:srgbClr val="008CAC"/>
                </a:solidFill>
                <a:ln w="41275">
                  <a:noFill/>
                </a:ln>
              </p:spPr>
              <p:style>
                <a:lnRef idx="2">
                  <a:schemeClr val="dk1"/>
                </a:lnRef>
                <a:fillRef idx="1">
                  <a:schemeClr val="lt1"/>
                </a:fillRef>
                <a:effectRef idx="0">
                  <a:schemeClr val="dk1"/>
                </a:effectRef>
                <a:fontRef idx="minor">
                  <a:schemeClr val="dk1"/>
                </a:fontRef>
              </p:style>
              <p:txBody>
                <a:bodyPr rtlCol="0" anchor="ctr"/>
                <a:lstStyle/>
                <a:p>
                  <a:pPr algn="ctr" defTabSz="1219170"/>
                  <a:endParaRPr lang="en-US" sz="1867" dirty="0">
                    <a:solidFill>
                      <a:srgbClr val="102B62"/>
                    </a:solidFill>
                    <a:latin typeface="Arial"/>
                  </a:endParaRPr>
                </a:p>
              </p:txBody>
            </p:sp>
            <p:sp>
              <p:nvSpPr>
                <p:cNvPr id="54" name="Oval 53" descr="Icon image of a micro-array skin patch for vaccine delivery (looks similar to a Band-Aid).">
                  <a:extLst>
                    <a:ext uri="{FF2B5EF4-FFF2-40B4-BE49-F238E27FC236}">
                      <a16:creationId xmlns:a16="http://schemas.microsoft.com/office/drawing/2014/main" id="{67A18D51-B576-4686-A571-1A3AE81D8CA2}"/>
                    </a:ext>
                  </a:extLst>
                </p:cNvPr>
                <p:cNvSpPr/>
                <p:nvPr/>
              </p:nvSpPr>
              <p:spPr>
                <a:xfrm>
                  <a:off x="5557950" y="2205336"/>
                  <a:ext cx="925099" cy="925099"/>
                </a:xfrm>
                <a:prstGeom prst="ellipse">
                  <a:avLst/>
                </a:prstGeom>
                <a:gradFill>
                  <a:gsLst>
                    <a:gs pos="0">
                      <a:schemeClr val="bg1">
                        <a:lumMod val="95000"/>
                      </a:schemeClr>
                    </a:gs>
                    <a:gs pos="50000">
                      <a:schemeClr val="bg1">
                        <a:lumMod val="85000"/>
                      </a:schemeClr>
                    </a:gs>
                    <a:gs pos="100000">
                      <a:schemeClr val="bg1">
                        <a:lumMod val="75000"/>
                      </a:schemeClr>
                    </a:gs>
                  </a:gsLst>
                </a:gradFill>
              </p:spPr>
              <p:style>
                <a:lnRef idx="1">
                  <a:schemeClr val="accent2"/>
                </a:lnRef>
                <a:fillRef idx="2">
                  <a:schemeClr val="accent2"/>
                </a:fillRef>
                <a:effectRef idx="1">
                  <a:schemeClr val="accent2"/>
                </a:effectRef>
                <a:fontRef idx="minor">
                  <a:schemeClr val="dk1"/>
                </a:fontRef>
              </p:style>
              <p:txBody>
                <a:bodyPr rtlCol="0" anchor="ctr"/>
                <a:lstStyle/>
                <a:p>
                  <a:pPr algn="ctr" defTabSz="1219170"/>
                  <a:endParaRPr lang="en-US" sz="1867" dirty="0">
                    <a:solidFill>
                      <a:srgbClr val="102B62"/>
                    </a:solidFill>
                    <a:latin typeface="Arial"/>
                  </a:endParaRPr>
                </a:p>
              </p:txBody>
            </p:sp>
          </p:grpSp>
          <p:grpSp>
            <p:nvGrpSpPr>
              <p:cNvPr id="32" name="Graphic 30">
                <a:extLst>
                  <a:ext uri="{FF2B5EF4-FFF2-40B4-BE49-F238E27FC236}">
                    <a16:creationId xmlns:a16="http://schemas.microsoft.com/office/drawing/2014/main" id="{96E2C543-E469-47E8-B803-7138E0C39D62}"/>
                  </a:ext>
                </a:extLst>
              </p:cNvPr>
              <p:cNvGrpSpPr/>
              <p:nvPr/>
            </p:nvGrpSpPr>
            <p:grpSpPr>
              <a:xfrm>
                <a:off x="6696350" y="2287691"/>
                <a:ext cx="638611" cy="638611"/>
                <a:chOff x="3514725" y="1514475"/>
                <a:chExt cx="2114550" cy="2114550"/>
              </a:xfrm>
              <a:solidFill>
                <a:srgbClr val="008CAC"/>
              </a:solidFill>
            </p:grpSpPr>
            <p:sp>
              <p:nvSpPr>
                <p:cNvPr id="33" name="Freeform: Shape 32">
                  <a:extLst>
                    <a:ext uri="{FF2B5EF4-FFF2-40B4-BE49-F238E27FC236}">
                      <a16:creationId xmlns:a16="http://schemas.microsoft.com/office/drawing/2014/main" id="{6982D9A9-B3FC-445E-B4A0-CCFCC123D6D0}"/>
                    </a:ext>
                  </a:extLst>
                </p:cNvPr>
                <p:cNvSpPr/>
                <p:nvPr/>
              </p:nvSpPr>
              <p:spPr>
                <a:xfrm>
                  <a:off x="3514701" y="1514475"/>
                  <a:ext cx="2116883" cy="2116836"/>
                </a:xfrm>
                <a:custGeom>
                  <a:avLst/>
                  <a:gdLst>
                    <a:gd name="connsiteX0" fmla="*/ 1058442 w 2116883"/>
                    <a:gd name="connsiteY0" fmla="*/ 95250 h 2116836"/>
                    <a:gd name="connsiteX1" fmla="*/ 1119116 w 2116883"/>
                    <a:gd name="connsiteY1" fmla="*/ 120110 h 2116836"/>
                    <a:gd name="connsiteX2" fmla="*/ 1996750 w 2116883"/>
                    <a:gd name="connsiteY2" fmla="*/ 997744 h 2116836"/>
                    <a:gd name="connsiteX3" fmla="*/ 2021610 w 2116883"/>
                    <a:gd name="connsiteY3" fmla="*/ 1058418 h 2116836"/>
                    <a:gd name="connsiteX4" fmla="*/ 1996750 w 2116883"/>
                    <a:gd name="connsiteY4" fmla="*/ 1119092 h 2116836"/>
                    <a:gd name="connsiteX5" fmla="*/ 1119116 w 2116883"/>
                    <a:gd name="connsiteY5" fmla="*/ 1996726 h 2116836"/>
                    <a:gd name="connsiteX6" fmla="*/ 1058442 w 2116883"/>
                    <a:gd name="connsiteY6" fmla="*/ 2021586 h 2116836"/>
                    <a:gd name="connsiteX7" fmla="*/ 997768 w 2116883"/>
                    <a:gd name="connsiteY7" fmla="*/ 1996726 h 2116836"/>
                    <a:gd name="connsiteX8" fmla="*/ 120134 w 2116883"/>
                    <a:gd name="connsiteY8" fmla="*/ 1119092 h 2116836"/>
                    <a:gd name="connsiteX9" fmla="*/ 120134 w 2116883"/>
                    <a:gd name="connsiteY9" fmla="*/ 997744 h 2116836"/>
                    <a:gd name="connsiteX10" fmla="*/ 997768 w 2116883"/>
                    <a:gd name="connsiteY10" fmla="*/ 120110 h 2116836"/>
                    <a:gd name="connsiteX11" fmla="*/ 1058442 w 2116883"/>
                    <a:gd name="connsiteY11" fmla="*/ 95250 h 2116836"/>
                    <a:gd name="connsiteX12" fmla="*/ 1058442 w 2116883"/>
                    <a:gd name="connsiteY12" fmla="*/ 0 h 2116836"/>
                    <a:gd name="connsiteX13" fmla="*/ 930426 w 2116883"/>
                    <a:gd name="connsiteY13" fmla="*/ 52769 h 2116836"/>
                    <a:gd name="connsiteX14" fmla="*/ 52792 w 2116883"/>
                    <a:gd name="connsiteY14" fmla="*/ 930402 h 2116836"/>
                    <a:gd name="connsiteX15" fmla="*/ 52792 w 2116883"/>
                    <a:gd name="connsiteY15" fmla="*/ 1186434 h 2116836"/>
                    <a:gd name="connsiteX16" fmla="*/ 930426 w 2116883"/>
                    <a:gd name="connsiteY16" fmla="*/ 2064068 h 2116836"/>
                    <a:gd name="connsiteX17" fmla="*/ 1058442 w 2116883"/>
                    <a:gd name="connsiteY17" fmla="*/ 2116836 h 2116836"/>
                    <a:gd name="connsiteX18" fmla="*/ 1186458 w 2116883"/>
                    <a:gd name="connsiteY18" fmla="*/ 2064068 h 2116836"/>
                    <a:gd name="connsiteX19" fmla="*/ 2064091 w 2116883"/>
                    <a:gd name="connsiteY19" fmla="*/ 1186434 h 2116836"/>
                    <a:gd name="connsiteX20" fmla="*/ 2064091 w 2116883"/>
                    <a:gd name="connsiteY20" fmla="*/ 930402 h 2116836"/>
                    <a:gd name="connsiteX21" fmla="*/ 1186458 w 2116883"/>
                    <a:gd name="connsiteY21" fmla="*/ 52769 h 2116836"/>
                    <a:gd name="connsiteX22" fmla="*/ 1058442 w 2116883"/>
                    <a:gd name="connsiteY22" fmla="*/ 0 h 2116836"/>
                    <a:gd name="connsiteX23" fmla="*/ 1058442 w 2116883"/>
                    <a:gd name="connsiteY23" fmla="*/ 0 h 21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16883" h="2116836">
                      <a:moveTo>
                        <a:pt x="1058442" y="95250"/>
                      </a:moveTo>
                      <a:cubicBezTo>
                        <a:pt x="1081492" y="95250"/>
                        <a:pt x="1103019" y="104108"/>
                        <a:pt x="1119116" y="120110"/>
                      </a:cubicBezTo>
                      <a:lnTo>
                        <a:pt x="1996750" y="997744"/>
                      </a:lnTo>
                      <a:cubicBezTo>
                        <a:pt x="2012847" y="1013841"/>
                        <a:pt x="2021610" y="1035368"/>
                        <a:pt x="2021610" y="1058418"/>
                      </a:cubicBezTo>
                      <a:cubicBezTo>
                        <a:pt x="2021610" y="1081469"/>
                        <a:pt x="2012752" y="1102995"/>
                        <a:pt x="1996750" y="1119092"/>
                      </a:cubicBezTo>
                      <a:lnTo>
                        <a:pt x="1119116" y="1996726"/>
                      </a:lnTo>
                      <a:cubicBezTo>
                        <a:pt x="1103019" y="2012823"/>
                        <a:pt x="1081492" y="2021586"/>
                        <a:pt x="1058442" y="2021586"/>
                      </a:cubicBezTo>
                      <a:cubicBezTo>
                        <a:pt x="1035391" y="2021586"/>
                        <a:pt x="1013865" y="2012728"/>
                        <a:pt x="997768" y="1996726"/>
                      </a:cubicBezTo>
                      <a:lnTo>
                        <a:pt x="120134" y="1119092"/>
                      </a:lnTo>
                      <a:cubicBezTo>
                        <a:pt x="86701" y="1085660"/>
                        <a:pt x="86701" y="1031272"/>
                        <a:pt x="120134" y="997744"/>
                      </a:cubicBezTo>
                      <a:lnTo>
                        <a:pt x="997768" y="120110"/>
                      </a:lnTo>
                      <a:cubicBezTo>
                        <a:pt x="1013865" y="104108"/>
                        <a:pt x="1035391" y="95250"/>
                        <a:pt x="1058442" y="95250"/>
                      </a:cubicBezTo>
                      <a:moveTo>
                        <a:pt x="1058442" y="0"/>
                      </a:moveTo>
                      <a:cubicBezTo>
                        <a:pt x="1012055" y="0"/>
                        <a:pt x="965668" y="17621"/>
                        <a:pt x="930426" y="52769"/>
                      </a:cubicBezTo>
                      <a:lnTo>
                        <a:pt x="52792" y="930402"/>
                      </a:lnTo>
                      <a:cubicBezTo>
                        <a:pt x="-17597" y="1000792"/>
                        <a:pt x="-17597" y="1116044"/>
                        <a:pt x="52792" y="1186434"/>
                      </a:cubicBezTo>
                      <a:lnTo>
                        <a:pt x="930426" y="2064068"/>
                      </a:lnTo>
                      <a:cubicBezTo>
                        <a:pt x="965668" y="2099310"/>
                        <a:pt x="1012055" y="2116836"/>
                        <a:pt x="1058442" y="2116836"/>
                      </a:cubicBezTo>
                      <a:cubicBezTo>
                        <a:pt x="1104829" y="2116836"/>
                        <a:pt x="1151215" y="2099215"/>
                        <a:pt x="1186458" y="2064068"/>
                      </a:cubicBezTo>
                      <a:lnTo>
                        <a:pt x="2064091" y="1186434"/>
                      </a:lnTo>
                      <a:cubicBezTo>
                        <a:pt x="2134481" y="1116044"/>
                        <a:pt x="2134481" y="1000792"/>
                        <a:pt x="2064091" y="930402"/>
                      </a:cubicBezTo>
                      <a:lnTo>
                        <a:pt x="1186458" y="52769"/>
                      </a:lnTo>
                      <a:cubicBezTo>
                        <a:pt x="1151311" y="17621"/>
                        <a:pt x="1104924" y="0"/>
                        <a:pt x="1058442" y="0"/>
                      </a:cubicBezTo>
                      <a:lnTo>
                        <a:pt x="1058442" y="0"/>
                      </a:ln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34" name="Freeform: Shape 33">
                  <a:extLst>
                    <a:ext uri="{FF2B5EF4-FFF2-40B4-BE49-F238E27FC236}">
                      <a16:creationId xmlns:a16="http://schemas.microsoft.com/office/drawing/2014/main" id="{F20743BD-0FD8-4F89-8DF6-CB81CA6A1653}"/>
                    </a:ext>
                  </a:extLst>
                </p:cNvPr>
                <p:cNvSpPr/>
                <p:nvPr/>
              </p:nvSpPr>
              <p:spPr>
                <a:xfrm>
                  <a:off x="4506372" y="2016537"/>
                  <a:ext cx="135635" cy="135635"/>
                </a:xfrm>
                <a:custGeom>
                  <a:avLst/>
                  <a:gdLst>
                    <a:gd name="connsiteX0" fmla="*/ 67818 w 135635"/>
                    <a:gd name="connsiteY0" fmla="*/ 0 h 135635"/>
                    <a:gd name="connsiteX1" fmla="*/ 0 w 135635"/>
                    <a:gd name="connsiteY1" fmla="*/ 67818 h 135635"/>
                    <a:gd name="connsiteX2" fmla="*/ 67818 w 135635"/>
                    <a:gd name="connsiteY2" fmla="*/ 135636 h 135635"/>
                    <a:gd name="connsiteX3" fmla="*/ 135636 w 135635"/>
                    <a:gd name="connsiteY3" fmla="*/ 67818 h 135635"/>
                    <a:gd name="connsiteX4" fmla="*/ 67818 w 135635"/>
                    <a:gd name="connsiteY4" fmla="*/ 0 h 135635"/>
                    <a:gd name="connsiteX5" fmla="*/ 67818 w 135635"/>
                    <a:gd name="connsiteY5" fmla="*/ 0 h 13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635" h="135635">
                      <a:moveTo>
                        <a:pt x="67818" y="0"/>
                      </a:moveTo>
                      <a:cubicBezTo>
                        <a:pt x="30385" y="0"/>
                        <a:pt x="0" y="30385"/>
                        <a:pt x="0" y="67818"/>
                      </a:cubicBezTo>
                      <a:cubicBezTo>
                        <a:pt x="0" y="105251"/>
                        <a:pt x="30385" y="135636"/>
                        <a:pt x="67818" y="135636"/>
                      </a:cubicBezTo>
                      <a:cubicBezTo>
                        <a:pt x="105251" y="135636"/>
                        <a:pt x="135636" y="105251"/>
                        <a:pt x="135636" y="67818"/>
                      </a:cubicBezTo>
                      <a:cubicBezTo>
                        <a:pt x="135636" y="30385"/>
                        <a:pt x="105346" y="0"/>
                        <a:pt x="67818" y="0"/>
                      </a:cubicBezTo>
                      <a:lnTo>
                        <a:pt x="67818" y="0"/>
                      </a:ln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35" name="Freeform: Shape 34">
                  <a:extLst>
                    <a:ext uri="{FF2B5EF4-FFF2-40B4-BE49-F238E27FC236}">
                      <a16:creationId xmlns:a16="http://schemas.microsoft.com/office/drawing/2014/main" id="{700E30AA-97D3-4399-9DE5-902EF856D0CC}"/>
                    </a:ext>
                  </a:extLst>
                </p:cNvPr>
                <p:cNvSpPr/>
                <p:nvPr/>
              </p:nvSpPr>
              <p:spPr>
                <a:xfrm>
                  <a:off x="4506372" y="2261901"/>
                  <a:ext cx="135635" cy="135635"/>
                </a:xfrm>
                <a:custGeom>
                  <a:avLst/>
                  <a:gdLst>
                    <a:gd name="connsiteX0" fmla="*/ 67818 w 135635"/>
                    <a:gd name="connsiteY0" fmla="*/ 0 h 135635"/>
                    <a:gd name="connsiteX1" fmla="*/ 0 w 135635"/>
                    <a:gd name="connsiteY1" fmla="*/ 67818 h 135635"/>
                    <a:gd name="connsiteX2" fmla="*/ 67818 w 135635"/>
                    <a:gd name="connsiteY2" fmla="*/ 135636 h 135635"/>
                    <a:gd name="connsiteX3" fmla="*/ 135636 w 135635"/>
                    <a:gd name="connsiteY3" fmla="*/ 67818 h 135635"/>
                    <a:gd name="connsiteX4" fmla="*/ 67818 w 135635"/>
                    <a:gd name="connsiteY4" fmla="*/ 0 h 135635"/>
                    <a:gd name="connsiteX5" fmla="*/ 67818 w 135635"/>
                    <a:gd name="connsiteY5" fmla="*/ 0 h 13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635" h="135635">
                      <a:moveTo>
                        <a:pt x="67818" y="0"/>
                      </a:moveTo>
                      <a:cubicBezTo>
                        <a:pt x="30385" y="0"/>
                        <a:pt x="0" y="30385"/>
                        <a:pt x="0" y="67818"/>
                      </a:cubicBezTo>
                      <a:cubicBezTo>
                        <a:pt x="0" y="105251"/>
                        <a:pt x="30385" y="135636"/>
                        <a:pt x="67818" y="135636"/>
                      </a:cubicBezTo>
                      <a:cubicBezTo>
                        <a:pt x="105251" y="135636"/>
                        <a:pt x="135636" y="105251"/>
                        <a:pt x="135636" y="67818"/>
                      </a:cubicBezTo>
                      <a:cubicBezTo>
                        <a:pt x="135636" y="30290"/>
                        <a:pt x="105346" y="0"/>
                        <a:pt x="67818" y="0"/>
                      </a:cubicBezTo>
                      <a:lnTo>
                        <a:pt x="67818" y="0"/>
                      </a:ln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36" name="Freeform: Shape 35">
                  <a:extLst>
                    <a:ext uri="{FF2B5EF4-FFF2-40B4-BE49-F238E27FC236}">
                      <a16:creationId xmlns:a16="http://schemas.microsoft.com/office/drawing/2014/main" id="{74A7172B-CB43-4848-A303-0301465FC67B}"/>
                    </a:ext>
                  </a:extLst>
                </p:cNvPr>
                <p:cNvSpPr/>
                <p:nvPr/>
              </p:nvSpPr>
              <p:spPr>
                <a:xfrm>
                  <a:off x="4262151" y="2261901"/>
                  <a:ext cx="135635" cy="135635"/>
                </a:xfrm>
                <a:custGeom>
                  <a:avLst/>
                  <a:gdLst>
                    <a:gd name="connsiteX0" fmla="*/ 67818 w 135635"/>
                    <a:gd name="connsiteY0" fmla="*/ 0 h 135635"/>
                    <a:gd name="connsiteX1" fmla="*/ 0 w 135635"/>
                    <a:gd name="connsiteY1" fmla="*/ 67818 h 135635"/>
                    <a:gd name="connsiteX2" fmla="*/ 67818 w 135635"/>
                    <a:gd name="connsiteY2" fmla="*/ 135636 h 135635"/>
                    <a:gd name="connsiteX3" fmla="*/ 135636 w 135635"/>
                    <a:gd name="connsiteY3" fmla="*/ 67818 h 135635"/>
                    <a:gd name="connsiteX4" fmla="*/ 67818 w 135635"/>
                    <a:gd name="connsiteY4" fmla="*/ 0 h 135635"/>
                    <a:gd name="connsiteX5" fmla="*/ 67818 w 135635"/>
                    <a:gd name="connsiteY5" fmla="*/ 0 h 13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635" h="135635">
                      <a:moveTo>
                        <a:pt x="67818" y="0"/>
                      </a:moveTo>
                      <a:cubicBezTo>
                        <a:pt x="30385" y="0"/>
                        <a:pt x="0" y="30385"/>
                        <a:pt x="0" y="67818"/>
                      </a:cubicBezTo>
                      <a:cubicBezTo>
                        <a:pt x="0" y="105251"/>
                        <a:pt x="30385" y="135636"/>
                        <a:pt x="67818" y="135636"/>
                      </a:cubicBezTo>
                      <a:cubicBezTo>
                        <a:pt x="105251" y="135636"/>
                        <a:pt x="135636" y="105251"/>
                        <a:pt x="135636" y="67818"/>
                      </a:cubicBezTo>
                      <a:cubicBezTo>
                        <a:pt x="135636" y="30290"/>
                        <a:pt x="105251" y="0"/>
                        <a:pt x="67818" y="0"/>
                      </a:cubicBezTo>
                      <a:lnTo>
                        <a:pt x="67818" y="0"/>
                      </a:ln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37" name="Freeform: Shape 36">
                  <a:extLst>
                    <a:ext uri="{FF2B5EF4-FFF2-40B4-BE49-F238E27FC236}">
                      <a16:creationId xmlns:a16="http://schemas.microsoft.com/office/drawing/2014/main" id="{D6087D5A-8CE8-4E3D-8D37-61F7DF1C0664}"/>
                    </a:ext>
                  </a:extLst>
                </p:cNvPr>
                <p:cNvSpPr/>
                <p:nvPr/>
              </p:nvSpPr>
              <p:spPr>
                <a:xfrm>
                  <a:off x="4747259" y="2263139"/>
                  <a:ext cx="135636" cy="135635"/>
                </a:xfrm>
                <a:custGeom>
                  <a:avLst/>
                  <a:gdLst>
                    <a:gd name="connsiteX0" fmla="*/ 67818 w 135636"/>
                    <a:gd name="connsiteY0" fmla="*/ 0 h 135635"/>
                    <a:gd name="connsiteX1" fmla="*/ 0 w 135636"/>
                    <a:gd name="connsiteY1" fmla="*/ 67818 h 135635"/>
                    <a:gd name="connsiteX2" fmla="*/ 67818 w 135636"/>
                    <a:gd name="connsiteY2" fmla="*/ 135636 h 135635"/>
                    <a:gd name="connsiteX3" fmla="*/ 135636 w 135636"/>
                    <a:gd name="connsiteY3" fmla="*/ 67818 h 135635"/>
                    <a:gd name="connsiteX4" fmla="*/ 67818 w 135636"/>
                    <a:gd name="connsiteY4" fmla="*/ 0 h 135635"/>
                    <a:gd name="connsiteX5" fmla="*/ 67818 w 135636"/>
                    <a:gd name="connsiteY5" fmla="*/ 0 h 13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636" h="135635">
                      <a:moveTo>
                        <a:pt x="67818" y="0"/>
                      </a:moveTo>
                      <a:cubicBezTo>
                        <a:pt x="30385" y="0"/>
                        <a:pt x="0" y="30385"/>
                        <a:pt x="0" y="67818"/>
                      </a:cubicBezTo>
                      <a:cubicBezTo>
                        <a:pt x="0" y="105251"/>
                        <a:pt x="30385" y="135636"/>
                        <a:pt x="67818" y="135636"/>
                      </a:cubicBezTo>
                      <a:cubicBezTo>
                        <a:pt x="105251" y="135636"/>
                        <a:pt x="135636" y="105251"/>
                        <a:pt x="135636" y="67818"/>
                      </a:cubicBezTo>
                      <a:cubicBezTo>
                        <a:pt x="135731" y="30385"/>
                        <a:pt x="105347" y="0"/>
                        <a:pt x="67818" y="0"/>
                      </a:cubicBezTo>
                      <a:lnTo>
                        <a:pt x="67818" y="0"/>
                      </a:ln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38" name="Freeform: Shape 37">
                  <a:extLst>
                    <a:ext uri="{FF2B5EF4-FFF2-40B4-BE49-F238E27FC236}">
                      <a16:creationId xmlns:a16="http://schemas.microsoft.com/office/drawing/2014/main" id="{A7BD933D-760C-4B2A-AFC2-F0FB5FC8FA31}"/>
                    </a:ext>
                  </a:extLst>
                </p:cNvPr>
                <p:cNvSpPr/>
                <p:nvPr/>
              </p:nvSpPr>
              <p:spPr>
                <a:xfrm>
                  <a:off x="4262151" y="2504503"/>
                  <a:ext cx="135635" cy="135635"/>
                </a:xfrm>
                <a:custGeom>
                  <a:avLst/>
                  <a:gdLst>
                    <a:gd name="connsiteX0" fmla="*/ 67818 w 135635"/>
                    <a:gd name="connsiteY0" fmla="*/ 0 h 135635"/>
                    <a:gd name="connsiteX1" fmla="*/ 0 w 135635"/>
                    <a:gd name="connsiteY1" fmla="*/ 67818 h 135635"/>
                    <a:gd name="connsiteX2" fmla="*/ 67818 w 135635"/>
                    <a:gd name="connsiteY2" fmla="*/ 135636 h 135635"/>
                    <a:gd name="connsiteX3" fmla="*/ 135636 w 135635"/>
                    <a:gd name="connsiteY3" fmla="*/ 67818 h 135635"/>
                    <a:gd name="connsiteX4" fmla="*/ 67818 w 135635"/>
                    <a:gd name="connsiteY4" fmla="*/ 0 h 135635"/>
                    <a:gd name="connsiteX5" fmla="*/ 67818 w 135635"/>
                    <a:gd name="connsiteY5" fmla="*/ 0 h 13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635" h="135635">
                      <a:moveTo>
                        <a:pt x="67818" y="0"/>
                      </a:moveTo>
                      <a:cubicBezTo>
                        <a:pt x="30385" y="0"/>
                        <a:pt x="0" y="30385"/>
                        <a:pt x="0" y="67818"/>
                      </a:cubicBezTo>
                      <a:cubicBezTo>
                        <a:pt x="0" y="105251"/>
                        <a:pt x="30385" y="135636"/>
                        <a:pt x="67818" y="135636"/>
                      </a:cubicBezTo>
                      <a:cubicBezTo>
                        <a:pt x="105251" y="135636"/>
                        <a:pt x="135636" y="105251"/>
                        <a:pt x="135636" y="67818"/>
                      </a:cubicBezTo>
                      <a:cubicBezTo>
                        <a:pt x="135636" y="30290"/>
                        <a:pt x="105251" y="0"/>
                        <a:pt x="67818" y="0"/>
                      </a:cubicBezTo>
                      <a:lnTo>
                        <a:pt x="67818" y="0"/>
                      </a:ln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39" name="Freeform: Shape 38">
                  <a:extLst>
                    <a:ext uri="{FF2B5EF4-FFF2-40B4-BE49-F238E27FC236}">
                      <a16:creationId xmlns:a16="http://schemas.microsoft.com/office/drawing/2014/main" id="{AF58FA86-A608-4A1F-8B18-4F578BC89A67}"/>
                    </a:ext>
                  </a:extLst>
                </p:cNvPr>
                <p:cNvSpPr/>
                <p:nvPr/>
              </p:nvSpPr>
              <p:spPr>
                <a:xfrm>
                  <a:off x="4747259" y="2505741"/>
                  <a:ext cx="135636" cy="135635"/>
                </a:xfrm>
                <a:custGeom>
                  <a:avLst/>
                  <a:gdLst>
                    <a:gd name="connsiteX0" fmla="*/ 67818 w 135636"/>
                    <a:gd name="connsiteY0" fmla="*/ 0 h 135635"/>
                    <a:gd name="connsiteX1" fmla="*/ 0 w 135636"/>
                    <a:gd name="connsiteY1" fmla="*/ 67818 h 135635"/>
                    <a:gd name="connsiteX2" fmla="*/ 67818 w 135636"/>
                    <a:gd name="connsiteY2" fmla="*/ 135636 h 135635"/>
                    <a:gd name="connsiteX3" fmla="*/ 135636 w 135636"/>
                    <a:gd name="connsiteY3" fmla="*/ 67818 h 135635"/>
                    <a:gd name="connsiteX4" fmla="*/ 67818 w 135636"/>
                    <a:gd name="connsiteY4" fmla="*/ 0 h 135635"/>
                    <a:gd name="connsiteX5" fmla="*/ 67818 w 135636"/>
                    <a:gd name="connsiteY5" fmla="*/ 0 h 13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636" h="135635">
                      <a:moveTo>
                        <a:pt x="67818" y="0"/>
                      </a:moveTo>
                      <a:cubicBezTo>
                        <a:pt x="30385" y="0"/>
                        <a:pt x="0" y="30385"/>
                        <a:pt x="0" y="67818"/>
                      </a:cubicBezTo>
                      <a:cubicBezTo>
                        <a:pt x="0" y="105251"/>
                        <a:pt x="30385" y="135636"/>
                        <a:pt x="67818" y="135636"/>
                      </a:cubicBezTo>
                      <a:cubicBezTo>
                        <a:pt x="105251" y="135636"/>
                        <a:pt x="135636" y="105251"/>
                        <a:pt x="135636" y="67818"/>
                      </a:cubicBezTo>
                      <a:cubicBezTo>
                        <a:pt x="135731" y="30385"/>
                        <a:pt x="105347" y="0"/>
                        <a:pt x="67818" y="0"/>
                      </a:cubicBezTo>
                      <a:lnTo>
                        <a:pt x="67818" y="0"/>
                      </a:ln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40" name="Freeform: Shape 39">
                  <a:extLst>
                    <a:ext uri="{FF2B5EF4-FFF2-40B4-BE49-F238E27FC236}">
                      <a16:creationId xmlns:a16="http://schemas.microsoft.com/office/drawing/2014/main" id="{1A32BBCC-5BD9-43BA-9B30-673308609CE4}"/>
                    </a:ext>
                  </a:extLst>
                </p:cNvPr>
                <p:cNvSpPr/>
                <p:nvPr/>
              </p:nvSpPr>
              <p:spPr>
                <a:xfrm>
                  <a:off x="4990052" y="2505741"/>
                  <a:ext cx="135636" cy="135635"/>
                </a:xfrm>
                <a:custGeom>
                  <a:avLst/>
                  <a:gdLst>
                    <a:gd name="connsiteX0" fmla="*/ 67818 w 135636"/>
                    <a:gd name="connsiteY0" fmla="*/ 0 h 135635"/>
                    <a:gd name="connsiteX1" fmla="*/ 0 w 135636"/>
                    <a:gd name="connsiteY1" fmla="*/ 67818 h 135635"/>
                    <a:gd name="connsiteX2" fmla="*/ 67818 w 135636"/>
                    <a:gd name="connsiteY2" fmla="*/ 135636 h 135635"/>
                    <a:gd name="connsiteX3" fmla="*/ 135636 w 135636"/>
                    <a:gd name="connsiteY3" fmla="*/ 67818 h 135635"/>
                    <a:gd name="connsiteX4" fmla="*/ 67818 w 135636"/>
                    <a:gd name="connsiteY4" fmla="*/ 0 h 135635"/>
                    <a:gd name="connsiteX5" fmla="*/ 67818 w 135636"/>
                    <a:gd name="connsiteY5" fmla="*/ 0 h 13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636" h="135635">
                      <a:moveTo>
                        <a:pt x="67818" y="0"/>
                      </a:moveTo>
                      <a:cubicBezTo>
                        <a:pt x="30385" y="0"/>
                        <a:pt x="0" y="30385"/>
                        <a:pt x="0" y="67818"/>
                      </a:cubicBezTo>
                      <a:cubicBezTo>
                        <a:pt x="0" y="105251"/>
                        <a:pt x="30385" y="135636"/>
                        <a:pt x="67818" y="135636"/>
                      </a:cubicBezTo>
                      <a:cubicBezTo>
                        <a:pt x="105251" y="135636"/>
                        <a:pt x="135636" y="105251"/>
                        <a:pt x="135636" y="67818"/>
                      </a:cubicBezTo>
                      <a:cubicBezTo>
                        <a:pt x="135636" y="30385"/>
                        <a:pt x="105251" y="0"/>
                        <a:pt x="67818" y="0"/>
                      </a:cubicBezTo>
                      <a:lnTo>
                        <a:pt x="67818" y="0"/>
                      </a:ln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41" name="Freeform: Shape 40">
                  <a:extLst>
                    <a:ext uri="{FF2B5EF4-FFF2-40B4-BE49-F238E27FC236}">
                      <a16:creationId xmlns:a16="http://schemas.microsoft.com/office/drawing/2014/main" id="{85849B27-FB36-4C4F-BB4C-63BC41E05A72}"/>
                    </a:ext>
                  </a:extLst>
                </p:cNvPr>
                <p:cNvSpPr/>
                <p:nvPr/>
              </p:nvSpPr>
              <p:spPr>
                <a:xfrm>
                  <a:off x="4024217" y="2505741"/>
                  <a:ext cx="135636" cy="135635"/>
                </a:xfrm>
                <a:custGeom>
                  <a:avLst/>
                  <a:gdLst>
                    <a:gd name="connsiteX0" fmla="*/ 67818 w 135636"/>
                    <a:gd name="connsiteY0" fmla="*/ 0 h 135635"/>
                    <a:gd name="connsiteX1" fmla="*/ 0 w 135636"/>
                    <a:gd name="connsiteY1" fmla="*/ 67818 h 135635"/>
                    <a:gd name="connsiteX2" fmla="*/ 67818 w 135636"/>
                    <a:gd name="connsiteY2" fmla="*/ 135636 h 135635"/>
                    <a:gd name="connsiteX3" fmla="*/ 135636 w 135636"/>
                    <a:gd name="connsiteY3" fmla="*/ 67818 h 135635"/>
                    <a:gd name="connsiteX4" fmla="*/ 67818 w 135636"/>
                    <a:gd name="connsiteY4" fmla="*/ 0 h 135635"/>
                    <a:gd name="connsiteX5" fmla="*/ 67818 w 135636"/>
                    <a:gd name="connsiteY5" fmla="*/ 0 h 13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636" h="135635">
                      <a:moveTo>
                        <a:pt x="67818" y="0"/>
                      </a:moveTo>
                      <a:cubicBezTo>
                        <a:pt x="30385" y="0"/>
                        <a:pt x="0" y="30385"/>
                        <a:pt x="0" y="67818"/>
                      </a:cubicBezTo>
                      <a:cubicBezTo>
                        <a:pt x="0" y="105251"/>
                        <a:pt x="30385" y="135636"/>
                        <a:pt x="67818" y="135636"/>
                      </a:cubicBezTo>
                      <a:cubicBezTo>
                        <a:pt x="105251" y="135636"/>
                        <a:pt x="135636" y="105251"/>
                        <a:pt x="135636" y="67818"/>
                      </a:cubicBezTo>
                      <a:cubicBezTo>
                        <a:pt x="135731" y="30385"/>
                        <a:pt x="105347" y="0"/>
                        <a:pt x="67818" y="0"/>
                      </a:cubicBezTo>
                      <a:lnTo>
                        <a:pt x="67818" y="0"/>
                      </a:ln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43" name="Freeform: Shape 42">
                  <a:extLst>
                    <a:ext uri="{FF2B5EF4-FFF2-40B4-BE49-F238E27FC236}">
                      <a16:creationId xmlns:a16="http://schemas.microsoft.com/office/drawing/2014/main" id="{4D1B400F-CD36-4DAD-B326-779D41AD7BE0}"/>
                    </a:ext>
                  </a:extLst>
                </p:cNvPr>
                <p:cNvSpPr/>
                <p:nvPr/>
              </p:nvSpPr>
              <p:spPr>
                <a:xfrm>
                  <a:off x="4262151" y="2747009"/>
                  <a:ext cx="135635" cy="135636"/>
                </a:xfrm>
                <a:custGeom>
                  <a:avLst/>
                  <a:gdLst>
                    <a:gd name="connsiteX0" fmla="*/ 67818 w 135635"/>
                    <a:gd name="connsiteY0" fmla="*/ 0 h 135636"/>
                    <a:gd name="connsiteX1" fmla="*/ 0 w 135635"/>
                    <a:gd name="connsiteY1" fmla="*/ 67818 h 135636"/>
                    <a:gd name="connsiteX2" fmla="*/ 67818 w 135635"/>
                    <a:gd name="connsiteY2" fmla="*/ 135636 h 135636"/>
                    <a:gd name="connsiteX3" fmla="*/ 135636 w 135635"/>
                    <a:gd name="connsiteY3" fmla="*/ 67818 h 135636"/>
                    <a:gd name="connsiteX4" fmla="*/ 67818 w 135635"/>
                    <a:gd name="connsiteY4" fmla="*/ 0 h 135636"/>
                    <a:gd name="connsiteX5" fmla="*/ 67818 w 135635"/>
                    <a:gd name="connsiteY5" fmla="*/ 0 h 135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635" h="135636">
                      <a:moveTo>
                        <a:pt x="67818" y="0"/>
                      </a:moveTo>
                      <a:cubicBezTo>
                        <a:pt x="30385" y="0"/>
                        <a:pt x="0" y="30385"/>
                        <a:pt x="0" y="67818"/>
                      </a:cubicBezTo>
                      <a:cubicBezTo>
                        <a:pt x="0" y="105251"/>
                        <a:pt x="30385" y="135636"/>
                        <a:pt x="67818" y="135636"/>
                      </a:cubicBezTo>
                      <a:cubicBezTo>
                        <a:pt x="105251" y="135636"/>
                        <a:pt x="135636" y="105251"/>
                        <a:pt x="135636" y="67818"/>
                      </a:cubicBezTo>
                      <a:cubicBezTo>
                        <a:pt x="135636" y="30385"/>
                        <a:pt x="105251" y="0"/>
                        <a:pt x="67818" y="0"/>
                      </a:cubicBezTo>
                      <a:lnTo>
                        <a:pt x="67818" y="0"/>
                      </a:ln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44" name="Freeform: Shape 43">
                  <a:extLst>
                    <a:ext uri="{FF2B5EF4-FFF2-40B4-BE49-F238E27FC236}">
                      <a16:creationId xmlns:a16="http://schemas.microsoft.com/office/drawing/2014/main" id="{7347A73C-EC78-40AC-92DE-9EFB44F61220}"/>
                    </a:ext>
                  </a:extLst>
                </p:cNvPr>
                <p:cNvSpPr/>
                <p:nvPr/>
              </p:nvSpPr>
              <p:spPr>
                <a:xfrm>
                  <a:off x="4747259" y="2748343"/>
                  <a:ext cx="135636" cy="135636"/>
                </a:xfrm>
                <a:custGeom>
                  <a:avLst/>
                  <a:gdLst>
                    <a:gd name="connsiteX0" fmla="*/ 67818 w 135636"/>
                    <a:gd name="connsiteY0" fmla="*/ 0 h 135636"/>
                    <a:gd name="connsiteX1" fmla="*/ 0 w 135636"/>
                    <a:gd name="connsiteY1" fmla="*/ 67818 h 135636"/>
                    <a:gd name="connsiteX2" fmla="*/ 67818 w 135636"/>
                    <a:gd name="connsiteY2" fmla="*/ 135636 h 135636"/>
                    <a:gd name="connsiteX3" fmla="*/ 135636 w 135636"/>
                    <a:gd name="connsiteY3" fmla="*/ 67818 h 135636"/>
                    <a:gd name="connsiteX4" fmla="*/ 67818 w 135636"/>
                    <a:gd name="connsiteY4" fmla="*/ 0 h 135636"/>
                    <a:gd name="connsiteX5" fmla="*/ 67818 w 135636"/>
                    <a:gd name="connsiteY5" fmla="*/ 0 h 135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636" h="135636">
                      <a:moveTo>
                        <a:pt x="67818" y="0"/>
                      </a:moveTo>
                      <a:cubicBezTo>
                        <a:pt x="30385" y="0"/>
                        <a:pt x="0" y="30385"/>
                        <a:pt x="0" y="67818"/>
                      </a:cubicBezTo>
                      <a:cubicBezTo>
                        <a:pt x="0" y="105251"/>
                        <a:pt x="30385" y="135636"/>
                        <a:pt x="67818" y="135636"/>
                      </a:cubicBezTo>
                      <a:cubicBezTo>
                        <a:pt x="105251" y="135636"/>
                        <a:pt x="135636" y="105251"/>
                        <a:pt x="135636" y="67818"/>
                      </a:cubicBezTo>
                      <a:cubicBezTo>
                        <a:pt x="135731" y="30385"/>
                        <a:pt x="105347" y="0"/>
                        <a:pt x="67818" y="0"/>
                      </a:cubicBezTo>
                      <a:lnTo>
                        <a:pt x="67818" y="0"/>
                      </a:ln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74" name="Freeform: Shape 73">
                  <a:extLst>
                    <a:ext uri="{FF2B5EF4-FFF2-40B4-BE49-F238E27FC236}">
                      <a16:creationId xmlns:a16="http://schemas.microsoft.com/office/drawing/2014/main" id="{34779C84-69D7-43CC-8204-48C534B41AE5}"/>
                    </a:ext>
                  </a:extLst>
                </p:cNvPr>
                <p:cNvSpPr/>
                <p:nvPr/>
              </p:nvSpPr>
              <p:spPr>
                <a:xfrm>
                  <a:off x="4385691" y="2138552"/>
                  <a:ext cx="135635" cy="135636"/>
                </a:xfrm>
                <a:custGeom>
                  <a:avLst/>
                  <a:gdLst>
                    <a:gd name="connsiteX0" fmla="*/ 67818 w 135635"/>
                    <a:gd name="connsiteY0" fmla="*/ 0 h 135636"/>
                    <a:gd name="connsiteX1" fmla="*/ 0 w 135635"/>
                    <a:gd name="connsiteY1" fmla="*/ 67818 h 135636"/>
                    <a:gd name="connsiteX2" fmla="*/ 67818 w 135635"/>
                    <a:gd name="connsiteY2" fmla="*/ 135636 h 135636"/>
                    <a:gd name="connsiteX3" fmla="*/ 135636 w 135635"/>
                    <a:gd name="connsiteY3" fmla="*/ 67818 h 135636"/>
                    <a:gd name="connsiteX4" fmla="*/ 67818 w 135635"/>
                    <a:gd name="connsiteY4" fmla="*/ 0 h 135636"/>
                    <a:gd name="connsiteX5" fmla="*/ 67818 w 135635"/>
                    <a:gd name="connsiteY5" fmla="*/ 0 h 135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635" h="135636">
                      <a:moveTo>
                        <a:pt x="67818" y="0"/>
                      </a:moveTo>
                      <a:cubicBezTo>
                        <a:pt x="30385" y="0"/>
                        <a:pt x="0" y="30385"/>
                        <a:pt x="0" y="67818"/>
                      </a:cubicBezTo>
                      <a:cubicBezTo>
                        <a:pt x="0" y="105251"/>
                        <a:pt x="30385" y="135636"/>
                        <a:pt x="67818" y="135636"/>
                      </a:cubicBezTo>
                      <a:cubicBezTo>
                        <a:pt x="105251" y="135636"/>
                        <a:pt x="135636" y="105251"/>
                        <a:pt x="135636" y="67818"/>
                      </a:cubicBezTo>
                      <a:cubicBezTo>
                        <a:pt x="135636" y="30385"/>
                        <a:pt x="105251" y="0"/>
                        <a:pt x="67818" y="0"/>
                      </a:cubicBezTo>
                      <a:lnTo>
                        <a:pt x="67818" y="0"/>
                      </a:ln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75" name="Freeform: Shape 74">
                  <a:extLst>
                    <a:ext uri="{FF2B5EF4-FFF2-40B4-BE49-F238E27FC236}">
                      <a16:creationId xmlns:a16="http://schemas.microsoft.com/office/drawing/2014/main" id="{2E5930C0-B03F-487E-B2AF-35F263A5CDF9}"/>
                    </a:ext>
                  </a:extLst>
                </p:cNvPr>
                <p:cNvSpPr/>
                <p:nvPr/>
              </p:nvSpPr>
              <p:spPr>
                <a:xfrm>
                  <a:off x="4623244" y="2138552"/>
                  <a:ext cx="135635" cy="135636"/>
                </a:xfrm>
                <a:custGeom>
                  <a:avLst/>
                  <a:gdLst>
                    <a:gd name="connsiteX0" fmla="*/ 67818 w 135635"/>
                    <a:gd name="connsiteY0" fmla="*/ 0 h 135636"/>
                    <a:gd name="connsiteX1" fmla="*/ 0 w 135635"/>
                    <a:gd name="connsiteY1" fmla="*/ 67818 h 135636"/>
                    <a:gd name="connsiteX2" fmla="*/ 67818 w 135635"/>
                    <a:gd name="connsiteY2" fmla="*/ 135636 h 135636"/>
                    <a:gd name="connsiteX3" fmla="*/ 135636 w 135635"/>
                    <a:gd name="connsiteY3" fmla="*/ 67818 h 135636"/>
                    <a:gd name="connsiteX4" fmla="*/ 67818 w 135635"/>
                    <a:gd name="connsiteY4" fmla="*/ 0 h 135636"/>
                    <a:gd name="connsiteX5" fmla="*/ 67818 w 135635"/>
                    <a:gd name="connsiteY5" fmla="*/ 0 h 135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635" h="135636">
                      <a:moveTo>
                        <a:pt x="67818" y="0"/>
                      </a:moveTo>
                      <a:cubicBezTo>
                        <a:pt x="30385" y="0"/>
                        <a:pt x="0" y="30385"/>
                        <a:pt x="0" y="67818"/>
                      </a:cubicBezTo>
                      <a:cubicBezTo>
                        <a:pt x="0" y="105251"/>
                        <a:pt x="30385" y="135636"/>
                        <a:pt x="67818" y="135636"/>
                      </a:cubicBezTo>
                      <a:cubicBezTo>
                        <a:pt x="105251" y="135636"/>
                        <a:pt x="135636" y="105251"/>
                        <a:pt x="135636" y="67818"/>
                      </a:cubicBezTo>
                      <a:cubicBezTo>
                        <a:pt x="135636" y="30385"/>
                        <a:pt x="105347" y="0"/>
                        <a:pt x="67818" y="0"/>
                      </a:cubicBezTo>
                      <a:lnTo>
                        <a:pt x="67818" y="0"/>
                      </a:ln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76" name="Freeform: Shape 75">
                  <a:extLst>
                    <a:ext uri="{FF2B5EF4-FFF2-40B4-BE49-F238E27FC236}">
                      <a16:creationId xmlns:a16="http://schemas.microsoft.com/office/drawing/2014/main" id="{6046CB13-541C-4B8B-B41A-D1D81E6763BB}"/>
                    </a:ext>
                  </a:extLst>
                </p:cNvPr>
                <p:cNvSpPr/>
                <p:nvPr/>
              </p:nvSpPr>
              <p:spPr>
                <a:xfrm>
                  <a:off x="4385691" y="2384488"/>
                  <a:ext cx="135635" cy="135636"/>
                </a:xfrm>
                <a:custGeom>
                  <a:avLst/>
                  <a:gdLst>
                    <a:gd name="connsiteX0" fmla="*/ 67818 w 135635"/>
                    <a:gd name="connsiteY0" fmla="*/ 0 h 135636"/>
                    <a:gd name="connsiteX1" fmla="*/ 0 w 135635"/>
                    <a:gd name="connsiteY1" fmla="*/ 67818 h 135636"/>
                    <a:gd name="connsiteX2" fmla="*/ 67818 w 135635"/>
                    <a:gd name="connsiteY2" fmla="*/ 135636 h 135636"/>
                    <a:gd name="connsiteX3" fmla="*/ 135636 w 135635"/>
                    <a:gd name="connsiteY3" fmla="*/ 67818 h 135636"/>
                    <a:gd name="connsiteX4" fmla="*/ 67818 w 135635"/>
                    <a:gd name="connsiteY4" fmla="*/ 0 h 135636"/>
                    <a:gd name="connsiteX5" fmla="*/ 67818 w 135635"/>
                    <a:gd name="connsiteY5" fmla="*/ 0 h 135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635" h="135636">
                      <a:moveTo>
                        <a:pt x="67818" y="0"/>
                      </a:moveTo>
                      <a:cubicBezTo>
                        <a:pt x="30385" y="0"/>
                        <a:pt x="0" y="30385"/>
                        <a:pt x="0" y="67818"/>
                      </a:cubicBezTo>
                      <a:cubicBezTo>
                        <a:pt x="0" y="105251"/>
                        <a:pt x="30385" y="135636"/>
                        <a:pt x="67818" y="135636"/>
                      </a:cubicBezTo>
                      <a:cubicBezTo>
                        <a:pt x="105251" y="135636"/>
                        <a:pt x="135636" y="105251"/>
                        <a:pt x="135636" y="67818"/>
                      </a:cubicBezTo>
                      <a:cubicBezTo>
                        <a:pt x="135636" y="30385"/>
                        <a:pt x="105251" y="0"/>
                        <a:pt x="67818" y="0"/>
                      </a:cubicBezTo>
                      <a:lnTo>
                        <a:pt x="67818" y="0"/>
                      </a:ln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77" name="Freeform: Shape 76">
                  <a:extLst>
                    <a:ext uri="{FF2B5EF4-FFF2-40B4-BE49-F238E27FC236}">
                      <a16:creationId xmlns:a16="http://schemas.microsoft.com/office/drawing/2014/main" id="{43E29B6F-AAB1-4520-AC3A-6C1457975FA7}"/>
                    </a:ext>
                  </a:extLst>
                </p:cNvPr>
                <p:cNvSpPr/>
                <p:nvPr/>
              </p:nvSpPr>
              <p:spPr>
                <a:xfrm>
                  <a:off x="4144232" y="2384488"/>
                  <a:ext cx="135636" cy="135636"/>
                </a:xfrm>
                <a:custGeom>
                  <a:avLst/>
                  <a:gdLst>
                    <a:gd name="connsiteX0" fmla="*/ 67818 w 135636"/>
                    <a:gd name="connsiteY0" fmla="*/ 0 h 135636"/>
                    <a:gd name="connsiteX1" fmla="*/ 0 w 135636"/>
                    <a:gd name="connsiteY1" fmla="*/ 67818 h 135636"/>
                    <a:gd name="connsiteX2" fmla="*/ 67818 w 135636"/>
                    <a:gd name="connsiteY2" fmla="*/ 135636 h 135636"/>
                    <a:gd name="connsiteX3" fmla="*/ 135636 w 135636"/>
                    <a:gd name="connsiteY3" fmla="*/ 67818 h 135636"/>
                    <a:gd name="connsiteX4" fmla="*/ 67818 w 135636"/>
                    <a:gd name="connsiteY4" fmla="*/ 0 h 135636"/>
                    <a:gd name="connsiteX5" fmla="*/ 67818 w 135636"/>
                    <a:gd name="connsiteY5" fmla="*/ 0 h 135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636" h="135636">
                      <a:moveTo>
                        <a:pt x="67818" y="0"/>
                      </a:moveTo>
                      <a:cubicBezTo>
                        <a:pt x="30385" y="0"/>
                        <a:pt x="0" y="30385"/>
                        <a:pt x="0" y="67818"/>
                      </a:cubicBezTo>
                      <a:cubicBezTo>
                        <a:pt x="0" y="105251"/>
                        <a:pt x="30385" y="135636"/>
                        <a:pt x="67818" y="135636"/>
                      </a:cubicBezTo>
                      <a:cubicBezTo>
                        <a:pt x="105251" y="135636"/>
                        <a:pt x="135636" y="105251"/>
                        <a:pt x="135636" y="67818"/>
                      </a:cubicBezTo>
                      <a:cubicBezTo>
                        <a:pt x="135636" y="30385"/>
                        <a:pt x="105251" y="0"/>
                        <a:pt x="67818" y="0"/>
                      </a:cubicBezTo>
                      <a:lnTo>
                        <a:pt x="67818" y="0"/>
                      </a:ln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87" name="Freeform: Shape 86">
                  <a:extLst>
                    <a:ext uri="{FF2B5EF4-FFF2-40B4-BE49-F238E27FC236}">
                      <a16:creationId xmlns:a16="http://schemas.microsoft.com/office/drawing/2014/main" id="{683C7C51-3504-4B57-874D-A82E0512CF77}"/>
                    </a:ext>
                  </a:extLst>
                </p:cNvPr>
                <p:cNvSpPr/>
                <p:nvPr/>
              </p:nvSpPr>
              <p:spPr>
                <a:xfrm>
                  <a:off x="4623244" y="2384488"/>
                  <a:ext cx="135635" cy="135636"/>
                </a:xfrm>
                <a:custGeom>
                  <a:avLst/>
                  <a:gdLst>
                    <a:gd name="connsiteX0" fmla="*/ 67818 w 135635"/>
                    <a:gd name="connsiteY0" fmla="*/ 0 h 135636"/>
                    <a:gd name="connsiteX1" fmla="*/ 0 w 135635"/>
                    <a:gd name="connsiteY1" fmla="*/ 67818 h 135636"/>
                    <a:gd name="connsiteX2" fmla="*/ 67818 w 135635"/>
                    <a:gd name="connsiteY2" fmla="*/ 135636 h 135636"/>
                    <a:gd name="connsiteX3" fmla="*/ 135636 w 135635"/>
                    <a:gd name="connsiteY3" fmla="*/ 67818 h 135636"/>
                    <a:gd name="connsiteX4" fmla="*/ 67818 w 135635"/>
                    <a:gd name="connsiteY4" fmla="*/ 0 h 135636"/>
                    <a:gd name="connsiteX5" fmla="*/ 67818 w 135635"/>
                    <a:gd name="connsiteY5" fmla="*/ 0 h 135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635" h="135636">
                      <a:moveTo>
                        <a:pt x="67818" y="0"/>
                      </a:moveTo>
                      <a:cubicBezTo>
                        <a:pt x="30385" y="0"/>
                        <a:pt x="0" y="30385"/>
                        <a:pt x="0" y="67818"/>
                      </a:cubicBezTo>
                      <a:cubicBezTo>
                        <a:pt x="0" y="105251"/>
                        <a:pt x="30385" y="135636"/>
                        <a:pt x="67818" y="135636"/>
                      </a:cubicBezTo>
                      <a:cubicBezTo>
                        <a:pt x="105251" y="135636"/>
                        <a:pt x="135636" y="105251"/>
                        <a:pt x="135636" y="67818"/>
                      </a:cubicBezTo>
                      <a:cubicBezTo>
                        <a:pt x="135636" y="30385"/>
                        <a:pt x="105347" y="0"/>
                        <a:pt x="67818" y="0"/>
                      </a:cubicBezTo>
                      <a:lnTo>
                        <a:pt x="67818" y="0"/>
                      </a:ln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88" name="Freeform: Shape 87">
                  <a:extLst>
                    <a:ext uri="{FF2B5EF4-FFF2-40B4-BE49-F238E27FC236}">
                      <a16:creationId xmlns:a16="http://schemas.microsoft.com/office/drawing/2014/main" id="{B4FB6BC9-5237-4A22-B195-2E5F6CC52201}"/>
                    </a:ext>
                  </a:extLst>
                </p:cNvPr>
                <p:cNvSpPr/>
                <p:nvPr/>
              </p:nvSpPr>
              <p:spPr>
                <a:xfrm>
                  <a:off x="4867941" y="2384488"/>
                  <a:ext cx="135635" cy="135636"/>
                </a:xfrm>
                <a:custGeom>
                  <a:avLst/>
                  <a:gdLst>
                    <a:gd name="connsiteX0" fmla="*/ 67818 w 135635"/>
                    <a:gd name="connsiteY0" fmla="*/ 0 h 135636"/>
                    <a:gd name="connsiteX1" fmla="*/ 0 w 135635"/>
                    <a:gd name="connsiteY1" fmla="*/ 67818 h 135636"/>
                    <a:gd name="connsiteX2" fmla="*/ 67818 w 135635"/>
                    <a:gd name="connsiteY2" fmla="*/ 135636 h 135636"/>
                    <a:gd name="connsiteX3" fmla="*/ 135636 w 135635"/>
                    <a:gd name="connsiteY3" fmla="*/ 67818 h 135636"/>
                    <a:gd name="connsiteX4" fmla="*/ 67818 w 135635"/>
                    <a:gd name="connsiteY4" fmla="*/ 0 h 135636"/>
                    <a:gd name="connsiteX5" fmla="*/ 67818 w 135635"/>
                    <a:gd name="connsiteY5" fmla="*/ 0 h 135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635" h="135636">
                      <a:moveTo>
                        <a:pt x="67818" y="0"/>
                      </a:moveTo>
                      <a:cubicBezTo>
                        <a:pt x="30385" y="0"/>
                        <a:pt x="0" y="30385"/>
                        <a:pt x="0" y="67818"/>
                      </a:cubicBezTo>
                      <a:cubicBezTo>
                        <a:pt x="0" y="105251"/>
                        <a:pt x="30385" y="135636"/>
                        <a:pt x="67818" y="135636"/>
                      </a:cubicBezTo>
                      <a:cubicBezTo>
                        <a:pt x="105251" y="135636"/>
                        <a:pt x="135636" y="105251"/>
                        <a:pt x="135636" y="67818"/>
                      </a:cubicBezTo>
                      <a:cubicBezTo>
                        <a:pt x="135636" y="30385"/>
                        <a:pt x="105251" y="0"/>
                        <a:pt x="67818" y="0"/>
                      </a:cubicBezTo>
                      <a:lnTo>
                        <a:pt x="67818" y="0"/>
                      </a:ln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89" name="Freeform: Shape 88">
                  <a:extLst>
                    <a:ext uri="{FF2B5EF4-FFF2-40B4-BE49-F238E27FC236}">
                      <a16:creationId xmlns:a16="http://schemas.microsoft.com/office/drawing/2014/main" id="{2225C79D-0C9D-4C9D-9C76-7949308DCC72}"/>
                    </a:ext>
                  </a:extLst>
                </p:cNvPr>
                <p:cNvSpPr/>
                <p:nvPr/>
              </p:nvSpPr>
              <p:spPr>
                <a:xfrm>
                  <a:off x="4144232" y="2630424"/>
                  <a:ext cx="135636" cy="135635"/>
                </a:xfrm>
                <a:custGeom>
                  <a:avLst/>
                  <a:gdLst>
                    <a:gd name="connsiteX0" fmla="*/ 67818 w 135636"/>
                    <a:gd name="connsiteY0" fmla="*/ 0 h 135635"/>
                    <a:gd name="connsiteX1" fmla="*/ 0 w 135636"/>
                    <a:gd name="connsiteY1" fmla="*/ 67818 h 135635"/>
                    <a:gd name="connsiteX2" fmla="*/ 67818 w 135636"/>
                    <a:gd name="connsiteY2" fmla="*/ 135636 h 135635"/>
                    <a:gd name="connsiteX3" fmla="*/ 135636 w 135636"/>
                    <a:gd name="connsiteY3" fmla="*/ 67818 h 135635"/>
                    <a:gd name="connsiteX4" fmla="*/ 67818 w 135636"/>
                    <a:gd name="connsiteY4" fmla="*/ 0 h 135635"/>
                    <a:gd name="connsiteX5" fmla="*/ 67818 w 135636"/>
                    <a:gd name="connsiteY5" fmla="*/ 0 h 13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636" h="135635">
                      <a:moveTo>
                        <a:pt x="67818" y="0"/>
                      </a:moveTo>
                      <a:cubicBezTo>
                        <a:pt x="30385" y="0"/>
                        <a:pt x="0" y="30385"/>
                        <a:pt x="0" y="67818"/>
                      </a:cubicBezTo>
                      <a:cubicBezTo>
                        <a:pt x="0" y="105251"/>
                        <a:pt x="30385" y="135636"/>
                        <a:pt x="67818" y="135636"/>
                      </a:cubicBezTo>
                      <a:cubicBezTo>
                        <a:pt x="105251" y="135636"/>
                        <a:pt x="135636" y="105251"/>
                        <a:pt x="135636" y="67818"/>
                      </a:cubicBezTo>
                      <a:cubicBezTo>
                        <a:pt x="135636" y="30385"/>
                        <a:pt x="105251" y="0"/>
                        <a:pt x="67818" y="0"/>
                      </a:cubicBezTo>
                      <a:lnTo>
                        <a:pt x="67818" y="0"/>
                      </a:ln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90" name="Freeform: Shape 89">
                  <a:extLst>
                    <a:ext uri="{FF2B5EF4-FFF2-40B4-BE49-F238E27FC236}">
                      <a16:creationId xmlns:a16="http://schemas.microsoft.com/office/drawing/2014/main" id="{9B012479-BA15-4D3B-AEAC-FFB37CB3DC78}"/>
                    </a:ext>
                  </a:extLst>
                </p:cNvPr>
                <p:cNvSpPr/>
                <p:nvPr/>
              </p:nvSpPr>
              <p:spPr>
                <a:xfrm>
                  <a:off x="4867941" y="2630424"/>
                  <a:ext cx="135635" cy="135635"/>
                </a:xfrm>
                <a:custGeom>
                  <a:avLst/>
                  <a:gdLst>
                    <a:gd name="connsiteX0" fmla="*/ 67818 w 135635"/>
                    <a:gd name="connsiteY0" fmla="*/ 0 h 135635"/>
                    <a:gd name="connsiteX1" fmla="*/ 0 w 135635"/>
                    <a:gd name="connsiteY1" fmla="*/ 67818 h 135635"/>
                    <a:gd name="connsiteX2" fmla="*/ 67818 w 135635"/>
                    <a:gd name="connsiteY2" fmla="*/ 135636 h 135635"/>
                    <a:gd name="connsiteX3" fmla="*/ 135636 w 135635"/>
                    <a:gd name="connsiteY3" fmla="*/ 67818 h 135635"/>
                    <a:gd name="connsiteX4" fmla="*/ 67818 w 135635"/>
                    <a:gd name="connsiteY4" fmla="*/ 0 h 135635"/>
                    <a:gd name="connsiteX5" fmla="*/ 67818 w 135635"/>
                    <a:gd name="connsiteY5" fmla="*/ 0 h 13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635" h="135635">
                      <a:moveTo>
                        <a:pt x="67818" y="0"/>
                      </a:moveTo>
                      <a:cubicBezTo>
                        <a:pt x="30385" y="0"/>
                        <a:pt x="0" y="30385"/>
                        <a:pt x="0" y="67818"/>
                      </a:cubicBezTo>
                      <a:cubicBezTo>
                        <a:pt x="0" y="105251"/>
                        <a:pt x="30385" y="135636"/>
                        <a:pt x="67818" y="135636"/>
                      </a:cubicBezTo>
                      <a:cubicBezTo>
                        <a:pt x="105251" y="135636"/>
                        <a:pt x="135636" y="105251"/>
                        <a:pt x="135636" y="67818"/>
                      </a:cubicBezTo>
                      <a:cubicBezTo>
                        <a:pt x="135636" y="30385"/>
                        <a:pt x="105251" y="0"/>
                        <a:pt x="67818" y="0"/>
                      </a:cubicBezTo>
                      <a:lnTo>
                        <a:pt x="67818" y="0"/>
                      </a:ln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91" name="Freeform: Shape 90">
                  <a:extLst>
                    <a:ext uri="{FF2B5EF4-FFF2-40B4-BE49-F238E27FC236}">
                      <a16:creationId xmlns:a16="http://schemas.microsoft.com/office/drawing/2014/main" id="{358F6A16-7EC4-4D1C-B8F1-86718D7537A1}"/>
                    </a:ext>
                  </a:extLst>
                </p:cNvPr>
                <p:cNvSpPr/>
                <p:nvPr/>
              </p:nvSpPr>
              <p:spPr>
                <a:xfrm>
                  <a:off x="4385691" y="2630424"/>
                  <a:ext cx="135635" cy="135635"/>
                </a:xfrm>
                <a:custGeom>
                  <a:avLst/>
                  <a:gdLst>
                    <a:gd name="connsiteX0" fmla="*/ 67818 w 135635"/>
                    <a:gd name="connsiteY0" fmla="*/ 0 h 135635"/>
                    <a:gd name="connsiteX1" fmla="*/ 0 w 135635"/>
                    <a:gd name="connsiteY1" fmla="*/ 67818 h 135635"/>
                    <a:gd name="connsiteX2" fmla="*/ 67818 w 135635"/>
                    <a:gd name="connsiteY2" fmla="*/ 135636 h 135635"/>
                    <a:gd name="connsiteX3" fmla="*/ 135636 w 135635"/>
                    <a:gd name="connsiteY3" fmla="*/ 67818 h 135635"/>
                    <a:gd name="connsiteX4" fmla="*/ 67818 w 135635"/>
                    <a:gd name="connsiteY4" fmla="*/ 0 h 135635"/>
                    <a:gd name="connsiteX5" fmla="*/ 67818 w 135635"/>
                    <a:gd name="connsiteY5" fmla="*/ 0 h 13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635" h="135635">
                      <a:moveTo>
                        <a:pt x="67818" y="0"/>
                      </a:moveTo>
                      <a:cubicBezTo>
                        <a:pt x="30385" y="0"/>
                        <a:pt x="0" y="30385"/>
                        <a:pt x="0" y="67818"/>
                      </a:cubicBezTo>
                      <a:cubicBezTo>
                        <a:pt x="0" y="105251"/>
                        <a:pt x="30385" y="135636"/>
                        <a:pt x="67818" y="135636"/>
                      </a:cubicBezTo>
                      <a:cubicBezTo>
                        <a:pt x="105251" y="135636"/>
                        <a:pt x="135636" y="105251"/>
                        <a:pt x="135636" y="67818"/>
                      </a:cubicBezTo>
                      <a:cubicBezTo>
                        <a:pt x="135636" y="30385"/>
                        <a:pt x="105251" y="0"/>
                        <a:pt x="67818" y="0"/>
                      </a:cubicBezTo>
                      <a:lnTo>
                        <a:pt x="67818" y="0"/>
                      </a:ln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99" name="Freeform: Shape 98">
                  <a:extLst>
                    <a:ext uri="{FF2B5EF4-FFF2-40B4-BE49-F238E27FC236}">
                      <a16:creationId xmlns:a16="http://schemas.microsoft.com/office/drawing/2014/main" id="{B30B52F5-1DE1-43D1-A929-2C1EC9C7F185}"/>
                    </a:ext>
                  </a:extLst>
                </p:cNvPr>
                <p:cNvSpPr/>
                <p:nvPr/>
              </p:nvSpPr>
              <p:spPr>
                <a:xfrm>
                  <a:off x="4623244" y="2630424"/>
                  <a:ext cx="135635" cy="135635"/>
                </a:xfrm>
                <a:custGeom>
                  <a:avLst/>
                  <a:gdLst>
                    <a:gd name="connsiteX0" fmla="*/ 67818 w 135635"/>
                    <a:gd name="connsiteY0" fmla="*/ 0 h 135635"/>
                    <a:gd name="connsiteX1" fmla="*/ 0 w 135635"/>
                    <a:gd name="connsiteY1" fmla="*/ 67818 h 135635"/>
                    <a:gd name="connsiteX2" fmla="*/ 67818 w 135635"/>
                    <a:gd name="connsiteY2" fmla="*/ 135636 h 135635"/>
                    <a:gd name="connsiteX3" fmla="*/ 135636 w 135635"/>
                    <a:gd name="connsiteY3" fmla="*/ 67818 h 135635"/>
                    <a:gd name="connsiteX4" fmla="*/ 67818 w 135635"/>
                    <a:gd name="connsiteY4" fmla="*/ 0 h 135635"/>
                    <a:gd name="connsiteX5" fmla="*/ 67818 w 135635"/>
                    <a:gd name="connsiteY5" fmla="*/ 0 h 13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635" h="135635">
                      <a:moveTo>
                        <a:pt x="67818" y="0"/>
                      </a:moveTo>
                      <a:cubicBezTo>
                        <a:pt x="30385" y="0"/>
                        <a:pt x="0" y="30385"/>
                        <a:pt x="0" y="67818"/>
                      </a:cubicBezTo>
                      <a:cubicBezTo>
                        <a:pt x="0" y="105251"/>
                        <a:pt x="30385" y="135636"/>
                        <a:pt x="67818" y="135636"/>
                      </a:cubicBezTo>
                      <a:cubicBezTo>
                        <a:pt x="105251" y="135636"/>
                        <a:pt x="135636" y="105251"/>
                        <a:pt x="135636" y="67818"/>
                      </a:cubicBezTo>
                      <a:cubicBezTo>
                        <a:pt x="135636" y="30385"/>
                        <a:pt x="105347" y="0"/>
                        <a:pt x="67818" y="0"/>
                      </a:cubicBezTo>
                      <a:lnTo>
                        <a:pt x="67818" y="0"/>
                      </a:ln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100" name="Freeform: Shape 99">
                  <a:extLst>
                    <a:ext uri="{FF2B5EF4-FFF2-40B4-BE49-F238E27FC236}">
                      <a16:creationId xmlns:a16="http://schemas.microsoft.com/office/drawing/2014/main" id="{A0E622D3-7580-4B65-BF25-3EEA77DCDCAB}"/>
                    </a:ext>
                  </a:extLst>
                </p:cNvPr>
                <p:cNvSpPr/>
                <p:nvPr/>
              </p:nvSpPr>
              <p:spPr>
                <a:xfrm>
                  <a:off x="4385691" y="2876359"/>
                  <a:ext cx="135635" cy="135636"/>
                </a:xfrm>
                <a:custGeom>
                  <a:avLst/>
                  <a:gdLst>
                    <a:gd name="connsiteX0" fmla="*/ 67818 w 135635"/>
                    <a:gd name="connsiteY0" fmla="*/ 0 h 135636"/>
                    <a:gd name="connsiteX1" fmla="*/ 0 w 135635"/>
                    <a:gd name="connsiteY1" fmla="*/ 67818 h 135636"/>
                    <a:gd name="connsiteX2" fmla="*/ 67818 w 135635"/>
                    <a:gd name="connsiteY2" fmla="*/ 135636 h 135636"/>
                    <a:gd name="connsiteX3" fmla="*/ 135636 w 135635"/>
                    <a:gd name="connsiteY3" fmla="*/ 67818 h 135636"/>
                    <a:gd name="connsiteX4" fmla="*/ 67818 w 135635"/>
                    <a:gd name="connsiteY4" fmla="*/ 0 h 135636"/>
                    <a:gd name="connsiteX5" fmla="*/ 67818 w 135635"/>
                    <a:gd name="connsiteY5" fmla="*/ 0 h 135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635" h="135636">
                      <a:moveTo>
                        <a:pt x="67818" y="0"/>
                      </a:moveTo>
                      <a:cubicBezTo>
                        <a:pt x="30385" y="0"/>
                        <a:pt x="0" y="30385"/>
                        <a:pt x="0" y="67818"/>
                      </a:cubicBezTo>
                      <a:cubicBezTo>
                        <a:pt x="0" y="105251"/>
                        <a:pt x="30385" y="135636"/>
                        <a:pt x="67818" y="135636"/>
                      </a:cubicBezTo>
                      <a:cubicBezTo>
                        <a:pt x="105251" y="135636"/>
                        <a:pt x="135636" y="105251"/>
                        <a:pt x="135636" y="67818"/>
                      </a:cubicBezTo>
                      <a:cubicBezTo>
                        <a:pt x="135636" y="30385"/>
                        <a:pt x="105251" y="0"/>
                        <a:pt x="67818" y="0"/>
                      </a:cubicBezTo>
                      <a:lnTo>
                        <a:pt x="67818" y="0"/>
                      </a:ln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101" name="Freeform: Shape 100">
                  <a:extLst>
                    <a:ext uri="{FF2B5EF4-FFF2-40B4-BE49-F238E27FC236}">
                      <a16:creationId xmlns:a16="http://schemas.microsoft.com/office/drawing/2014/main" id="{6A13C467-9BCB-4E4A-A819-87CC2A3A4ADF}"/>
                    </a:ext>
                  </a:extLst>
                </p:cNvPr>
                <p:cNvSpPr/>
                <p:nvPr/>
              </p:nvSpPr>
              <p:spPr>
                <a:xfrm>
                  <a:off x="4623244" y="2876359"/>
                  <a:ext cx="135635" cy="135636"/>
                </a:xfrm>
                <a:custGeom>
                  <a:avLst/>
                  <a:gdLst>
                    <a:gd name="connsiteX0" fmla="*/ 67818 w 135635"/>
                    <a:gd name="connsiteY0" fmla="*/ 0 h 135636"/>
                    <a:gd name="connsiteX1" fmla="*/ 0 w 135635"/>
                    <a:gd name="connsiteY1" fmla="*/ 67818 h 135636"/>
                    <a:gd name="connsiteX2" fmla="*/ 67818 w 135635"/>
                    <a:gd name="connsiteY2" fmla="*/ 135636 h 135636"/>
                    <a:gd name="connsiteX3" fmla="*/ 135636 w 135635"/>
                    <a:gd name="connsiteY3" fmla="*/ 67818 h 135636"/>
                    <a:gd name="connsiteX4" fmla="*/ 67818 w 135635"/>
                    <a:gd name="connsiteY4" fmla="*/ 0 h 135636"/>
                    <a:gd name="connsiteX5" fmla="*/ 67818 w 135635"/>
                    <a:gd name="connsiteY5" fmla="*/ 0 h 135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635" h="135636">
                      <a:moveTo>
                        <a:pt x="67818" y="0"/>
                      </a:moveTo>
                      <a:cubicBezTo>
                        <a:pt x="30385" y="0"/>
                        <a:pt x="0" y="30385"/>
                        <a:pt x="0" y="67818"/>
                      </a:cubicBezTo>
                      <a:cubicBezTo>
                        <a:pt x="0" y="105251"/>
                        <a:pt x="30385" y="135636"/>
                        <a:pt x="67818" y="135636"/>
                      </a:cubicBezTo>
                      <a:cubicBezTo>
                        <a:pt x="105251" y="135636"/>
                        <a:pt x="135636" y="105251"/>
                        <a:pt x="135636" y="67818"/>
                      </a:cubicBezTo>
                      <a:cubicBezTo>
                        <a:pt x="135636" y="30385"/>
                        <a:pt x="105347" y="0"/>
                        <a:pt x="67818" y="0"/>
                      </a:cubicBezTo>
                      <a:lnTo>
                        <a:pt x="67818" y="0"/>
                      </a:ln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102" name="Freeform: Shape 101">
                  <a:extLst>
                    <a:ext uri="{FF2B5EF4-FFF2-40B4-BE49-F238E27FC236}">
                      <a16:creationId xmlns:a16="http://schemas.microsoft.com/office/drawing/2014/main" id="{8D479BB2-1975-4A6D-AF83-9BB6E7130C7A}"/>
                    </a:ext>
                  </a:extLst>
                </p:cNvPr>
                <p:cNvSpPr/>
                <p:nvPr/>
              </p:nvSpPr>
              <p:spPr>
                <a:xfrm>
                  <a:off x="4506372" y="2507170"/>
                  <a:ext cx="135635" cy="135635"/>
                </a:xfrm>
                <a:custGeom>
                  <a:avLst/>
                  <a:gdLst>
                    <a:gd name="connsiteX0" fmla="*/ 67818 w 135635"/>
                    <a:gd name="connsiteY0" fmla="*/ 0 h 135635"/>
                    <a:gd name="connsiteX1" fmla="*/ 0 w 135635"/>
                    <a:gd name="connsiteY1" fmla="*/ 67818 h 135635"/>
                    <a:gd name="connsiteX2" fmla="*/ 67818 w 135635"/>
                    <a:gd name="connsiteY2" fmla="*/ 135636 h 135635"/>
                    <a:gd name="connsiteX3" fmla="*/ 135636 w 135635"/>
                    <a:gd name="connsiteY3" fmla="*/ 67818 h 135635"/>
                    <a:gd name="connsiteX4" fmla="*/ 67818 w 135635"/>
                    <a:gd name="connsiteY4" fmla="*/ 0 h 135635"/>
                    <a:gd name="connsiteX5" fmla="*/ 67818 w 135635"/>
                    <a:gd name="connsiteY5" fmla="*/ 0 h 135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635" h="135635">
                      <a:moveTo>
                        <a:pt x="67818" y="0"/>
                      </a:moveTo>
                      <a:cubicBezTo>
                        <a:pt x="30385" y="0"/>
                        <a:pt x="0" y="30385"/>
                        <a:pt x="0" y="67818"/>
                      </a:cubicBezTo>
                      <a:cubicBezTo>
                        <a:pt x="0" y="105251"/>
                        <a:pt x="30385" y="135636"/>
                        <a:pt x="67818" y="135636"/>
                      </a:cubicBezTo>
                      <a:cubicBezTo>
                        <a:pt x="105251" y="135636"/>
                        <a:pt x="135636" y="105251"/>
                        <a:pt x="135636" y="67818"/>
                      </a:cubicBezTo>
                      <a:cubicBezTo>
                        <a:pt x="135636" y="30385"/>
                        <a:pt x="105346" y="0"/>
                        <a:pt x="67818" y="0"/>
                      </a:cubicBezTo>
                      <a:lnTo>
                        <a:pt x="67818" y="0"/>
                      </a:ln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103" name="Freeform: Shape 102">
                  <a:extLst>
                    <a:ext uri="{FF2B5EF4-FFF2-40B4-BE49-F238E27FC236}">
                      <a16:creationId xmlns:a16="http://schemas.microsoft.com/office/drawing/2014/main" id="{D1F5C671-47F3-40CC-A241-2527CBE67AFD}"/>
                    </a:ext>
                  </a:extLst>
                </p:cNvPr>
                <p:cNvSpPr/>
                <p:nvPr/>
              </p:nvSpPr>
              <p:spPr>
                <a:xfrm>
                  <a:off x="4506372" y="2752439"/>
                  <a:ext cx="135635" cy="135636"/>
                </a:xfrm>
                <a:custGeom>
                  <a:avLst/>
                  <a:gdLst>
                    <a:gd name="connsiteX0" fmla="*/ 67818 w 135635"/>
                    <a:gd name="connsiteY0" fmla="*/ 0 h 135636"/>
                    <a:gd name="connsiteX1" fmla="*/ 0 w 135635"/>
                    <a:gd name="connsiteY1" fmla="*/ 67818 h 135636"/>
                    <a:gd name="connsiteX2" fmla="*/ 67818 w 135635"/>
                    <a:gd name="connsiteY2" fmla="*/ 135636 h 135636"/>
                    <a:gd name="connsiteX3" fmla="*/ 135636 w 135635"/>
                    <a:gd name="connsiteY3" fmla="*/ 67818 h 135636"/>
                    <a:gd name="connsiteX4" fmla="*/ 67818 w 135635"/>
                    <a:gd name="connsiteY4" fmla="*/ 0 h 135636"/>
                    <a:gd name="connsiteX5" fmla="*/ 67818 w 135635"/>
                    <a:gd name="connsiteY5" fmla="*/ 0 h 135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635" h="135636">
                      <a:moveTo>
                        <a:pt x="67818" y="0"/>
                      </a:moveTo>
                      <a:cubicBezTo>
                        <a:pt x="30385" y="0"/>
                        <a:pt x="0" y="30385"/>
                        <a:pt x="0" y="67818"/>
                      </a:cubicBezTo>
                      <a:cubicBezTo>
                        <a:pt x="0" y="105251"/>
                        <a:pt x="30385" y="135636"/>
                        <a:pt x="67818" y="135636"/>
                      </a:cubicBezTo>
                      <a:cubicBezTo>
                        <a:pt x="105251" y="135636"/>
                        <a:pt x="135636" y="105251"/>
                        <a:pt x="135636" y="67818"/>
                      </a:cubicBezTo>
                      <a:cubicBezTo>
                        <a:pt x="135636" y="30385"/>
                        <a:pt x="105346" y="0"/>
                        <a:pt x="67818" y="0"/>
                      </a:cubicBezTo>
                      <a:lnTo>
                        <a:pt x="67818" y="0"/>
                      </a:ln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104" name="Freeform: Shape 103">
                  <a:extLst>
                    <a:ext uri="{FF2B5EF4-FFF2-40B4-BE49-F238E27FC236}">
                      <a16:creationId xmlns:a16="http://schemas.microsoft.com/office/drawing/2014/main" id="{93B86377-02E4-4678-90CB-B3265DE505D5}"/>
                    </a:ext>
                  </a:extLst>
                </p:cNvPr>
                <p:cNvSpPr/>
                <p:nvPr/>
              </p:nvSpPr>
              <p:spPr>
                <a:xfrm>
                  <a:off x="4506372" y="2997708"/>
                  <a:ext cx="135635" cy="135636"/>
                </a:xfrm>
                <a:custGeom>
                  <a:avLst/>
                  <a:gdLst>
                    <a:gd name="connsiteX0" fmla="*/ 67818 w 135635"/>
                    <a:gd name="connsiteY0" fmla="*/ 0 h 135636"/>
                    <a:gd name="connsiteX1" fmla="*/ 0 w 135635"/>
                    <a:gd name="connsiteY1" fmla="*/ 67818 h 135636"/>
                    <a:gd name="connsiteX2" fmla="*/ 67818 w 135635"/>
                    <a:gd name="connsiteY2" fmla="*/ 135636 h 135636"/>
                    <a:gd name="connsiteX3" fmla="*/ 135636 w 135635"/>
                    <a:gd name="connsiteY3" fmla="*/ 67818 h 135636"/>
                    <a:gd name="connsiteX4" fmla="*/ 67818 w 135635"/>
                    <a:gd name="connsiteY4" fmla="*/ 0 h 135636"/>
                    <a:gd name="connsiteX5" fmla="*/ 67818 w 135635"/>
                    <a:gd name="connsiteY5" fmla="*/ 0 h 135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635" h="135636">
                      <a:moveTo>
                        <a:pt x="67818" y="0"/>
                      </a:moveTo>
                      <a:cubicBezTo>
                        <a:pt x="30385" y="0"/>
                        <a:pt x="0" y="30385"/>
                        <a:pt x="0" y="67818"/>
                      </a:cubicBezTo>
                      <a:cubicBezTo>
                        <a:pt x="0" y="105251"/>
                        <a:pt x="30385" y="135636"/>
                        <a:pt x="67818" y="135636"/>
                      </a:cubicBezTo>
                      <a:cubicBezTo>
                        <a:pt x="105251" y="135636"/>
                        <a:pt x="135636" y="105251"/>
                        <a:pt x="135636" y="67818"/>
                      </a:cubicBezTo>
                      <a:cubicBezTo>
                        <a:pt x="135636" y="30385"/>
                        <a:pt x="105346" y="0"/>
                        <a:pt x="67818" y="0"/>
                      </a:cubicBezTo>
                      <a:lnTo>
                        <a:pt x="67818" y="0"/>
                      </a:ln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grpSp>
        </p:grpSp>
        <p:grpSp>
          <p:nvGrpSpPr>
            <p:cNvPr id="71" name="Group 70"/>
            <p:cNvGrpSpPr/>
            <p:nvPr/>
          </p:nvGrpSpPr>
          <p:grpSpPr>
            <a:xfrm>
              <a:off x="229662" y="3375721"/>
              <a:ext cx="2415670" cy="1110251"/>
              <a:chOff x="741674" y="3375721"/>
              <a:chExt cx="2415670" cy="1110251"/>
            </a:xfrm>
          </p:grpSpPr>
          <p:grpSp>
            <p:nvGrpSpPr>
              <p:cNvPr id="13" name="Group 12">
                <a:extLst>
                  <a:ext uri="{FF2B5EF4-FFF2-40B4-BE49-F238E27FC236}">
                    <a16:creationId xmlns:a16="http://schemas.microsoft.com/office/drawing/2014/main" id="{FA8E41B0-17D6-440E-9F92-91423F744693}"/>
                  </a:ext>
                </a:extLst>
              </p:cNvPr>
              <p:cNvGrpSpPr/>
              <p:nvPr/>
            </p:nvGrpSpPr>
            <p:grpSpPr>
              <a:xfrm>
                <a:off x="741674" y="3375721"/>
                <a:ext cx="2415670" cy="1110251"/>
                <a:chOff x="1940329" y="3297757"/>
                <a:chExt cx="2415670" cy="1110251"/>
              </a:xfrm>
            </p:grpSpPr>
            <p:sp>
              <p:nvSpPr>
                <p:cNvPr id="50" name="Rectangle 49">
                  <a:extLst>
                    <a:ext uri="{FF2B5EF4-FFF2-40B4-BE49-F238E27FC236}">
                      <a16:creationId xmlns:a16="http://schemas.microsoft.com/office/drawing/2014/main" id="{44CBA7BE-23EF-40B8-A652-6AF826D21A87}"/>
                    </a:ext>
                  </a:extLst>
                </p:cNvPr>
                <p:cNvSpPr/>
                <p:nvPr/>
              </p:nvSpPr>
              <p:spPr>
                <a:xfrm>
                  <a:off x="1940329" y="4023117"/>
                  <a:ext cx="1860542" cy="384891"/>
                </a:xfrm>
                <a:prstGeom prst="rect">
                  <a:avLst/>
                </a:prstGeom>
                <a:solidFill>
                  <a:srgbClr val="016294"/>
                </a:solidFill>
                <a:ln w="41275">
                  <a:noFill/>
                </a:ln>
              </p:spPr>
              <p:style>
                <a:lnRef idx="2">
                  <a:schemeClr val="dk1"/>
                </a:lnRef>
                <a:fillRef idx="1">
                  <a:schemeClr val="lt1"/>
                </a:fillRef>
                <a:effectRef idx="0">
                  <a:schemeClr val="dk1"/>
                </a:effectRef>
                <a:fontRef idx="minor">
                  <a:schemeClr val="dk1"/>
                </a:fontRef>
              </p:style>
              <p:txBody>
                <a:bodyPr rtlCol="0" anchor="ctr"/>
                <a:lstStyle/>
                <a:p>
                  <a:pPr defTabSz="1219170"/>
                  <a:r>
                    <a:rPr lang="en-US" sz="1600" b="1" dirty="0">
                      <a:solidFill>
                        <a:prstClr val="white"/>
                      </a:solidFill>
                      <a:effectLst>
                        <a:outerShdw blurRad="38100" dist="38100" dir="2700000" algn="tl">
                          <a:srgbClr val="000000">
                            <a:alpha val="43137"/>
                          </a:srgbClr>
                        </a:outerShdw>
                      </a:effectLst>
                      <a:latin typeface="Arial"/>
                    </a:rPr>
                    <a:t>Expand Access</a:t>
                  </a:r>
                </a:p>
              </p:txBody>
            </p:sp>
            <p:sp>
              <p:nvSpPr>
                <p:cNvPr id="56" name="Oval 55">
                  <a:extLst>
                    <a:ext uri="{FF2B5EF4-FFF2-40B4-BE49-F238E27FC236}">
                      <a16:creationId xmlns:a16="http://schemas.microsoft.com/office/drawing/2014/main" id="{B9652CEB-0593-4F14-9458-43B3508DB3CF}"/>
                    </a:ext>
                  </a:extLst>
                </p:cNvPr>
                <p:cNvSpPr/>
                <p:nvPr/>
              </p:nvSpPr>
              <p:spPr>
                <a:xfrm>
                  <a:off x="3245748" y="3297757"/>
                  <a:ext cx="1110251" cy="1110251"/>
                </a:xfrm>
                <a:prstGeom prst="ellipse">
                  <a:avLst/>
                </a:prstGeom>
                <a:solidFill>
                  <a:srgbClr val="016294"/>
                </a:solidFill>
                <a:ln w="41275">
                  <a:noFill/>
                </a:ln>
              </p:spPr>
              <p:style>
                <a:lnRef idx="2">
                  <a:schemeClr val="dk1"/>
                </a:lnRef>
                <a:fillRef idx="1">
                  <a:schemeClr val="lt1"/>
                </a:fillRef>
                <a:effectRef idx="0">
                  <a:schemeClr val="dk1"/>
                </a:effectRef>
                <a:fontRef idx="minor">
                  <a:schemeClr val="dk1"/>
                </a:fontRef>
              </p:style>
              <p:txBody>
                <a:bodyPr rtlCol="0" anchor="ctr"/>
                <a:lstStyle/>
                <a:p>
                  <a:pPr algn="ctr" defTabSz="1219170"/>
                  <a:endParaRPr lang="en-US" sz="1867" dirty="0">
                    <a:solidFill>
                      <a:srgbClr val="102B62"/>
                    </a:solidFill>
                    <a:latin typeface="Arial"/>
                  </a:endParaRPr>
                </a:p>
              </p:txBody>
            </p:sp>
            <p:sp>
              <p:nvSpPr>
                <p:cNvPr id="60" name="Oval 59" descr="Icons of people, including a woman with a cane, a man, a woman, and a child.">
                  <a:extLst>
                    <a:ext uri="{FF2B5EF4-FFF2-40B4-BE49-F238E27FC236}">
                      <a16:creationId xmlns:a16="http://schemas.microsoft.com/office/drawing/2014/main" id="{67153471-3457-4FC9-A539-743A285E2ED6}"/>
                    </a:ext>
                  </a:extLst>
                </p:cNvPr>
                <p:cNvSpPr/>
                <p:nvPr/>
              </p:nvSpPr>
              <p:spPr>
                <a:xfrm>
                  <a:off x="3338325" y="3390333"/>
                  <a:ext cx="925099" cy="925099"/>
                </a:xfrm>
                <a:prstGeom prst="ellipse">
                  <a:avLst/>
                </a:prstGeom>
                <a:gradFill>
                  <a:gsLst>
                    <a:gs pos="0">
                      <a:schemeClr val="bg1">
                        <a:lumMod val="95000"/>
                      </a:schemeClr>
                    </a:gs>
                    <a:gs pos="50000">
                      <a:schemeClr val="bg1">
                        <a:lumMod val="85000"/>
                      </a:schemeClr>
                    </a:gs>
                    <a:gs pos="100000">
                      <a:schemeClr val="bg1">
                        <a:lumMod val="75000"/>
                      </a:schemeClr>
                    </a:gs>
                  </a:gsLst>
                </a:gra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defTabSz="1219170"/>
                  <a:endParaRPr lang="en-US" sz="1867" dirty="0">
                    <a:solidFill>
                      <a:srgbClr val="102B62"/>
                    </a:solidFill>
                    <a:latin typeface="Arial"/>
                  </a:endParaRPr>
                </a:p>
              </p:txBody>
            </p:sp>
          </p:grpSp>
          <p:grpSp>
            <p:nvGrpSpPr>
              <p:cNvPr id="4" name="Graphic 2">
                <a:extLst>
                  <a:ext uri="{FF2B5EF4-FFF2-40B4-BE49-F238E27FC236}">
                    <a16:creationId xmlns:a16="http://schemas.microsoft.com/office/drawing/2014/main" id="{AAFA77A7-0898-4438-A5BA-DCDA53018668}"/>
                  </a:ext>
                </a:extLst>
              </p:cNvPr>
              <p:cNvGrpSpPr/>
              <p:nvPr/>
            </p:nvGrpSpPr>
            <p:grpSpPr>
              <a:xfrm>
                <a:off x="2199717" y="3693374"/>
                <a:ext cx="804998" cy="445719"/>
                <a:chOff x="2381294" y="1357302"/>
                <a:chExt cx="4383245" cy="2426960"/>
              </a:xfrm>
              <a:solidFill>
                <a:srgbClr val="016294"/>
              </a:solidFill>
            </p:grpSpPr>
            <p:grpSp>
              <p:nvGrpSpPr>
                <p:cNvPr id="5" name="Graphic 2">
                  <a:extLst>
                    <a:ext uri="{FF2B5EF4-FFF2-40B4-BE49-F238E27FC236}">
                      <a16:creationId xmlns:a16="http://schemas.microsoft.com/office/drawing/2014/main" id="{AAFA77A7-0898-4438-A5BA-DCDA53018668}"/>
                    </a:ext>
                  </a:extLst>
                </p:cNvPr>
                <p:cNvGrpSpPr/>
                <p:nvPr/>
              </p:nvGrpSpPr>
              <p:grpSpPr>
                <a:xfrm>
                  <a:off x="3699556" y="1357302"/>
                  <a:ext cx="1016344" cy="2426960"/>
                  <a:chOff x="3699556" y="1357302"/>
                  <a:chExt cx="1016344" cy="2426960"/>
                </a:xfrm>
                <a:grpFill/>
              </p:grpSpPr>
              <p:sp>
                <p:nvSpPr>
                  <p:cNvPr id="7" name="Freeform: Shape 6">
                    <a:extLst>
                      <a:ext uri="{FF2B5EF4-FFF2-40B4-BE49-F238E27FC236}">
                        <a16:creationId xmlns:a16="http://schemas.microsoft.com/office/drawing/2014/main" id="{B130E38B-5FE2-4D36-9581-AC4DC5A0B768}"/>
                      </a:ext>
                    </a:extLst>
                  </p:cNvPr>
                  <p:cNvSpPr/>
                  <p:nvPr/>
                </p:nvSpPr>
                <p:spPr>
                  <a:xfrm>
                    <a:off x="3699556" y="1876339"/>
                    <a:ext cx="1016344" cy="1907923"/>
                  </a:xfrm>
                  <a:custGeom>
                    <a:avLst/>
                    <a:gdLst>
                      <a:gd name="connsiteX0" fmla="*/ 488300 w 1016344"/>
                      <a:gd name="connsiteY0" fmla="*/ 864098 h 1907923"/>
                      <a:gd name="connsiteX1" fmla="*/ 488300 w 1016344"/>
                      <a:gd name="connsiteY1" fmla="*/ 922296 h 1907923"/>
                      <a:gd name="connsiteX2" fmla="*/ 488300 w 1016344"/>
                      <a:gd name="connsiteY2" fmla="*/ 1760400 h 1907923"/>
                      <a:gd name="connsiteX3" fmla="*/ 361332 w 1016344"/>
                      <a:gd name="connsiteY3" fmla="*/ 1907562 h 1907923"/>
                      <a:gd name="connsiteX4" fmla="*/ 233506 w 1016344"/>
                      <a:gd name="connsiteY4" fmla="*/ 1761162 h 1907923"/>
                      <a:gd name="connsiteX5" fmla="*/ 233125 w 1016344"/>
                      <a:gd name="connsiteY5" fmla="*/ 322983 h 1907923"/>
                      <a:gd name="connsiteX6" fmla="*/ 223410 w 1016344"/>
                      <a:gd name="connsiteY6" fmla="*/ 272976 h 1907923"/>
                      <a:gd name="connsiteX7" fmla="*/ 193977 w 1016344"/>
                      <a:gd name="connsiteY7" fmla="*/ 375180 h 1907923"/>
                      <a:gd name="connsiteX8" fmla="*/ 168355 w 1016344"/>
                      <a:gd name="connsiteY8" fmla="*/ 877528 h 1907923"/>
                      <a:gd name="connsiteX9" fmla="*/ 120730 w 1016344"/>
                      <a:gd name="connsiteY9" fmla="*/ 972302 h 1907923"/>
                      <a:gd name="connsiteX10" fmla="*/ 6049 w 1016344"/>
                      <a:gd name="connsiteY10" fmla="*/ 903055 h 1907923"/>
                      <a:gd name="connsiteX11" fmla="*/ 52722 w 1016344"/>
                      <a:gd name="connsiteY11" fmla="*/ 265833 h 1907923"/>
                      <a:gd name="connsiteX12" fmla="*/ 117777 w 1016344"/>
                      <a:gd name="connsiteY12" fmla="*/ 124101 h 1907923"/>
                      <a:gd name="connsiteX13" fmla="*/ 343329 w 1016344"/>
                      <a:gd name="connsiteY13" fmla="*/ 276 h 1907923"/>
                      <a:gd name="connsiteX14" fmla="*/ 676609 w 1016344"/>
                      <a:gd name="connsiteY14" fmla="*/ 180 h 1907923"/>
                      <a:gd name="connsiteX15" fmla="*/ 908924 w 1016344"/>
                      <a:gd name="connsiteY15" fmla="*/ 129816 h 1907923"/>
                      <a:gd name="connsiteX16" fmla="*/ 1008746 w 1016344"/>
                      <a:gd name="connsiteY16" fmla="*/ 463572 h 1907923"/>
                      <a:gd name="connsiteX17" fmla="*/ 1015318 w 1016344"/>
                      <a:gd name="connsiteY17" fmla="*/ 891339 h 1907923"/>
                      <a:gd name="connsiteX18" fmla="*/ 930927 w 1016344"/>
                      <a:gd name="connsiteY18" fmla="*/ 978398 h 1907923"/>
                      <a:gd name="connsiteX19" fmla="*/ 852631 w 1016344"/>
                      <a:gd name="connsiteY19" fmla="*/ 879814 h 1907923"/>
                      <a:gd name="connsiteX20" fmla="*/ 831390 w 1016344"/>
                      <a:gd name="connsiteY20" fmla="*/ 391563 h 1907923"/>
                      <a:gd name="connsiteX21" fmla="*/ 799386 w 1016344"/>
                      <a:gd name="connsiteY21" fmla="*/ 270405 h 1907923"/>
                      <a:gd name="connsiteX22" fmla="*/ 786623 w 1016344"/>
                      <a:gd name="connsiteY22" fmla="*/ 271548 h 1907923"/>
                      <a:gd name="connsiteX23" fmla="*/ 786623 w 1016344"/>
                      <a:gd name="connsiteY23" fmla="*/ 310695 h 1907923"/>
                      <a:gd name="connsiteX24" fmla="*/ 786909 w 1016344"/>
                      <a:gd name="connsiteY24" fmla="*/ 1767925 h 1907923"/>
                      <a:gd name="connsiteX25" fmla="*/ 722043 w 1016344"/>
                      <a:gd name="connsiteY25" fmla="*/ 1890893 h 1907923"/>
                      <a:gd name="connsiteX26" fmla="*/ 591646 w 1016344"/>
                      <a:gd name="connsiteY26" fmla="*/ 1886035 h 1907923"/>
                      <a:gd name="connsiteX27" fmla="*/ 535258 w 1016344"/>
                      <a:gd name="connsiteY27" fmla="*/ 1767830 h 1907923"/>
                      <a:gd name="connsiteX28" fmla="*/ 535830 w 1016344"/>
                      <a:gd name="connsiteY28" fmla="*/ 905913 h 1907923"/>
                      <a:gd name="connsiteX29" fmla="*/ 488300 w 1016344"/>
                      <a:gd name="connsiteY29" fmla="*/ 864098 h 1907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16344" h="1907923">
                        <a:moveTo>
                          <a:pt x="488300" y="864098"/>
                        </a:moveTo>
                        <a:cubicBezTo>
                          <a:pt x="488300" y="884577"/>
                          <a:pt x="488300" y="903436"/>
                          <a:pt x="488300" y="922296"/>
                        </a:cubicBezTo>
                        <a:cubicBezTo>
                          <a:pt x="488300" y="1201664"/>
                          <a:pt x="488395" y="1481032"/>
                          <a:pt x="488300" y="1760400"/>
                        </a:cubicBezTo>
                        <a:cubicBezTo>
                          <a:pt x="488300" y="1848316"/>
                          <a:pt x="437055" y="1907276"/>
                          <a:pt x="361332" y="1907562"/>
                        </a:cubicBezTo>
                        <a:cubicBezTo>
                          <a:pt x="285798" y="1907752"/>
                          <a:pt x="233601" y="1848602"/>
                          <a:pt x="233506" y="1761162"/>
                        </a:cubicBezTo>
                        <a:cubicBezTo>
                          <a:pt x="233220" y="1281769"/>
                          <a:pt x="233220" y="802376"/>
                          <a:pt x="233125" y="322983"/>
                        </a:cubicBezTo>
                        <a:cubicBezTo>
                          <a:pt x="233125" y="307171"/>
                          <a:pt x="233125" y="291360"/>
                          <a:pt x="223410" y="272976"/>
                        </a:cubicBezTo>
                        <a:cubicBezTo>
                          <a:pt x="213504" y="306981"/>
                          <a:pt x="201502" y="340604"/>
                          <a:pt x="193977" y="375180"/>
                        </a:cubicBezTo>
                        <a:cubicBezTo>
                          <a:pt x="157782" y="541105"/>
                          <a:pt x="161211" y="709317"/>
                          <a:pt x="168355" y="877528"/>
                        </a:cubicBezTo>
                        <a:cubicBezTo>
                          <a:pt x="170165" y="919724"/>
                          <a:pt x="160259" y="953919"/>
                          <a:pt x="120730" y="972302"/>
                        </a:cubicBezTo>
                        <a:cubicBezTo>
                          <a:pt x="69676" y="996210"/>
                          <a:pt x="8430" y="962205"/>
                          <a:pt x="6049" y="903055"/>
                        </a:cubicBezTo>
                        <a:cubicBezTo>
                          <a:pt x="-2809" y="689028"/>
                          <a:pt x="-11191" y="474240"/>
                          <a:pt x="52722" y="265833"/>
                        </a:cubicBezTo>
                        <a:cubicBezTo>
                          <a:pt x="67866" y="216493"/>
                          <a:pt x="90726" y="168106"/>
                          <a:pt x="117777" y="124101"/>
                        </a:cubicBezTo>
                        <a:cubicBezTo>
                          <a:pt x="168450" y="41424"/>
                          <a:pt x="241983" y="-2772"/>
                          <a:pt x="343329" y="276"/>
                        </a:cubicBezTo>
                        <a:cubicBezTo>
                          <a:pt x="454296" y="3609"/>
                          <a:pt x="565643" y="3895"/>
                          <a:pt x="676609" y="180"/>
                        </a:cubicBezTo>
                        <a:cubicBezTo>
                          <a:pt x="782051" y="-3344"/>
                          <a:pt x="854822" y="44948"/>
                          <a:pt x="908924" y="129816"/>
                        </a:cubicBezTo>
                        <a:cubicBezTo>
                          <a:pt x="973789" y="231543"/>
                          <a:pt x="1000745" y="346605"/>
                          <a:pt x="1008746" y="463572"/>
                        </a:cubicBezTo>
                        <a:cubicBezTo>
                          <a:pt x="1018461" y="605685"/>
                          <a:pt x="1016556" y="748750"/>
                          <a:pt x="1015318" y="891339"/>
                        </a:cubicBezTo>
                        <a:cubicBezTo>
                          <a:pt x="1014842" y="950299"/>
                          <a:pt x="979980" y="980493"/>
                          <a:pt x="930927" y="978398"/>
                        </a:cubicBezTo>
                        <a:cubicBezTo>
                          <a:pt x="880349" y="976207"/>
                          <a:pt x="848345" y="939250"/>
                          <a:pt x="852631" y="879814"/>
                        </a:cubicBezTo>
                        <a:cubicBezTo>
                          <a:pt x="864442" y="716079"/>
                          <a:pt x="861394" y="553202"/>
                          <a:pt x="831390" y="391563"/>
                        </a:cubicBezTo>
                        <a:cubicBezTo>
                          <a:pt x="823770" y="350605"/>
                          <a:pt x="810150" y="310791"/>
                          <a:pt x="799386" y="270405"/>
                        </a:cubicBezTo>
                        <a:cubicBezTo>
                          <a:pt x="795100" y="270786"/>
                          <a:pt x="790814" y="271167"/>
                          <a:pt x="786623" y="271548"/>
                        </a:cubicBezTo>
                        <a:cubicBezTo>
                          <a:pt x="786623" y="284597"/>
                          <a:pt x="786623" y="297646"/>
                          <a:pt x="786623" y="310695"/>
                        </a:cubicBezTo>
                        <a:cubicBezTo>
                          <a:pt x="786623" y="796470"/>
                          <a:pt x="786432" y="1282150"/>
                          <a:pt x="786909" y="1767925"/>
                        </a:cubicBezTo>
                        <a:cubicBezTo>
                          <a:pt x="787004" y="1821361"/>
                          <a:pt x="770716" y="1863937"/>
                          <a:pt x="722043" y="1890893"/>
                        </a:cubicBezTo>
                        <a:cubicBezTo>
                          <a:pt x="677371" y="1915563"/>
                          <a:pt x="633747" y="1912991"/>
                          <a:pt x="591646" y="1886035"/>
                        </a:cubicBezTo>
                        <a:cubicBezTo>
                          <a:pt x="548784" y="1858603"/>
                          <a:pt x="535068" y="1817550"/>
                          <a:pt x="535258" y="1767830"/>
                        </a:cubicBezTo>
                        <a:cubicBezTo>
                          <a:pt x="536115" y="1480556"/>
                          <a:pt x="535544" y="1193187"/>
                          <a:pt x="535830" y="905913"/>
                        </a:cubicBezTo>
                        <a:cubicBezTo>
                          <a:pt x="535830" y="876576"/>
                          <a:pt x="537925" y="848096"/>
                          <a:pt x="488300" y="864098"/>
                        </a:cubicBez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8" name="Freeform: Shape 7">
                    <a:extLst>
                      <a:ext uri="{FF2B5EF4-FFF2-40B4-BE49-F238E27FC236}">
                        <a16:creationId xmlns:a16="http://schemas.microsoft.com/office/drawing/2014/main" id="{451AFE6B-03A7-4C5B-9589-90FA18311396}"/>
                      </a:ext>
                    </a:extLst>
                  </p:cNvPr>
                  <p:cNvSpPr/>
                  <p:nvPr/>
                </p:nvSpPr>
                <p:spPr>
                  <a:xfrm>
                    <a:off x="3979701" y="1357302"/>
                    <a:ext cx="460582" cy="463021"/>
                  </a:xfrm>
                  <a:custGeom>
                    <a:avLst/>
                    <a:gdLst>
                      <a:gd name="connsiteX0" fmla="*/ 460568 w 460582"/>
                      <a:gd name="connsiteY0" fmla="*/ 229086 h 463021"/>
                      <a:gd name="connsiteX1" fmla="*/ 229682 w 460582"/>
                      <a:gd name="connsiteY1" fmla="*/ 463020 h 463021"/>
                      <a:gd name="connsiteX2" fmla="*/ 34 w 460582"/>
                      <a:gd name="connsiteY2" fmla="*/ 236610 h 463021"/>
                      <a:gd name="connsiteX3" fmla="*/ 229301 w 460582"/>
                      <a:gd name="connsiteY3" fmla="*/ 9 h 463021"/>
                      <a:gd name="connsiteX4" fmla="*/ 460568 w 460582"/>
                      <a:gd name="connsiteY4" fmla="*/ 229086 h 463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582" h="463021">
                        <a:moveTo>
                          <a:pt x="460568" y="229086"/>
                        </a:moveTo>
                        <a:cubicBezTo>
                          <a:pt x="461997" y="357673"/>
                          <a:pt x="357412" y="463591"/>
                          <a:pt x="229682" y="463020"/>
                        </a:cubicBezTo>
                        <a:cubicBezTo>
                          <a:pt x="106047" y="462448"/>
                          <a:pt x="2320" y="360054"/>
                          <a:pt x="34" y="236610"/>
                        </a:cubicBezTo>
                        <a:cubicBezTo>
                          <a:pt x="-2157" y="108594"/>
                          <a:pt x="101856" y="1152"/>
                          <a:pt x="229301" y="9"/>
                        </a:cubicBezTo>
                        <a:cubicBezTo>
                          <a:pt x="354459" y="-1134"/>
                          <a:pt x="459139" y="102594"/>
                          <a:pt x="460568" y="229086"/>
                        </a:cubicBez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grpSp>
            <p:grpSp>
              <p:nvGrpSpPr>
                <p:cNvPr id="10" name="Graphic 2">
                  <a:extLst>
                    <a:ext uri="{FF2B5EF4-FFF2-40B4-BE49-F238E27FC236}">
                      <a16:creationId xmlns:a16="http://schemas.microsoft.com/office/drawing/2014/main" id="{AAFA77A7-0898-4438-A5BA-DCDA53018668}"/>
                    </a:ext>
                  </a:extLst>
                </p:cNvPr>
                <p:cNvGrpSpPr/>
                <p:nvPr/>
              </p:nvGrpSpPr>
              <p:grpSpPr>
                <a:xfrm>
                  <a:off x="4834673" y="1456644"/>
                  <a:ext cx="1189756" cy="2327544"/>
                  <a:chOff x="4834673" y="1456644"/>
                  <a:chExt cx="1189756" cy="2327544"/>
                </a:xfrm>
                <a:grpFill/>
              </p:grpSpPr>
              <p:sp>
                <p:nvSpPr>
                  <p:cNvPr id="17" name="Freeform: Shape 16">
                    <a:extLst>
                      <a:ext uri="{FF2B5EF4-FFF2-40B4-BE49-F238E27FC236}">
                        <a16:creationId xmlns:a16="http://schemas.microsoft.com/office/drawing/2014/main" id="{0727A9BD-FDF0-4F2F-833F-5AB3DBBFE79D}"/>
                      </a:ext>
                    </a:extLst>
                  </p:cNvPr>
                  <p:cNvSpPr/>
                  <p:nvPr/>
                </p:nvSpPr>
                <p:spPr>
                  <a:xfrm>
                    <a:off x="4834673" y="1943103"/>
                    <a:ext cx="1189756" cy="1203961"/>
                  </a:xfrm>
                  <a:custGeom>
                    <a:avLst/>
                    <a:gdLst>
                      <a:gd name="connsiteX0" fmla="*/ 151569 w 1189756"/>
                      <a:gd name="connsiteY0" fmla="*/ 1110992 h 1203961"/>
                      <a:gd name="connsiteX1" fmla="*/ 322828 w 1189756"/>
                      <a:gd name="connsiteY1" fmla="*/ 268220 h 1203961"/>
                      <a:gd name="connsiteX2" fmla="*/ 313018 w 1189756"/>
                      <a:gd name="connsiteY2" fmla="*/ 263743 h 1203961"/>
                      <a:gd name="connsiteX3" fmla="*/ 246724 w 1189756"/>
                      <a:gd name="connsiteY3" fmla="*/ 387187 h 1203961"/>
                      <a:gd name="connsiteX4" fmla="*/ 133471 w 1189756"/>
                      <a:gd name="connsiteY4" fmla="*/ 817241 h 1203961"/>
                      <a:gd name="connsiteX5" fmla="*/ 57081 w 1189756"/>
                      <a:gd name="connsiteY5" fmla="*/ 882011 h 1203961"/>
                      <a:gd name="connsiteX6" fmla="*/ 979 w 1189756"/>
                      <a:gd name="connsiteY6" fmla="*/ 802858 h 1203961"/>
                      <a:gd name="connsiteX7" fmla="*/ 150617 w 1189756"/>
                      <a:gd name="connsiteY7" fmla="*/ 275649 h 1203961"/>
                      <a:gd name="connsiteX8" fmla="*/ 154712 w 1189756"/>
                      <a:gd name="connsiteY8" fmla="*/ 267077 h 1203961"/>
                      <a:gd name="connsiteX9" fmla="*/ 702209 w 1189756"/>
                      <a:gd name="connsiteY9" fmla="*/ 7616 h 1203961"/>
                      <a:gd name="connsiteX10" fmla="*/ 1016820 w 1189756"/>
                      <a:gd name="connsiteY10" fmla="*/ 235454 h 1203961"/>
                      <a:gd name="connsiteX11" fmla="*/ 1180460 w 1189756"/>
                      <a:gd name="connsiteY11" fmla="*/ 743136 h 1203961"/>
                      <a:gd name="connsiteX12" fmla="*/ 1189413 w 1189756"/>
                      <a:gd name="connsiteY12" fmla="*/ 804191 h 1203961"/>
                      <a:gd name="connsiteX13" fmla="*/ 1131596 w 1189756"/>
                      <a:gd name="connsiteY13" fmla="*/ 882201 h 1203961"/>
                      <a:gd name="connsiteX14" fmla="*/ 1056539 w 1189756"/>
                      <a:gd name="connsiteY14" fmla="*/ 820574 h 1203961"/>
                      <a:gd name="connsiteX15" fmla="*/ 978148 w 1189756"/>
                      <a:gd name="connsiteY15" fmla="*/ 478722 h 1203961"/>
                      <a:gd name="connsiteX16" fmla="*/ 883279 w 1189756"/>
                      <a:gd name="connsiteY16" fmla="*/ 264124 h 1203961"/>
                      <a:gd name="connsiteX17" fmla="*/ 867849 w 1189756"/>
                      <a:gd name="connsiteY17" fmla="*/ 269934 h 1203961"/>
                      <a:gd name="connsiteX18" fmla="*/ 936238 w 1189756"/>
                      <a:gd name="connsiteY18" fmla="*/ 609500 h 1203961"/>
                      <a:gd name="connsiteX19" fmla="*/ 1030822 w 1189756"/>
                      <a:gd name="connsiteY19" fmla="*/ 1069844 h 1203961"/>
                      <a:gd name="connsiteX20" fmla="*/ 995674 w 1189756"/>
                      <a:gd name="connsiteY20" fmla="*/ 1131566 h 1203961"/>
                      <a:gd name="connsiteX21" fmla="*/ 501041 w 1189756"/>
                      <a:gd name="connsiteY21" fmla="*/ 1197860 h 1203961"/>
                      <a:gd name="connsiteX22" fmla="*/ 209481 w 1189756"/>
                      <a:gd name="connsiteY22" fmla="*/ 1136709 h 1203961"/>
                      <a:gd name="connsiteX23" fmla="*/ 151569 w 1189756"/>
                      <a:gd name="connsiteY23" fmla="*/ 1110992 h 1203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89756" h="1203961">
                        <a:moveTo>
                          <a:pt x="151569" y="1110992"/>
                        </a:moveTo>
                        <a:cubicBezTo>
                          <a:pt x="209576" y="825432"/>
                          <a:pt x="266250" y="546826"/>
                          <a:pt x="322828" y="268220"/>
                        </a:cubicBezTo>
                        <a:cubicBezTo>
                          <a:pt x="319590" y="266696"/>
                          <a:pt x="316256" y="265267"/>
                          <a:pt x="313018" y="263743"/>
                        </a:cubicBezTo>
                        <a:cubicBezTo>
                          <a:pt x="290729" y="304796"/>
                          <a:pt x="266345" y="344896"/>
                          <a:pt x="246724" y="387187"/>
                        </a:cubicBezTo>
                        <a:cubicBezTo>
                          <a:pt x="183382" y="523585"/>
                          <a:pt x="155855" y="669794"/>
                          <a:pt x="133471" y="817241"/>
                        </a:cubicBezTo>
                        <a:cubicBezTo>
                          <a:pt x="126232" y="864770"/>
                          <a:pt x="98991" y="887440"/>
                          <a:pt x="57081" y="882011"/>
                        </a:cubicBezTo>
                        <a:cubicBezTo>
                          <a:pt x="18505" y="876963"/>
                          <a:pt x="-5213" y="847244"/>
                          <a:pt x="979" y="802858"/>
                        </a:cubicBezTo>
                        <a:cubicBezTo>
                          <a:pt x="26601" y="620359"/>
                          <a:pt x="64320" y="441003"/>
                          <a:pt x="150617" y="275649"/>
                        </a:cubicBezTo>
                        <a:cubicBezTo>
                          <a:pt x="152045" y="272887"/>
                          <a:pt x="153188" y="269839"/>
                          <a:pt x="154712" y="267077"/>
                        </a:cubicBezTo>
                        <a:cubicBezTo>
                          <a:pt x="280537" y="37619"/>
                          <a:pt x="428842" y="-23722"/>
                          <a:pt x="702209" y="7616"/>
                        </a:cubicBezTo>
                        <a:cubicBezTo>
                          <a:pt x="850228" y="24570"/>
                          <a:pt x="945192" y="114391"/>
                          <a:pt x="1016820" y="235454"/>
                        </a:cubicBezTo>
                        <a:cubicBezTo>
                          <a:pt x="1109594" y="392140"/>
                          <a:pt x="1151218" y="565781"/>
                          <a:pt x="1180460" y="743136"/>
                        </a:cubicBezTo>
                        <a:cubicBezTo>
                          <a:pt x="1183793" y="763424"/>
                          <a:pt x="1187889" y="783713"/>
                          <a:pt x="1189413" y="804191"/>
                        </a:cubicBezTo>
                        <a:cubicBezTo>
                          <a:pt x="1192842" y="848483"/>
                          <a:pt x="1170363" y="877915"/>
                          <a:pt x="1131596" y="882201"/>
                        </a:cubicBezTo>
                        <a:cubicBezTo>
                          <a:pt x="1091305" y="886583"/>
                          <a:pt x="1065969" y="864104"/>
                          <a:pt x="1056539" y="820574"/>
                        </a:cubicBezTo>
                        <a:cubicBezTo>
                          <a:pt x="1031774" y="706274"/>
                          <a:pt x="1011200" y="590641"/>
                          <a:pt x="978148" y="478722"/>
                        </a:cubicBezTo>
                        <a:cubicBezTo>
                          <a:pt x="956146" y="404332"/>
                          <a:pt x="915569" y="335466"/>
                          <a:pt x="883279" y="264124"/>
                        </a:cubicBezTo>
                        <a:cubicBezTo>
                          <a:pt x="878136" y="266029"/>
                          <a:pt x="872993" y="268029"/>
                          <a:pt x="867849" y="269934"/>
                        </a:cubicBezTo>
                        <a:cubicBezTo>
                          <a:pt x="890614" y="383091"/>
                          <a:pt x="913378" y="496343"/>
                          <a:pt x="936238" y="609500"/>
                        </a:cubicBezTo>
                        <a:cubicBezTo>
                          <a:pt x="967290" y="763043"/>
                          <a:pt x="996532" y="917063"/>
                          <a:pt x="1030822" y="1069844"/>
                        </a:cubicBezTo>
                        <a:cubicBezTo>
                          <a:pt x="1039489" y="1108230"/>
                          <a:pt x="1026250" y="1119469"/>
                          <a:pt x="995674" y="1131566"/>
                        </a:cubicBezTo>
                        <a:cubicBezTo>
                          <a:pt x="836131" y="1194431"/>
                          <a:pt x="669919" y="1215767"/>
                          <a:pt x="501041" y="1197860"/>
                        </a:cubicBezTo>
                        <a:cubicBezTo>
                          <a:pt x="402743" y="1187382"/>
                          <a:pt x="306350" y="1158807"/>
                          <a:pt x="209481" y="1136709"/>
                        </a:cubicBezTo>
                        <a:cubicBezTo>
                          <a:pt x="189955" y="1132042"/>
                          <a:pt x="172238" y="1120326"/>
                          <a:pt x="151569" y="1110992"/>
                        </a:cubicBez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18" name="Freeform: Shape 17">
                    <a:extLst>
                      <a:ext uri="{FF2B5EF4-FFF2-40B4-BE49-F238E27FC236}">
                        <a16:creationId xmlns:a16="http://schemas.microsoft.com/office/drawing/2014/main" id="{FCE2F672-86E1-4641-A356-411C7A8E3BF7}"/>
                      </a:ext>
                    </a:extLst>
                  </p:cNvPr>
                  <p:cNvSpPr/>
                  <p:nvPr/>
                </p:nvSpPr>
                <p:spPr>
                  <a:xfrm>
                    <a:off x="5208649" y="1456644"/>
                    <a:ext cx="442083" cy="440833"/>
                  </a:xfrm>
                  <a:custGeom>
                    <a:avLst/>
                    <a:gdLst>
                      <a:gd name="connsiteX0" fmla="*/ 442056 w 442083"/>
                      <a:gd name="connsiteY0" fmla="*/ 222327 h 440833"/>
                      <a:gd name="connsiteX1" fmla="*/ 217171 w 442083"/>
                      <a:gd name="connsiteY1" fmla="*/ 440735 h 440833"/>
                      <a:gd name="connsiteX2" fmla="*/ 1 w 442083"/>
                      <a:gd name="connsiteY2" fmla="*/ 219184 h 440833"/>
                      <a:gd name="connsiteX3" fmla="*/ 222600 w 442083"/>
                      <a:gd name="connsiteY3" fmla="*/ 13 h 440833"/>
                      <a:gd name="connsiteX4" fmla="*/ 442056 w 442083"/>
                      <a:gd name="connsiteY4" fmla="*/ 222327 h 440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2083" h="440833">
                        <a:moveTo>
                          <a:pt x="442056" y="222327"/>
                        </a:moveTo>
                        <a:cubicBezTo>
                          <a:pt x="440151" y="342723"/>
                          <a:pt x="335472" y="444450"/>
                          <a:pt x="217171" y="440735"/>
                        </a:cubicBezTo>
                        <a:cubicBezTo>
                          <a:pt x="97537" y="437020"/>
                          <a:pt x="-380" y="337198"/>
                          <a:pt x="1" y="219184"/>
                        </a:cubicBezTo>
                        <a:cubicBezTo>
                          <a:pt x="382" y="97264"/>
                          <a:pt x="100490" y="-1320"/>
                          <a:pt x="222600" y="13"/>
                        </a:cubicBezTo>
                        <a:cubicBezTo>
                          <a:pt x="345473" y="1347"/>
                          <a:pt x="443962" y="101169"/>
                          <a:pt x="442056" y="222327"/>
                        </a:cubicBez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19" name="Freeform: Shape 18">
                    <a:extLst>
                      <a:ext uri="{FF2B5EF4-FFF2-40B4-BE49-F238E27FC236}">
                        <a16:creationId xmlns:a16="http://schemas.microsoft.com/office/drawing/2014/main" id="{8EEA8DF4-6A82-4806-8F39-00E740B361F8}"/>
                      </a:ext>
                    </a:extLst>
                  </p:cNvPr>
                  <p:cNvSpPr/>
                  <p:nvPr/>
                </p:nvSpPr>
                <p:spPr>
                  <a:xfrm>
                    <a:off x="5445256" y="3159632"/>
                    <a:ext cx="206971" cy="624556"/>
                  </a:xfrm>
                  <a:custGeom>
                    <a:avLst/>
                    <a:gdLst>
                      <a:gd name="connsiteX0" fmla="*/ 187 w 206971"/>
                      <a:gd name="connsiteY0" fmla="*/ 19526 h 624556"/>
                      <a:gd name="connsiteX1" fmla="*/ 203736 w 206971"/>
                      <a:gd name="connsiteY1" fmla="*/ 0 h 624556"/>
                      <a:gd name="connsiteX2" fmla="*/ 206689 w 206971"/>
                      <a:gd name="connsiteY2" fmla="*/ 36957 h 624556"/>
                      <a:gd name="connsiteX3" fmla="*/ 206784 w 206971"/>
                      <a:gd name="connsiteY3" fmla="*/ 507968 h 624556"/>
                      <a:gd name="connsiteX4" fmla="*/ 102866 w 206971"/>
                      <a:gd name="connsiteY4" fmla="*/ 624554 h 624556"/>
                      <a:gd name="connsiteX5" fmla="*/ 472 w 206971"/>
                      <a:gd name="connsiteY5" fmla="*/ 511112 h 624556"/>
                      <a:gd name="connsiteX6" fmla="*/ 187 w 206971"/>
                      <a:gd name="connsiteY6" fmla="*/ 19526 h 624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971" h="624556">
                        <a:moveTo>
                          <a:pt x="187" y="19526"/>
                        </a:moveTo>
                        <a:cubicBezTo>
                          <a:pt x="71815" y="12668"/>
                          <a:pt x="136204" y="6477"/>
                          <a:pt x="203736" y="0"/>
                        </a:cubicBezTo>
                        <a:cubicBezTo>
                          <a:pt x="204783" y="12668"/>
                          <a:pt x="206689" y="24860"/>
                          <a:pt x="206689" y="36957"/>
                        </a:cubicBezTo>
                        <a:cubicBezTo>
                          <a:pt x="206879" y="193929"/>
                          <a:pt x="207165" y="350996"/>
                          <a:pt x="206784" y="507968"/>
                        </a:cubicBezTo>
                        <a:cubicBezTo>
                          <a:pt x="206593" y="578834"/>
                          <a:pt x="164779" y="624935"/>
                          <a:pt x="102866" y="624554"/>
                        </a:cubicBezTo>
                        <a:cubicBezTo>
                          <a:pt x="43335" y="624173"/>
                          <a:pt x="853" y="578644"/>
                          <a:pt x="472" y="511112"/>
                        </a:cubicBezTo>
                        <a:cubicBezTo>
                          <a:pt x="-385" y="348043"/>
                          <a:pt x="187" y="184975"/>
                          <a:pt x="187" y="19526"/>
                        </a:cubicBez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22" name="Freeform: Shape 21">
                    <a:extLst>
                      <a:ext uri="{FF2B5EF4-FFF2-40B4-BE49-F238E27FC236}">
                        <a16:creationId xmlns:a16="http://schemas.microsoft.com/office/drawing/2014/main" id="{6FD43FD3-2F2C-4F0D-920D-3163F0AB8E94}"/>
                      </a:ext>
                    </a:extLst>
                  </p:cNvPr>
                  <p:cNvSpPr/>
                  <p:nvPr/>
                </p:nvSpPr>
                <p:spPr>
                  <a:xfrm>
                    <a:off x="5208384" y="3159537"/>
                    <a:ext cx="205743" cy="624423"/>
                  </a:xfrm>
                  <a:custGeom>
                    <a:avLst/>
                    <a:gdLst>
                      <a:gd name="connsiteX0" fmla="*/ 1029 w 205743"/>
                      <a:gd name="connsiteY0" fmla="*/ 0 h 624423"/>
                      <a:gd name="connsiteX1" fmla="*/ 201911 w 205743"/>
                      <a:gd name="connsiteY1" fmla="*/ 19240 h 624423"/>
                      <a:gd name="connsiteX2" fmla="*/ 205435 w 205743"/>
                      <a:gd name="connsiteY2" fmla="*/ 54102 h 624423"/>
                      <a:gd name="connsiteX3" fmla="*/ 205531 w 205743"/>
                      <a:gd name="connsiteY3" fmla="*/ 506063 h 624423"/>
                      <a:gd name="connsiteX4" fmla="*/ 131236 w 205743"/>
                      <a:gd name="connsiteY4" fmla="*/ 619697 h 624423"/>
                      <a:gd name="connsiteX5" fmla="*/ 3029 w 205743"/>
                      <a:gd name="connsiteY5" fmla="*/ 541496 h 624423"/>
                      <a:gd name="connsiteX6" fmla="*/ 1029 w 205743"/>
                      <a:gd name="connsiteY6" fmla="*/ 0 h 624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743" h="624423">
                        <a:moveTo>
                          <a:pt x="1029" y="0"/>
                        </a:moveTo>
                        <a:cubicBezTo>
                          <a:pt x="69228" y="6572"/>
                          <a:pt x="133617" y="12763"/>
                          <a:pt x="201911" y="19240"/>
                        </a:cubicBezTo>
                        <a:cubicBezTo>
                          <a:pt x="203054" y="30004"/>
                          <a:pt x="205340" y="42100"/>
                          <a:pt x="205435" y="54102"/>
                        </a:cubicBezTo>
                        <a:cubicBezTo>
                          <a:pt x="205721" y="204788"/>
                          <a:pt x="205912" y="355378"/>
                          <a:pt x="205531" y="506063"/>
                        </a:cubicBezTo>
                        <a:cubicBezTo>
                          <a:pt x="205340" y="567595"/>
                          <a:pt x="180861" y="603885"/>
                          <a:pt x="131236" y="619697"/>
                        </a:cubicBezTo>
                        <a:cubicBezTo>
                          <a:pt x="74467" y="637794"/>
                          <a:pt x="4839" y="602266"/>
                          <a:pt x="3029" y="541496"/>
                        </a:cubicBezTo>
                        <a:cubicBezTo>
                          <a:pt x="-2305" y="361569"/>
                          <a:pt x="1029" y="181261"/>
                          <a:pt x="1029" y="0"/>
                        </a:cubicBez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grpSp>
            <p:grpSp>
              <p:nvGrpSpPr>
                <p:cNvPr id="23" name="Graphic 2">
                  <a:extLst>
                    <a:ext uri="{FF2B5EF4-FFF2-40B4-BE49-F238E27FC236}">
                      <a16:creationId xmlns:a16="http://schemas.microsoft.com/office/drawing/2014/main" id="{AAFA77A7-0898-4438-A5BA-DCDA53018668}"/>
                    </a:ext>
                  </a:extLst>
                </p:cNvPr>
                <p:cNvGrpSpPr/>
                <p:nvPr/>
              </p:nvGrpSpPr>
              <p:grpSpPr>
                <a:xfrm>
                  <a:off x="6143177" y="2644207"/>
                  <a:ext cx="621363" cy="1139814"/>
                  <a:chOff x="6143177" y="2644207"/>
                  <a:chExt cx="621363" cy="1139814"/>
                </a:xfrm>
                <a:grpFill/>
              </p:grpSpPr>
              <p:sp>
                <p:nvSpPr>
                  <p:cNvPr id="24" name="Freeform: Shape 23">
                    <a:extLst>
                      <a:ext uri="{FF2B5EF4-FFF2-40B4-BE49-F238E27FC236}">
                        <a16:creationId xmlns:a16="http://schemas.microsoft.com/office/drawing/2014/main" id="{0AEA9AFD-8BCE-472E-AEDB-EDEABF903695}"/>
                      </a:ext>
                    </a:extLst>
                  </p:cNvPr>
                  <p:cNvSpPr/>
                  <p:nvPr/>
                </p:nvSpPr>
                <p:spPr>
                  <a:xfrm>
                    <a:off x="6143177" y="2967153"/>
                    <a:ext cx="621363" cy="816868"/>
                  </a:xfrm>
                  <a:custGeom>
                    <a:avLst/>
                    <a:gdLst>
                      <a:gd name="connsiteX0" fmla="*/ 128274 w 621363"/>
                      <a:gd name="connsiteY0" fmla="*/ 230579 h 816868"/>
                      <a:gd name="connsiteX1" fmla="*/ 107509 w 621363"/>
                      <a:gd name="connsiteY1" fmla="*/ 398315 h 816868"/>
                      <a:gd name="connsiteX2" fmla="*/ 52645 w 621363"/>
                      <a:gd name="connsiteY2" fmla="*/ 461846 h 816868"/>
                      <a:gd name="connsiteX3" fmla="*/ 67 w 621363"/>
                      <a:gd name="connsiteY3" fmla="*/ 397267 h 816868"/>
                      <a:gd name="connsiteX4" fmla="*/ 63408 w 621363"/>
                      <a:gd name="connsiteY4" fmla="*/ 112374 h 816868"/>
                      <a:gd name="connsiteX5" fmla="*/ 133608 w 621363"/>
                      <a:gd name="connsiteY5" fmla="*/ 23887 h 816868"/>
                      <a:gd name="connsiteX6" fmla="*/ 228572 w 621363"/>
                      <a:gd name="connsiteY6" fmla="*/ 11885 h 816868"/>
                      <a:gd name="connsiteX7" fmla="*/ 393354 w 621363"/>
                      <a:gd name="connsiteY7" fmla="*/ 11599 h 816868"/>
                      <a:gd name="connsiteX8" fmla="*/ 492319 w 621363"/>
                      <a:gd name="connsiteY8" fmla="*/ 26839 h 816868"/>
                      <a:gd name="connsiteX9" fmla="*/ 608714 w 621363"/>
                      <a:gd name="connsiteY9" fmla="*/ 270394 h 816868"/>
                      <a:gd name="connsiteX10" fmla="*/ 621002 w 621363"/>
                      <a:gd name="connsiteY10" fmla="*/ 397933 h 816868"/>
                      <a:gd name="connsiteX11" fmla="*/ 568043 w 621363"/>
                      <a:gd name="connsiteY11" fmla="*/ 461846 h 816868"/>
                      <a:gd name="connsiteX12" fmla="*/ 514036 w 621363"/>
                      <a:gd name="connsiteY12" fmla="*/ 402410 h 816868"/>
                      <a:gd name="connsiteX13" fmla="*/ 493176 w 621363"/>
                      <a:gd name="connsiteY13" fmla="*/ 230389 h 816868"/>
                      <a:gd name="connsiteX14" fmla="*/ 480222 w 621363"/>
                      <a:gd name="connsiteY14" fmla="*/ 230674 h 816868"/>
                      <a:gd name="connsiteX15" fmla="*/ 478508 w 621363"/>
                      <a:gd name="connsiteY15" fmla="*/ 264012 h 816868"/>
                      <a:gd name="connsiteX16" fmla="*/ 478412 w 621363"/>
                      <a:gd name="connsiteY16" fmla="*/ 720926 h 816868"/>
                      <a:gd name="connsiteX17" fmla="*/ 403927 w 621363"/>
                      <a:gd name="connsiteY17" fmla="*/ 816843 h 816868"/>
                      <a:gd name="connsiteX18" fmla="*/ 325155 w 621363"/>
                      <a:gd name="connsiteY18" fmla="*/ 719307 h 816868"/>
                      <a:gd name="connsiteX19" fmla="*/ 325060 w 621363"/>
                      <a:gd name="connsiteY19" fmla="*/ 496898 h 816868"/>
                      <a:gd name="connsiteX20" fmla="*/ 307629 w 621363"/>
                      <a:gd name="connsiteY20" fmla="*/ 492993 h 816868"/>
                      <a:gd name="connsiteX21" fmla="*/ 296199 w 621363"/>
                      <a:gd name="connsiteY21" fmla="*/ 529664 h 816868"/>
                      <a:gd name="connsiteX22" fmla="*/ 295533 w 621363"/>
                      <a:gd name="connsiteY22" fmla="*/ 724736 h 816868"/>
                      <a:gd name="connsiteX23" fmla="*/ 216189 w 621363"/>
                      <a:gd name="connsiteY23" fmla="*/ 816748 h 816868"/>
                      <a:gd name="connsiteX24" fmla="*/ 142942 w 621363"/>
                      <a:gd name="connsiteY24" fmla="*/ 724736 h 816868"/>
                      <a:gd name="connsiteX25" fmla="*/ 142847 w 621363"/>
                      <a:gd name="connsiteY25" fmla="*/ 230770 h 816868"/>
                      <a:gd name="connsiteX26" fmla="*/ 128274 w 621363"/>
                      <a:gd name="connsiteY26" fmla="*/ 230579 h 81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21363" h="816868">
                        <a:moveTo>
                          <a:pt x="128274" y="230579"/>
                        </a:moveTo>
                        <a:cubicBezTo>
                          <a:pt x="121130" y="286491"/>
                          <a:pt x="111700" y="342212"/>
                          <a:pt x="107509" y="398315"/>
                        </a:cubicBezTo>
                        <a:cubicBezTo>
                          <a:pt x="104651" y="435652"/>
                          <a:pt x="90935" y="462323"/>
                          <a:pt x="52645" y="461846"/>
                        </a:cubicBezTo>
                        <a:cubicBezTo>
                          <a:pt x="14735" y="461370"/>
                          <a:pt x="-1171" y="435557"/>
                          <a:pt x="67" y="397267"/>
                        </a:cubicBezTo>
                        <a:cubicBezTo>
                          <a:pt x="3210" y="298111"/>
                          <a:pt x="16545" y="200956"/>
                          <a:pt x="63408" y="112374"/>
                        </a:cubicBezTo>
                        <a:cubicBezTo>
                          <a:pt x="80744" y="79608"/>
                          <a:pt x="107223" y="50557"/>
                          <a:pt x="133608" y="23887"/>
                        </a:cubicBezTo>
                        <a:cubicBezTo>
                          <a:pt x="160182" y="-2878"/>
                          <a:pt x="191234" y="-7546"/>
                          <a:pt x="228572" y="11885"/>
                        </a:cubicBezTo>
                        <a:cubicBezTo>
                          <a:pt x="281912" y="39698"/>
                          <a:pt x="340109" y="39603"/>
                          <a:pt x="393354" y="11599"/>
                        </a:cubicBezTo>
                        <a:cubicBezTo>
                          <a:pt x="433074" y="-9260"/>
                          <a:pt x="462410" y="1027"/>
                          <a:pt x="492319" y="26839"/>
                        </a:cubicBezTo>
                        <a:cubicBezTo>
                          <a:pt x="566709" y="91038"/>
                          <a:pt x="591665" y="179335"/>
                          <a:pt x="608714" y="270394"/>
                        </a:cubicBezTo>
                        <a:cubicBezTo>
                          <a:pt x="616525" y="312208"/>
                          <a:pt x="617382" y="355357"/>
                          <a:pt x="621002" y="397933"/>
                        </a:cubicBezTo>
                        <a:cubicBezTo>
                          <a:pt x="624240" y="436319"/>
                          <a:pt x="605667" y="461561"/>
                          <a:pt x="568043" y="461846"/>
                        </a:cubicBezTo>
                        <a:cubicBezTo>
                          <a:pt x="533372" y="462132"/>
                          <a:pt x="516989" y="438701"/>
                          <a:pt x="514036" y="402410"/>
                        </a:cubicBezTo>
                        <a:cubicBezTo>
                          <a:pt x="509464" y="344879"/>
                          <a:pt x="500415" y="287729"/>
                          <a:pt x="493176" y="230389"/>
                        </a:cubicBezTo>
                        <a:cubicBezTo>
                          <a:pt x="488890" y="230484"/>
                          <a:pt x="484509" y="230579"/>
                          <a:pt x="480222" y="230674"/>
                        </a:cubicBezTo>
                        <a:cubicBezTo>
                          <a:pt x="479651" y="241819"/>
                          <a:pt x="478508" y="252963"/>
                          <a:pt x="478508" y="264012"/>
                        </a:cubicBezTo>
                        <a:cubicBezTo>
                          <a:pt x="478412" y="416317"/>
                          <a:pt x="478603" y="568622"/>
                          <a:pt x="478412" y="720926"/>
                        </a:cubicBezTo>
                        <a:cubicBezTo>
                          <a:pt x="478317" y="782172"/>
                          <a:pt x="451933" y="815795"/>
                          <a:pt x="403927" y="816843"/>
                        </a:cubicBezTo>
                        <a:cubicBezTo>
                          <a:pt x="355350" y="817986"/>
                          <a:pt x="325441" y="781315"/>
                          <a:pt x="325155" y="719307"/>
                        </a:cubicBezTo>
                        <a:cubicBezTo>
                          <a:pt x="324869" y="645203"/>
                          <a:pt x="325060" y="571003"/>
                          <a:pt x="325060" y="496898"/>
                        </a:cubicBezTo>
                        <a:cubicBezTo>
                          <a:pt x="319250" y="495565"/>
                          <a:pt x="313439" y="494327"/>
                          <a:pt x="307629" y="492993"/>
                        </a:cubicBezTo>
                        <a:cubicBezTo>
                          <a:pt x="303629" y="505185"/>
                          <a:pt x="296390" y="517377"/>
                          <a:pt x="296199" y="529664"/>
                        </a:cubicBezTo>
                        <a:cubicBezTo>
                          <a:pt x="295056" y="594720"/>
                          <a:pt x="295913" y="659776"/>
                          <a:pt x="295533" y="724736"/>
                        </a:cubicBezTo>
                        <a:cubicBezTo>
                          <a:pt x="295247" y="781219"/>
                          <a:pt x="262767" y="818462"/>
                          <a:pt x="216189" y="816748"/>
                        </a:cubicBezTo>
                        <a:cubicBezTo>
                          <a:pt x="169802" y="815128"/>
                          <a:pt x="143037" y="782077"/>
                          <a:pt x="142942" y="724736"/>
                        </a:cubicBezTo>
                        <a:cubicBezTo>
                          <a:pt x="142751" y="560049"/>
                          <a:pt x="142847" y="395457"/>
                          <a:pt x="142847" y="230770"/>
                        </a:cubicBezTo>
                        <a:cubicBezTo>
                          <a:pt x="138179" y="230865"/>
                          <a:pt x="133226" y="230770"/>
                          <a:pt x="128274" y="230579"/>
                        </a:cubicBez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25" name="Freeform: Shape 24">
                    <a:extLst>
                      <a:ext uri="{FF2B5EF4-FFF2-40B4-BE49-F238E27FC236}">
                        <a16:creationId xmlns:a16="http://schemas.microsoft.com/office/drawing/2014/main" id="{229BDF02-7B69-4164-968A-4313860F8F52}"/>
                      </a:ext>
                    </a:extLst>
                  </p:cNvPr>
                  <p:cNvSpPr/>
                  <p:nvPr/>
                </p:nvSpPr>
                <p:spPr>
                  <a:xfrm>
                    <a:off x="6296969" y="2644207"/>
                    <a:ext cx="313872" cy="313120"/>
                  </a:xfrm>
                  <a:custGeom>
                    <a:avLst/>
                    <a:gdLst>
                      <a:gd name="connsiteX0" fmla="*/ 158789 w 313872"/>
                      <a:gd name="connsiteY0" fmla="*/ 313114 h 313120"/>
                      <a:gd name="connsiteX1" fmla="*/ 8 w 313872"/>
                      <a:gd name="connsiteY1" fmla="*/ 159571 h 313120"/>
                      <a:gd name="connsiteX2" fmla="*/ 154789 w 313872"/>
                      <a:gd name="connsiteY2" fmla="*/ 27 h 313120"/>
                      <a:gd name="connsiteX3" fmla="*/ 313856 w 313872"/>
                      <a:gd name="connsiteY3" fmla="*/ 155475 h 313120"/>
                      <a:gd name="connsiteX4" fmla="*/ 158789 w 313872"/>
                      <a:gd name="connsiteY4" fmla="*/ 313114 h 313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872" h="313120">
                        <a:moveTo>
                          <a:pt x="158789" y="313114"/>
                        </a:moveTo>
                        <a:cubicBezTo>
                          <a:pt x="70397" y="313876"/>
                          <a:pt x="865" y="246629"/>
                          <a:pt x="8" y="159571"/>
                        </a:cubicBezTo>
                        <a:cubicBezTo>
                          <a:pt x="-849" y="73560"/>
                          <a:pt x="68778" y="1741"/>
                          <a:pt x="154789" y="27"/>
                        </a:cubicBezTo>
                        <a:cubicBezTo>
                          <a:pt x="239371" y="-1592"/>
                          <a:pt x="312713" y="70036"/>
                          <a:pt x="313856" y="155475"/>
                        </a:cubicBezTo>
                        <a:cubicBezTo>
                          <a:pt x="315095" y="242343"/>
                          <a:pt x="246038" y="312447"/>
                          <a:pt x="158789" y="313114"/>
                        </a:cubicBez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grpSp>
            <p:grpSp>
              <p:nvGrpSpPr>
                <p:cNvPr id="26" name="Graphic 2">
                  <a:extLst>
                    <a:ext uri="{FF2B5EF4-FFF2-40B4-BE49-F238E27FC236}">
                      <a16:creationId xmlns:a16="http://schemas.microsoft.com/office/drawing/2014/main" id="{AAFA77A7-0898-4438-A5BA-DCDA53018668}"/>
                    </a:ext>
                  </a:extLst>
                </p:cNvPr>
                <p:cNvGrpSpPr/>
                <p:nvPr/>
              </p:nvGrpSpPr>
              <p:grpSpPr>
                <a:xfrm>
                  <a:off x="2381294" y="1760617"/>
                  <a:ext cx="1199571" cy="2023584"/>
                  <a:chOff x="2381294" y="1760617"/>
                  <a:chExt cx="1199571" cy="2023584"/>
                </a:xfrm>
                <a:grpFill/>
              </p:grpSpPr>
              <p:sp>
                <p:nvSpPr>
                  <p:cNvPr id="27" name="Freeform: Shape 26">
                    <a:extLst>
                      <a:ext uri="{FF2B5EF4-FFF2-40B4-BE49-F238E27FC236}">
                        <a16:creationId xmlns:a16="http://schemas.microsoft.com/office/drawing/2014/main" id="{991A4DA7-1967-4CC3-B316-6D0CF479F36C}"/>
                      </a:ext>
                    </a:extLst>
                  </p:cNvPr>
                  <p:cNvSpPr/>
                  <p:nvPr/>
                </p:nvSpPr>
                <p:spPr>
                  <a:xfrm>
                    <a:off x="2381294" y="2178176"/>
                    <a:ext cx="1199571" cy="1602179"/>
                  </a:xfrm>
                  <a:custGeom>
                    <a:avLst/>
                    <a:gdLst>
                      <a:gd name="connsiteX0" fmla="*/ 1131811 w 1199571"/>
                      <a:gd name="connsiteY0" fmla="*/ 844963 h 1602179"/>
                      <a:gd name="connsiteX1" fmla="*/ 1006748 w 1199571"/>
                      <a:gd name="connsiteY1" fmla="*/ 743617 h 1602179"/>
                      <a:gd name="connsiteX2" fmla="*/ 961218 w 1199571"/>
                      <a:gd name="connsiteY2" fmla="*/ 771430 h 1602179"/>
                      <a:gd name="connsiteX3" fmla="*/ 1015892 w 1199571"/>
                      <a:gd name="connsiteY3" fmla="*/ 1035844 h 1602179"/>
                      <a:gd name="connsiteX4" fmla="*/ 987793 w 1199571"/>
                      <a:gd name="connsiteY4" fmla="*/ 1089374 h 1602179"/>
                      <a:gd name="connsiteX5" fmla="*/ 484587 w 1199571"/>
                      <a:gd name="connsiteY5" fmla="*/ 1159193 h 1602179"/>
                      <a:gd name="connsiteX6" fmla="*/ 193122 w 1199571"/>
                      <a:gd name="connsiteY6" fmla="*/ 1098042 h 1602179"/>
                      <a:gd name="connsiteX7" fmla="*/ 135401 w 1199571"/>
                      <a:gd name="connsiteY7" fmla="*/ 1072801 h 1602179"/>
                      <a:gd name="connsiteX8" fmla="*/ 298278 w 1199571"/>
                      <a:gd name="connsiteY8" fmla="*/ 271082 h 1602179"/>
                      <a:gd name="connsiteX9" fmla="*/ 283991 w 1199571"/>
                      <a:gd name="connsiteY9" fmla="*/ 266033 h 1602179"/>
                      <a:gd name="connsiteX10" fmla="*/ 203314 w 1199571"/>
                      <a:gd name="connsiteY10" fmla="*/ 482727 h 1602179"/>
                      <a:gd name="connsiteX11" fmla="*/ 144354 w 1199571"/>
                      <a:gd name="connsiteY11" fmla="*/ 770858 h 1602179"/>
                      <a:gd name="connsiteX12" fmla="*/ 63297 w 1199571"/>
                      <a:gd name="connsiteY12" fmla="*/ 850392 h 1602179"/>
                      <a:gd name="connsiteX13" fmla="*/ 1003 w 1199571"/>
                      <a:gd name="connsiteY13" fmla="*/ 760666 h 1602179"/>
                      <a:gd name="connsiteX14" fmla="*/ 156165 w 1199571"/>
                      <a:gd name="connsiteY14" fmla="*/ 210884 h 1602179"/>
                      <a:gd name="connsiteX15" fmla="*/ 348570 w 1199571"/>
                      <a:gd name="connsiteY15" fmla="*/ 0 h 1602179"/>
                      <a:gd name="connsiteX16" fmla="*/ 577075 w 1199571"/>
                      <a:gd name="connsiteY16" fmla="*/ 157829 h 1602179"/>
                      <a:gd name="connsiteX17" fmla="*/ 807866 w 1199571"/>
                      <a:gd name="connsiteY17" fmla="*/ 571 h 1602179"/>
                      <a:gd name="connsiteX18" fmla="*/ 964838 w 1199571"/>
                      <a:gd name="connsiteY18" fmla="*/ 150304 h 1602179"/>
                      <a:gd name="connsiteX19" fmla="*/ 1125715 w 1199571"/>
                      <a:gd name="connsiteY19" fmla="*/ 568833 h 1602179"/>
                      <a:gd name="connsiteX20" fmla="*/ 1160958 w 1199571"/>
                      <a:gd name="connsiteY20" fmla="*/ 637318 h 1602179"/>
                      <a:gd name="connsiteX21" fmla="*/ 1197534 w 1199571"/>
                      <a:gd name="connsiteY21" fmla="*/ 736854 h 1602179"/>
                      <a:gd name="connsiteX22" fmla="*/ 1197819 w 1199571"/>
                      <a:gd name="connsiteY22" fmla="*/ 1550670 h 1602179"/>
                      <a:gd name="connsiteX23" fmla="*/ 1165625 w 1199571"/>
                      <a:gd name="connsiteY23" fmla="*/ 1601438 h 1602179"/>
                      <a:gd name="connsiteX24" fmla="*/ 1132002 w 1199571"/>
                      <a:gd name="connsiteY24" fmla="*/ 1548956 h 1602179"/>
                      <a:gd name="connsiteX25" fmla="*/ 1131811 w 1199571"/>
                      <a:gd name="connsiteY25" fmla="*/ 896969 h 1602179"/>
                      <a:gd name="connsiteX26" fmla="*/ 1131811 w 1199571"/>
                      <a:gd name="connsiteY26" fmla="*/ 844963 h 1602179"/>
                      <a:gd name="connsiteX27" fmla="*/ 873588 w 1199571"/>
                      <a:gd name="connsiteY27" fmla="*/ 260890 h 1602179"/>
                      <a:gd name="connsiteX28" fmla="*/ 858253 w 1199571"/>
                      <a:gd name="connsiteY28" fmla="*/ 266224 h 1602179"/>
                      <a:gd name="connsiteX29" fmla="*/ 940454 w 1199571"/>
                      <a:gd name="connsiteY29" fmla="*/ 669607 h 1602179"/>
                      <a:gd name="connsiteX30" fmla="*/ 976363 w 1199571"/>
                      <a:gd name="connsiteY30" fmla="*/ 562451 h 1602179"/>
                      <a:gd name="connsiteX31" fmla="*/ 961409 w 1199571"/>
                      <a:gd name="connsiteY31" fmla="*/ 502825 h 1602179"/>
                      <a:gd name="connsiteX32" fmla="*/ 873588 w 1199571"/>
                      <a:gd name="connsiteY32" fmla="*/ 260890 h 1602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99571" h="1602179">
                        <a:moveTo>
                          <a:pt x="1131811" y="844963"/>
                        </a:moveTo>
                        <a:cubicBezTo>
                          <a:pt x="1043895" y="858203"/>
                          <a:pt x="1028846" y="845439"/>
                          <a:pt x="1006748" y="743617"/>
                        </a:cubicBezTo>
                        <a:cubicBezTo>
                          <a:pt x="992175" y="752475"/>
                          <a:pt x="977792" y="761238"/>
                          <a:pt x="961218" y="771430"/>
                        </a:cubicBezTo>
                        <a:cubicBezTo>
                          <a:pt x="979221" y="859631"/>
                          <a:pt x="995699" y="948119"/>
                          <a:pt x="1015892" y="1035844"/>
                        </a:cubicBezTo>
                        <a:cubicBezTo>
                          <a:pt x="1022750" y="1065562"/>
                          <a:pt x="1014463" y="1078325"/>
                          <a:pt x="987793" y="1089374"/>
                        </a:cubicBezTo>
                        <a:cubicBezTo>
                          <a:pt x="825963" y="1156049"/>
                          <a:pt x="656609" y="1177004"/>
                          <a:pt x="484587" y="1159193"/>
                        </a:cubicBezTo>
                        <a:cubicBezTo>
                          <a:pt x="386385" y="1149001"/>
                          <a:pt x="289992" y="1120045"/>
                          <a:pt x="193122" y="1098042"/>
                        </a:cubicBezTo>
                        <a:cubicBezTo>
                          <a:pt x="173787" y="1093661"/>
                          <a:pt x="155975" y="1082040"/>
                          <a:pt x="135401" y="1072801"/>
                        </a:cubicBezTo>
                        <a:cubicBezTo>
                          <a:pt x="190074" y="803434"/>
                          <a:pt x="244176" y="537210"/>
                          <a:pt x="298278" y="271082"/>
                        </a:cubicBezTo>
                        <a:cubicBezTo>
                          <a:pt x="293516" y="269367"/>
                          <a:pt x="288753" y="267748"/>
                          <a:pt x="283991" y="266033"/>
                        </a:cubicBezTo>
                        <a:cubicBezTo>
                          <a:pt x="256654" y="338138"/>
                          <a:pt x="223317" y="408623"/>
                          <a:pt x="203314" y="482727"/>
                        </a:cubicBezTo>
                        <a:cubicBezTo>
                          <a:pt x="177882" y="577215"/>
                          <a:pt x="161690" y="674370"/>
                          <a:pt x="144354" y="770858"/>
                        </a:cubicBezTo>
                        <a:cubicBezTo>
                          <a:pt x="134544" y="825246"/>
                          <a:pt x="107588" y="854774"/>
                          <a:pt x="63297" y="850392"/>
                        </a:cubicBezTo>
                        <a:cubicBezTo>
                          <a:pt x="20720" y="846106"/>
                          <a:pt x="-5569" y="812578"/>
                          <a:pt x="1003" y="760666"/>
                        </a:cubicBezTo>
                        <a:cubicBezTo>
                          <a:pt x="25197" y="569786"/>
                          <a:pt x="64535" y="382619"/>
                          <a:pt x="156165" y="210884"/>
                        </a:cubicBezTo>
                        <a:cubicBezTo>
                          <a:pt x="201314" y="126206"/>
                          <a:pt x="258369" y="50863"/>
                          <a:pt x="348570" y="0"/>
                        </a:cubicBezTo>
                        <a:cubicBezTo>
                          <a:pt x="395243" y="96488"/>
                          <a:pt x="466871" y="157163"/>
                          <a:pt x="577075" y="157829"/>
                        </a:cubicBezTo>
                        <a:cubicBezTo>
                          <a:pt x="687851" y="158496"/>
                          <a:pt x="760527" y="99917"/>
                          <a:pt x="807866" y="571"/>
                        </a:cubicBezTo>
                        <a:cubicBezTo>
                          <a:pt x="876922" y="35147"/>
                          <a:pt x="924357" y="89249"/>
                          <a:pt x="964838" y="150304"/>
                        </a:cubicBezTo>
                        <a:cubicBezTo>
                          <a:pt x="1049325" y="277844"/>
                          <a:pt x="1092282" y="421386"/>
                          <a:pt x="1125715" y="568833"/>
                        </a:cubicBezTo>
                        <a:cubicBezTo>
                          <a:pt x="1131240" y="593027"/>
                          <a:pt x="1150671" y="613791"/>
                          <a:pt x="1160958" y="637318"/>
                        </a:cubicBezTo>
                        <a:cubicBezTo>
                          <a:pt x="1175055" y="669893"/>
                          <a:pt x="1197153" y="703421"/>
                          <a:pt x="1197534" y="736854"/>
                        </a:cubicBezTo>
                        <a:cubicBezTo>
                          <a:pt x="1200486" y="1008126"/>
                          <a:pt x="1199915" y="1279398"/>
                          <a:pt x="1197819" y="1550670"/>
                        </a:cubicBezTo>
                        <a:cubicBezTo>
                          <a:pt x="1197724" y="1568482"/>
                          <a:pt x="1179246" y="1599248"/>
                          <a:pt x="1165625" y="1601438"/>
                        </a:cubicBezTo>
                        <a:cubicBezTo>
                          <a:pt x="1127525" y="1607630"/>
                          <a:pt x="1132002" y="1573721"/>
                          <a:pt x="1132002" y="1548956"/>
                        </a:cubicBezTo>
                        <a:cubicBezTo>
                          <a:pt x="1131716" y="1331595"/>
                          <a:pt x="1131811" y="1114235"/>
                          <a:pt x="1131811" y="896969"/>
                        </a:cubicBezTo>
                        <a:cubicBezTo>
                          <a:pt x="1131811" y="879634"/>
                          <a:pt x="1131811" y="862584"/>
                          <a:pt x="1131811" y="844963"/>
                        </a:cubicBezTo>
                        <a:close/>
                        <a:moveTo>
                          <a:pt x="873588" y="260890"/>
                        </a:moveTo>
                        <a:cubicBezTo>
                          <a:pt x="868445" y="262700"/>
                          <a:pt x="863301" y="264414"/>
                          <a:pt x="858253" y="266224"/>
                        </a:cubicBezTo>
                        <a:cubicBezTo>
                          <a:pt x="885495" y="399860"/>
                          <a:pt x="912736" y="533590"/>
                          <a:pt x="940454" y="669607"/>
                        </a:cubicBezTo>
                        <a:cubicBezTo>
                          <a:pt x="982078" y="639890"/>
                          <a:pt x="994556" y="606647"/>
                          <a:pt x="976363" y="562451"/>
                        </a:cubicBezTo>
                        <a:cubicBezTo>
                          <a:pt x="968648" y="543687"/>
                          <a:pt x="968172" y="522065"/>
                          <a:pt x="961409" y="502825"/>
                        </a:cubicBezTo>
                        <a:cubicBezTo>
                          <a:pt x="932834" y="421957"/>
                          <a:pt x="903021" y="341567"/>
                          <a:pt x="873588" y="260890"/>
                        </a:cubicBez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30" name="Freeform: Shape 29">
                    <a:extLst>
                      <a:ext uri="{FF2B5EF4-FFF2-40B4-BE49-F238E27FC236}">
                        <a16:creationId xmlns:a16="http://schemas.microsoft.com/office/drawing/2014/main" id="{6D74DA9A-ED04-4009-97C1-48F6C73B6955}"/>
                      </a:ext>
                    </a:extLst>
                  </p:cNvPr>
                  <p:cNvSpPr/>
                  <p:nvPr/>
                </p:nvSpPr>
                <p:spPr>
                  <a:xfrm>
                    <a:off x="2741579" y="1875757"/>
                    <a:ext cx="439486" cy="439014"/>
                  </a:xfrm>
                  <a:custGeom>
                    <a:avLst/>
                    <a:gdLst>
                      <a:gd name="connsiteX0" fmla="*/ 2 w 439486"/>
                      <a:gd name="connsiteY0" fmla="*/ 220980 h 439014"/>
                      <a:gd name="connsiteX1" fmla="*/ 218696 w 439486"/>
                      <a:gd name="connsiteY1" fmla="*/ 0 h 439014"/>
                      <a:gd name="connsiteX2" fmla="*/ 439485 w 439486"/>
                      <a:gd name="connsiteY2" fmla="*/ 220885 h 439014"/>
                      <a:gd name="connsiteX3" fmla="*/ 221172 w 439486"/>
                      <a:gd name="connsiteY3" fmla="*/ 439008 h 439014"/>
                      <a:gd name="connsiteX4" fmla="*/ 2 w 439486"/>
                      <a:gd name="connsiteY4" fmla="*/ 220980 h 439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486" h="439014">
                        <a:moveTo>
                          <a:pt x="2" y="220980"/>
                        </a:moveTo>
                        <a:cubicBezTo>
                          <a:pt x="-475" y="96965"/>
                          <a:pt x="95633" y="-190"/>
                          <a:pt x="218696" y="0"/>
                        </a:cubicBezTo>
                        <a:cubicBezTo>
                          <a:pt x="341092" y="96"/>
                          <a:pt x="439961" y="99060"/>
                          <a:pt x="439485" y="220885"/>
                        </a:cubicBezTo>
                        <a:cubicBezTo>
                          <a:pt x="438914" y="340805"/>
                          <a:pt x="341568" y="438150"/>
                          <a:pt x="221172" y="439008"/>
                        </a:cubicBezTo>
                        <a:cubicBezTo>
                          <a:pt x="96490" y="439960"/>
                          <a:pt x="383" y="345282"/>
                          <a:pt x="2" y="220980"/>
                        </a:cubicBez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31" name="Freeform: Shape 30">
                    <a:extLst>
                      <a:ext uri="{FF2B5EF4-FFF2-40B4-BE49-F238E27FC236}">
                        <a16:creationId xmlns:a16="http://schemas.microsoft.com/office/drawing/2014/main" id="{220EB5E9-2B2F-4395-BCFA-975E156FDA5F}"/>
                      </a:ext>
                    </a:extLst>
                  </p:cNvPr>
                  <p:cNvSpPr/>
                  <p:nvPr/>
                </p:nvSpPr>
                <p:spPr>
                  <a:xfrm>
                    <a:off x="3067515" y="3337178"/>
                    <a:ext cx="205370" cy="446544"/>
                  </a:xfrm>
                  <a:custGeom>
                    <a:avLst/>
                    <a:gdLst>
                      <a:gd name="connsiteX0" fmla="*/ 392 w 205370"/>
                      <a:gd name="connsiteY0" fmla="*/ 34004 h 446544"/>
                      <a:gd name="connsiteX1" fmla="*/ 198607 w 205370"/>
                      <a:gd name="connsiteY1" fmla="*/ 0 h 446544"/>
                      <a:gd name="connsiteX2" fmla="*/ 204798 w 205370"/>
                      <a:gd name="connsiteY2" fmla="*/ 14288 h 446544"/>
                      <a:gd name="connsiteX3" fmla="*/ 202798 w 205370"/>
                      <a:gd name="connsiteY3" fmla="*/ 356235 h 446544"/>
                      <a:gd name="connsiteX4" fmla="*/ 114692 w 205370"/>
                      <a:gd name="connsiteY4" fmla="*/ 445865 h 446544"/>
                      <a:gd name="connsiteX5" fmla="*/ 868 w 205370"/>
                      <a:gd name="connsiteY5" fmla="*/ 347472 h 446544"/>
                      <a:gd name="connsiteX6" fmla="*/ 392 w 205370"/>
                      <a:gd name="connsiteY6" fmla="*/ 34004 h 446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370" h="446544">
                        <a:moveTo>
                          <a:pt x="392" y="34004"/>
                        </a:moveTo>
                        <a:cubicBezTo>
                          <a:pt x="68686" y="22288"/>
                          <a:pt x="132313" y="11430"/>
                          <a:pt x="198607" y="0"/>
                        </a:cubicBezTo>
                        <a:cubicBezTo>
                          <a:pt x="200131" y="3429"/>
                          <a:pt x="204798" y="8858"/>
                          <a:pt x="204798" y="14288"/>
                        </a:cubicBezTo>
                        <a:cubicBezTo>
                          <a:pt x="204798" y="128302"/>
                          <a:pt x="206989" y="242411"/>
                          <a:pt x="202798" y="356235"/>
                        </a:cubicBezTo>
                        <a:cubicBezTo>
                          <a:pt x="200893" y="408718"/>
                          <a:pt x="162983" y="440912"/>
                          <a:pt x="114692" y="445865"/>
                        </a:cubicBezTo>
                        <a:cubicBezTo>
                          <a:pt x="51922" y="452438"/>
                          <a:pt x="1725" y="410718"/>
                          <a:pt x="868" y="347472"/>
                        </a:cubicBezTo>
                        <a:cubicBezTo>
                          <a:pt x="-751" y="244697"/>
                          <a:pt x="392" y="141732"/>
                          <a:pt x="392" y="34004"/>
                        </a:cubicBez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42" name="Freeform: Shape 41">
                    <a:extLst>
                      <a:ext uri="{FF2B5EF4-FFF2-40B4-BE49-F238E27FC236}">
                        <a16:creationId xmlns:a16="http://schemas.microsoft.com/office/drawing/2014/main" id="{54D67F1B-2A70-407D-874E-00A76D6FAA9F}"/>
                      </a:ext>
                    </a:extLst>
                  </p:cNvPr>
                  <p:cNvSpPr/>
                  <p:nvPr/>
                </p:nvSpPr>
                <p:spPr>
                  <a:xfrm>
                    <a:off x="2647976" y="3335273"/>
                    <a:ext cx="203122" cy="448928"/>
                  </a:xfrm>
                  <a:custGeom>
                    <a:avLst/>
                    <a:gdLst>
                      <a:gd name="connsiteX0" fmla="*/ 640 w 203122"/>
                      <a:gd name="connsiteY0" fmla="*/ 0 h 448928"/>
                      <a:gd name="connsiteX1" fmla="*/ 104748 w 203122"/>
                      <a:gd name="connsiteY1" fmla="*/ 19336 h 448928"/>
                      <a:gd name="connsiteX2" fmla="*/ 202380 w 203122"/>
                      <a:gd name="connsiteY2" fmla="*/ 34480 h 448928"/>
                      <a:gd name="connsiteX3" fmla="*/ 201427 w 203122"/>
                      <a:gd name="connsiteY3" fmla="*/ 362807 h 448928"/>
                      <a:gd name="connsiteX4" fmla="*/ 100272 w 203122"/>
                      <a:gd name="connsiteY4" fmla="*/ 448913 h 448928"/>
                      <a:gd name="connsiteX5" fmla="*/ 1497 w 203122"/>
                      <a:gd name="connsiteY5" fmla="*/ 359283 h 448928"/>
                      <a:gd name="connsiteX6" fmla="*/ 640 w 203122"/>
                      <a:gd name="connsiteY6" fmla="*/ 0 h 448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122" h="448928">
                        <a:moveTo>
                          <a:pt x="640" y="0"/>
                        </a:moveTo>
                        <a:cubicBezTo>
                          <a:pt x="39788" y="7334"/>
                          <a:pt x="72173" y="13716"/>
                          <a:pt x="104748" y="19336"/>
                        </a:cubicBezTo>
                        <a:cubicBezTo>
                          <a:pt x="135609" y="24575"/>
                          <a:pt x="166661" y="28956"/>
                          <a:pt x="202380" y="34480"/>
                        </a:cubicBezTo>
                        <a:cubicBezTo>
                          <a:pt x="202380" y="145161"/>
                          <a:pt x="204570" y="254032"/>
                          <a:pt x="201427" y="362807"/>
                        </a:cubicBezTo>
                        <a:cubicBezTo>
                          <a:pt x="199903" y="414623"/>
                          <a:pt x="153612" y="449771"/>
                          <a:pt x="100272" y="448913"/>
                        </a:cubicBezTo>
                        <a:cubicBezTo>
                          <a:pt x="47694" y="448151"/>
                          <a:pt x="2736" y="411575"/>
                          <a:pt x="1497" y="359283"/>
                        </a:cubicBezTo>
                        <a:cubicBezTo>
                          <a:pt x="-1265" y="240792"/>
                          <a:pt x="640" y="122301"/>
                          <a:pt x="640" y="0"/>
                        </a:cubicBez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51" name="Freeform: Shape 50">
                    <a:extLst>
                      <a:ext uri="{FF2B5EF4-FFF2-40B4-BE49-F238E27FC236}">
                        <a16:creationId xmlns:a16="http://schemas.microsoft.com/office/drawing/2014/main" id="{9AEDDA60-6AD1-483B-9415-083130D848A0}"/>
                      </a:ext>
                    </a:extLst>
                  </p:cNvPr>
                  <p:cNvSpPr/>
                  <p:nvPr/>
                </p:nvSpPr>
                <p:spPr>
                  <a:xfrm>
                    <a:off x="2851955" y="1760617"/>
                    <a:ext cx="216427" cy="104186"/>
                  </a:xfrm>
                  <a:custGeom>
                    <a:avLst/>
                    <a:gdLst>
                      <a:gd name="connsiteX0" fmla="*/ 216428 w 216427"/>
                      <a:gd name="connsiteY0" fmla="*/ 104186 h 104186"/>
                      <a:gd name="connsiteX1" fmla="*/ 401 w 216427"/>
                      <a:gd name="connsiteY1" fmla="*/ 104186 h 104186"/>
                      <a:gd name="connsiteX2" fmla="*/ 98127 w 216427"/>
                      <a:gd name="connsiteY2" fmla="*/ 268 h 104186"/>
                      <a:gd name="connsiteX3" fmla="*/ 216428 w 216427"/>
                      <a:gd name="connsiteY3" fmla="*/ 104186 h 104186"/>
                    </a:gdLst>
                    <a:ahLst/>
                    <a:cxnLst>
                      <a:cxn ang="0">
                        <a:pos x="connsiteX0" y="connsiteY0"/>
                      </a:cxn>
                      <a:cxn ang="0">
                        <a:pos x="connsiteX1" y="connsiteY1"/>
                      </a:cxn>
                      <a:cxn ang="0">
                        <a:pos x="connsiteX2" y="connsiteY2"/>
                      </a:cxn>
                      <a:cxn ang="0">
                        <a:pos x="connsiteX3" y="connsiteY3"/>
                      </a:cxn>
                    </a:cxnLst>
                    <a:rect l="l" t="t" r="r" b="b"/>
                    <a:pathLst>
                      <a:path w="216427" h="104186">
                        <a:moveTo>
                          <a:pt x="216428" y="104186"/>
                        </a:moveTo>
                        <a:cubicBezTo>
                          <a:pt x="144800" y="104186"/>
                          <a:pt x="73077" y="104186"/>
                          <a:pt x="401" y="104186"/>
                        </a:cubicBezTo>
                        <a:cubicBezTo>
                          <a:pt x="-4552" y="52275"/>
                          <a:pt x="36882" y="3888"/>
                          <a:pt x="98127" y="268"/>
                        </a:cubicBezTo>
                        <a:cubicBezTo>
                          <a:pt x="169565" y="-3827"/>
                          <a:pt x="215285" y="39321"/>
                          <a:pt x="216428" y="104186"/>
                        </a:cubicBez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grpSp>
          </p:grpSp>
        </p:grpSp>
        <p:grpSp>
          <p:nvGrpSpPr>
            <p:cNvPr id="92" name="Group 91"/>
            <p:cNvGrpSpPr/>
            <p:nvPr/>
          </p:nvGrpSpPr>
          <p:grpSpPr>
            <a:xfrm>
              <a:off x="6495023" y="3375721"/>
              <a:ext cx="2419315" cy="1110251"/>
              <a:chOff x="6215996" y="3356927"/>
              <a:chExt cx="2419315" cy="1110251"/>
            </a:xfrm>
          </p:grpSpPr>
          <p:grpSp>
            <p:nvGrpSpPr>
              <p:cNvPr id="14" name="Group 13">
                <a:extLst>
                  <a:ext uri="{FF2B5EF4-FFF2-40B4-BE49-F238E27FC236}">
                    <a16:creationId xmlns:a16="http://schemas.microsoft.com/office/drawing/2014/main" id="{FFA84496-4B03-4192-8FC0-91F87A841D7E}"/>
                  </a:ext>
                </a:extLst>
              </p:cNvPr>
              <p:cNvGrpSpPr/>
              <p:nvPr/>
            </p:nvGrpSpPr>
            <p:grpSpPr>
              <a:xfrm>
                <a:off x="6215996" y="3356927"/>
                <a:ext cx="2419315" cy="1110251"/>
                <a:chOff x="4627304" y="3283145"/>
                <a:chExt cx="2419315" cy="1110251"/>
              </a:xfrm>
            </p:grpSpPr>
            <p:sp>
              <p:nvSpPr>
                <p:cNvPr id="61" name="Rectangle 60">
                  <a:extLst>
                    <a:ext uri="{FF2B5EF4-FFF2-40B4-BE49-F238E27FC236}">
                      <a16:creationId xmlns:a16="http://schemas.microsoft.com/office/drawing/2014/main" id="{F7C109E7-A739-4499-8827-1055361C51BF}"/>
                    </a:ext>
                  </a:extLst>
                </p:cNvPr>
                <p:cNvSpPr/>
                <p:nvPr/>
              </p:nvSpPr>
              <p:spPr>
                <a:xfrm>
                  <a:off x="5186077" y="4008505"/>
                  <a:ext cx="1860542" cy="384891"/>
                </a:xfrm>
                <a:prstGeom prst="rect">
                  <a:avLst/>
                </a:prstGeom>
                <a:solidFill>
                  <a:srgbClr val="016294"/>
                </a:solidFill>
                <a:ln w="41275">
                  <a:noFill/>
                </a:ln>
              </p:spPr>
              <p:style>
                <a:lnRef idx="2">
                  <a:schemeClr val="dk1"/>
                </a:lnRef>
                <a:fillRef idx="1">
                  <a:schemeClr val="lt1"/>
                </a:fillRef>
                <a:effectRef idx="0">
                  <a:schemeClr val="dk1"/>
                </a:effectRef>
                <a:fontRef idx="minor">
                  <a:schemeClr val="dk1"/>
                </a:fontRef>
              </p:style>
              <p:txBody>
                <a:bodyPr rtlCol="0" anchor="ctr"/>
                <a:lstStyle/>
                <a:p>
                  <a:pPr algn="r" defTabSz="1219170"/>
                  <a:r>
                    <a:rPr lang="en-US" sz="1600" b="1" dirty="0">
                      <a:solidFill>
                        <a:prstClr val="white"/>
                      </a:solidFill>
                      <a:effectLst>
                        <a:outerShdw blurRad="38100" dist="38100" dir="2700000" algn="tl">
                          <a:srgbClr val="000000">
                            <a:alpha val="43137"/>
                          </a:srgbClr>
                        </a:outerShdw>
                      </a:effectLst>
                      <a:latin typeface="Arial"/>
                    </a:rPr>
                    <a:t>Production</a:t>
                  </a:r>
                  <a:br>
                    <a:rPr lang="en-US" sz="1600" b="1" dirty="0">
                      <a:solidFill>
                        <a:prstClr val="white"/>
                      </a:solidFill>
                      <a:effectLst>
                        <a:outerShdw blurRad="38100" dist="38100" dir="2700000" algn="tl">
                          <a:srgbClr val="000000">
                            <a:alpha val="43137"/>
                          </a:srgbClr>
                        </a:outerShdw>
                      </a:effectLst>
                      <a:latin typeface="Arial"/>
                    </a:rPr>
                  </a:br>
                  <a:r>
                    <a:rPr lang="en-US" sz="1600" b="1" dirty="0">
                      <a:solidFill>
                        <a:prstClr val="white"/>
                      </a:solidFill>
                      <a:effectLst>
                        <a:outerShdw blurRad="38100" dist="38100" dir="2700000" algn="tl">
                          <a:srgbClr val="000000">
                            <a:alpha val="43137"/>
                          </a:srgbClr>
                        </a:outerShdw>
                      </a:effectLst>
                      <a:latin typeface="Arial"/>
                    </a:rPr>
                    <a:t>Capacity</a:t>
                  </a:r>
                </a:p>
              </p:txBody>
            </p:sp>
            <p:sp>
              <p:nvSpPr>
                <p:cNvPr id="63" name="Oval 62">
                  <a:extLst>
                    <a:ext uri="{FF2B5EF4-FFF2-40B4-BE49-F238E27FC236}">
                      <a16:creationId xmlns:a16="http://schemas.microsoft.com/office/drawing/2014/main" id="{2DA7B69F-21DF-4BA0-884A-DF299B9D4806}"/>
                    </a:ext>
                  </a:extLst>
                </p:cNvPr>
                <p:cNvSpPr/>
                <p:nvPr/>
              </p:nvSpPr>
              <p:spPr>
                <a:xfrm>
                  <a:off x="4627304" y="3283145"/>
                  <a:ext cx="1110251" cy="1110251"/>
                </a:xfrm>
                <a:prstGeom prst="ellipse">
                  <a:avLst/>
                </a:prstGeom>
                <a:solidFill>
                  <a:srgbClr val="016294"/>
                </a:solidFill>
                <a:ln w="41275">
                  <a:noFill/>
                </a:ln>
              </p:spPr>
              <p:style>
                <a:lnRef idx="2">
                  <a:schemeClr val="dk1"/>
                </a:lnRef>
                <a:fillRef idx="1">
                  <a:schemeClr val="lt1"/>
                </a:fillRef>
                <a:effectRef idx="0">
                  <a:schemeClr val="dk1"/>
                </a:effectRef>
                <a:fontRef idx="minor">
                  <a:schemeClr val="dk1"/>
                </a:fontRef>
              </p:style>
              <p:txBody>
                <a:bodyPr rtlCol="0" anchor="ctr"/>
                <a:lstStyle/>
                <a:p>
                  <a:pPr algn="ctr" defTabSz="1219170"/>
                  <a:endParaRPr lang="en-US" sz="1867" dirty="0">
                    <a:solidFill>
                      <a:srgbClr val="102B62"/>
                    </a:solidFill>
                    <a:latin typeface="Arial"/>
                  </a:endParaRPr>
                </a:p>
              </p:txBody>
            </p:sp>
            <p:sp>
              <p:nvSpPr>
                <p:cNvPr id="64" name="Oval 63" descr="Icon image of a factory.">
                  <a:extLst>
                    <a:ext uri="{FF2B5EF4-FFF2-40B4-BE49-F238E27FC236}">
                      <a16:creationId xmlns:a16="http://schemas.microsoft.com/office/drawing/2014/main" id="{F1898550-BAB4-4294-ADA4-AE296D636744}"/>
                    </a:ext>
                  </a:extLst>
                </p:cNvPr>
                <p:cNvSpPr/>
                <p:nvPr/>
              </p:nvSpPr>
              <p:spPr>
                <a:xfrm>
                  <a:off x="4719881" y="3375721"/>
                  <a:ext cx="925099" cy="925099"/>
                </a:xfrm>
                <a:prstGeom prst="ellipse">
                  <a:avLst/>
                </a:prstGeom>
                <a:gradFill>
                  <a:gsLst>
                    <a:gs pos="0">
                      <a:schemeClr val="bg1">
                        <a:lumMod val="95000"/>
                      </a:schemeClr>
                    </a:gs>
                    <a:gs pos="50000">
                      <a:schemeClr val="bg1">
                        <a:lumMod val="85000"/>
                      </a:schemeClr>
                    </a:gs>
                    <a:gs pos="100000">
                      <a:schemeClr val="bg1">
                        <a:lumMod val="75000"/>
                      </a:schemeClr>
                    </a:gs>
                  </a:gsLst>
                </a:gradFill>
              </p:spPr>
              <p:style>
                <a:lnRef idx="1">
                  <a:schemeClr val="accent2"/>
                </a:lnRef>
                <a:fillRef idx="2">
                  <a:schemeClr val="accent2"/>
                </a:fillRef>
                <a:effectRef idx="1">
                  <a:schemeClr val="accent2"/>
                </a:effectRef>
                <a:fontRef idx="minor">
                  <a:schemeClr val="dk1"/>
                </a:fontRef>
              </p:style>
              <p:txBody>
                <a:bodyPr rtlCol="0" anchor="ctr"/>
                <a:lstStyle/>
                <a:p>
                  <a:pPr algn="ctr" defTabSz="1219170"/>
                  <a:endParaRPr lang="en-US" sz="1867" dirty="0">
                    <a:solidFill>
                      <a:srgbClr val="102B62"/>
                    </a:solidFill>
                    <a:latin typeface="Arial"/>
                  </a:endParaRPr>
                </a:p>
              </p:txBody>
            </p:sp>
          </p:grpSp>
          <p:grpSp>
            <p:nvGrpSpPr>
              <p:cNvPr id="52" name="Graphic 2">
                <a:extLst>
                  <a:ext uri="{FF2B5EF4-FFF2-40B4-BE49-F238E27FC236}">
                    <a16:creationId xmlns:a16="http://schemas.microsoft.com/office/drawing/2014/main" id="{0607061D-C558-493E-BB28-55D46A534A5F}"/>
                  </a:ext>
                </a:extLst>
              </p:cNvPr>
              <p:cNvGrpSpPr/>
              <p:nvPr/>
            </p:nvGrpSpPr>
            <p:grpSpPr>
              <a:xfrm>
                <a:off x="6495023" y="3603522"/>
                <a:ext cx="536425" cy="555054"/>
                <a:chOff x="4238721" y="2228796"/>
                <a:chExt cx="663111" cy="686139"/>
              </a:xfrm>
              <a:solidFill>
                <a:srgbClr val="016294"/>
              </a:solidFill>
            </p:grpSpPr>
            <p:sp>
              <p:nvSpPr>
                <p:cNvPr id="53" name="Freeform: Shape 52">
                  <a:extLst>
                    <a:ext uri="{FF2B5EF4-FFF2-40B4-BE49-F238E27FC236}">
                      <a16:creationId xmlns:a16="http://schemas.microsoft.com/office/drawing/2014/main" id="{AB0050CC-6533-4FB1-AD45-C489C73C3062}"/>
                    </a:ext>
                  </a:extLst>
                </p:cNvPr>
                <p:cNvSpPr/>
                <p:nvPr/>
              </p:nvSpPr>
              <p:spPr>
                <a:xfrm>
                  <a:off x="4238721" y="2277779"/>
                  <a:ext cx="663111" cy="637155"/>
                </a:xfrm>
                <a:custGeom>
                  <a:avLst/>
                  <a:gdLst>
                    <a:gd name="connsiteX0" fmla="*/ 102964 w 663111"/>
                    <a:gd name="connsiteY0" fmla="*/ 115281 h 637155"/>
                    <a:gd name="connsiteX1" fmla="*/ 164781 w 663111"/>
                    <a:gd name="connsiteY1" fmla="*/ 47844 h 637155"/>
                    <a:gd name="connsiteX2" fmla="*/ 226694 w 663111"/>
                    <a:gd name="connsiteY2" fmla="*/ 44891 h 637155"/>
                    <a:gd name="connsiteX3" fmla="*/ 260412 w 663111"/>
                    <a:gd name="connsiteY3" fmla="*/ 15173 h 637155"/>
                    <a:gd name="connsiteX4" fmla="*/ 277938 w 663111"/>
                    <a:gd name="connsiteY4" fmla="*/ 410 h 637155"/>
                    <a:gd name="connsiteX5" fmla="*/ 289749 w 663111"/>
                    <a:gd name="connsiteY5" fmla="*/ 20793 h 637155"/>
                    <a:gd name="connsiteX6" fmla="*/ 236028 w 663111"/>
                    <a:gd name="connsiteY6" fmla="*/ 72800 h 637155"/>
                    <a:gd name="connsiteX7" fmla="*/ 168210 w 663111"/>
                    <a:gd name="connsiteY7" fmla="*/ 76324 h 637155"/>
                    <a:gd name="connsiteX8" fmla="*/ 134397 w 663111"/>
                    <a:gd name="connsiteY8" fmla="*/ 113186 h 637155"/>
                    <a:gd name="connsiteX9" fmla="*/ 158019 w 663111"/>
                    <a:gd name="connsiteY9" fmla="*/ 142237 h 637155"/>
                    <a:gd name="connsiteX10" fmla="*/ 170687 w 663111"/>
                    <a:gd name="connsiteY10" fmla="*/ 318735 h 637155"/>
                    <a:gd name="connsiteX11" fmla="*/ 172782 w 663111"/>
                    <a:gd name="connsiteY11" fmla="*/ 338071 h 637155"/>
                    <a:gd name="connsiteX12" fmla="*/ 186689 w 663111"/>
                    <a:gd name="connsiteY12" fmla="*/ 329022 h 637155"/>
                    <a:gd name="connsiteX13" fmla="*/ 309085 w 663111"/>
                    <a:gd name="connsiteY13" fmla="*/ 241297 h 637155"/>
                    <a:gd name="connsiteX14" fmla="*/ 329945 w 663111"/>
                    <a:gd name="connsiteY14" fmla="*/ 236916 h 637155"/>
                    <a:gd name="connsiteX15" fmla="*/ 337279 w 663111"/>
                    <a:gd name="connsiteY15" fmla="*/ 255584 h 637155"/>
                    <a:gd name="connsiteX16" fmla="*/ 337565 w 663111"/>
                    <a:gd name="connsiteY16" fmla="*/ 332642 h 637155"/>
                    <a:gd name="connsiteX17" fmla="*/ 352614 w 663111"/>
                    <a:gd name="connsiteY17" fmla="*/ 323307 h 637155"/>
                    <a:gd name="connsiteX18" fmla="*/ 470343 w 663111"/>
                    <a:gd name="connsiteY18" fmla="*/ 241869 h 637155"/>
                    <a:gd name="connsiteX19" fmla="*/ 491013 w 663111"/>
                    <a:gd name="connsiteY19" fmla="*/ 236439 h 637155"/>
                    <a:gd name="connsiteX20" fmla="*/ 499299 w 663111"/>
                    <a:gd name="connsiteY20" fmla="*/ 257489 h 637155"/>
                    <a:gd name="connsiteX21" fmla="*/ 499680 w 663111"/>
                    <a:gd name="connsiteY21" fmla="*/ 332928 h 637155"/>
                    <a:gd name="connsiteX22" fmla="*/ 514825 w 663111"/>
                    <a:gd name="connsiteY22" fmla="*/ 323498 h 637155"/>
                    <a:gd name="connsiteX23" fmla="*/ 631316 w 663111"/>
                    <a:gd name="connsiteY23" fmla="*/ 242916 h 637155"/>
                    <a:gd name="connsiteX24" fmla="*/ 655033 w 663111"/>
                    <a:gd name="connsiteY24" fmla="*/ 237487 h 637155"/>
                    <a:gd name="connsiteX25" fmla="*/ 662748 w 663111"/>
                    <a:gd name="connsiteY25" fmla="*/ 258537 h 637155"/>
                    <a:gd name="connsiteX26" fmla="*/ 663034 w 663111"/>
                    <a:gd name="connsiteY26" fmla="*/ 612772 h 637155"/>
                    <a:gd name="connsiteX27" fmla="*/ 638174 w 663111"/>
                    <a:gd name="connsiteY27" fmla="*/ 637156 h 637155"/>
                    <a:gd name="connsiteX28" fmla="*/ 25145 w 663111"/>
                    <a:gd name="connsiteY28" fmla="*/ 637156 h 637155"/>
                    <a:gd name="connsiteX29" fmla="*/ 475 w 663111"/>
                    <a:gd name="connsiteY29" fmla="*/ 609343 h 637155"/>
                    <a:gd name="connsiteX30" fmla="*/ 27431 w 663111"/>
                    <a:gd name="connsiteY30" fmla="*/ 234153 h 637155"/>
                    <a:gd name="connsiteX31" fmla="*/ 34003 w 663111"/>
                    <a:gd name="connsiteY31" fmla="*/ 135570 h 637155"/>
                    <a:gd name="connsiteX32" fmla="*/ 56387 w 663111"/>
                    <a:gd name="connsiteY32" fmla="*/ 115567 h 637155"/>
                    <a:gd name="connsiteX33" fmla="*/ 102964 w 663111"/>
                    <a:gd name="connsiteY33" fmla="*/ 115281 h 637155"/>
                    <a:gd name="connsiteX34" fmla="*/ 308037 w 663111"/>
                    <a:gd name="connsiteY34" fmla="*/ 279111 h 637155"/>
                    <a:gd name="connsiteX35" fmla="*/ 300513 w 663111"/>
                    <a:gd name="connsiteY35" fmla="*/ 282064 h 637155"/>
                    <a:gd name="connsiteX36" fmla="*/ 181260 w 663111"/>
                    <a:gd name="connsiteY36" fmla="*/ 368932 h 637155"/>
                    <a:gd name="connsiteX37" fmla="*/ 175354 w 663111"/>
                    <a:gd name="connsiteY37" fmla="*/ 386553 h 637155"/>
                    <a:gd name="connsiteX38" fmla="*/ 189451 w 663111"/>
                    <a:gd name="connsiteY38" fmla="*/ 595437 h 637155"/>
                    <a:gd name="connsiteX39" fmla="*/ 206310 w 663111"/>
                    <a:gd name="connsiteY39" fmla="*/ 608867 h 637155"/>
                    <a:gd name="connsiteX40" fmla="*/ 616743 w 663111"/>
                    <a:gd name="connsiteY40" fmla="*/ 608676 h 637155"/>
                    <a:gd name="connsiteX41" fmla="*/ 631697 w 663111"/>
                    <a:gd name="connsiteY41" fmla="*/ 607819 h 637155"/>
                    <a:gd name="connsiteX42" fmla="*/ 631697 w 663111"/>
                    <a:gd name="connsiteY42" fmla="*/ 276635 h 637155"/>
                    <a:gd name="connsiteX43" fmla="*/ 501014 w 663111"/>
                    <a:gd name="connsiteY43" fmla="*/ 366837 h 637155"/>
                    <a:gd name="connsiteX44" fmla="*/ 479106 w 663111"/>
                    <a:gd name="connsiteY44" fmla="*/ 372266 h 637155"/>
                    <a:gd name="connsiteX45" fmla="*/ 471391 w 663111"/>
                    <a:gd name="connsiteY45" fmla="*/ 351215 h 637155"/>
                    <a:gd name="connsiteX46" fmla="*/ 471010 w 663111"/>
                    <a:gd name="connsiteY46" fmla="*/ 276635 h 637155"/>
                    <a:gd name="connsiteX47" fmla="*/ 449960 w 663111"/>
                    <a:gd name="connsiteY47" fmla="*/ 291017 h 637155"/>
                    <a:gd name="connsiteX48" fmla="*/ 335850 w 663111"/>
                    <a:gd name="connsiteY48" fmla="*/ 369789 h 637155"/>
                    <a:gd name="connsiteX49" fmla="*/ 315943 w 663111"/>
                    <a:gd name="connsiteY49" fmla="*/ 373218 h 637155"/>
                    <a:gd name="connsiteX50" fmla="*/ 308037 w 663111"/>
                    <a:gd name="connsiteY50" fmla="*/ 354930 h 637155"/>
                    <a:gd name="connsiteX51" fmla="*/ 308037 w 663111"/>
                    <a:gd name="connsiteY51" fmla="*/ 279111 h 637155"/>
                    <a:gd name="connsiteX52" fmla="*/ 161257 w 663111"/>
                    <a:gd name="connsiteY52" fmla="*/ 607914 h 637155"/>
                    <a:gd name="connsiteX53" fmla="*/ 161257 w 663111"/>
                    <a:gd name="connsiteY53" fmla="*/ 595722 h 637155"/>
                    <a:gd name="connsiteX54" fmla="*/ 142874 w 663111"/>
                    <a:gd name="connsiteY54" fmla="*/ 335404 h 637155"/>
                    <a:gd name="connsiteX55" fmla="*/ 130777 w 663111"/>
                    <a:gd name="connsiteY55" fmla="*/ 324641 h 637155"/>
                    <a:gd name="connsiteX56" fmla="*/ 68769 w 663111"/>
                    <a:gd name="connsiteY56" fmla="*/ 324450 h 637155"/>
                    <a:gd name="connsiteX57" fmla="*/ 47814 w 663111"/>
                    <a:gd name="connsiteY57" fmla="*/ 343881 h 637155"/>
                    <a:gd name="connsiteX58" fmla="*/ 33813 w 663111"/>
                    <a:gd name="connsiteY58" fmla="*/ 542382 h 637155"/>
                    <a:gd name="connsiteX59" fmla="*/ 29622 w 663111"/>
                    <a:gd name="connsiteY59" fmla="*/ 608010 h 637155"/>
                    <a:gd name="connsiteX60" fmla="*/ 161257 w 663111"/>
                    <a:gd name="connsiteY60" fmla="*/ 607914 h 637155"/>
                    <a:gd name="connsiteX61" fmla="*/ 56673 w 663111"/>
                    <a:gd name="connsiteY61" fmla="*/ 226629 h 637155"/>
                    <a:gd name="connsiteX62" fmla="*/ 134587 w 663111"/>
                    <a:gd name="connsiteY62" fmla="*/ 226629 h 637155"/>
                    <a:gd name="connsiteX63" fmla="*/ 129444 w 663111"/>
                    <a:gd name="connsiteY63" fmla="*/ 150905 h 637155"/>
                    <a:gd name="connsiteX64" fmla="*/ 122967 w 663111"/>
                    <a:gd name="connsiteY64" fmla="*/ 143094 h 637155"/>
                    <a:gd name="connsiteX65" fmla="*/ 62673 w 663111"/>
                    <a:gd name="connsiteY65" fmla="*/ 142713 h 637155"/>
                    <a:gd name="connsiteX66" fmla="*/ 56673 w 663111"/>
                    <a:gd name="connsiteY66" fmla="*/ 226629 h 637155"/>
                    <a:gd name="connsiteX67" fmla="*/ 136968 w 663111"/>
                    <a:gd name="connsiteY67" fmla="*/ 256346 h 637155"/>
                    <a:gd name="connsiteX68" fmla="*/ 63054 w 663111"/>
                    <a:gd name="connsiteY68" fmla="*/ 256632 h 637155"/>
                    <a:gd name="connsiteX69" fmla="*/ 54672 w 663111"/>
                    <a:gd name="connsiteY69" fmla="*/ 262157 h 637155"/>
                    <a:gd name="connsiteX70" fmla="*/ 52386 w 663111"/>
                    <a:gd name="connsiteY70" fmla="*/ 294256 h 637155"/>
                    <a:gd name="connsiteX71" fmla="*/ 140207 w 663111"/>
                    <a:gd name="connsiteY71" fmla="*/ 294256 h 637155"/>
                    <a:gd name="connsiteX72" fmla="*/ 136968 w 663111"/>
                    <a:gd name="connsiteY72" fmla="*/ 256346 h 637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663111" h="637155">
                      <a:moveTo>
                        <a:pt x="102964" y="115281"/>
                      </a:moveTo>
                      <a:cubicBezTo>
                        <a:pt x="109536" y="70418"/>
                        <a:pt x="129348" y="49368"/>
                        <a:pt x="164781" y="47844"/>
                      </a:cubicBezTo>
                      <a:cubicBezTo>
                        <a:pt x="185451" y="46987"/>
                        <a:pt x="206025" y="45844"/>
                        <a:pt x="226694" y="44891"/>
                      </a:cubicBezTo>
                      <a:cubicBezTo>
                        <a:pt x="247173" y="43939"/>
                        <a:pt x="257269" y="35462"/>
                        <a:pt x="260412" y="15173"/>
                      </a:cubicBezTo>
                      <a:cubicBezTo>
                        <a:pt x="262032" y="4410"/>
                        <a:pt x="267175" y="-1686"/>
                        <a:pt x="277938" y="410"/>
                      </a:cubicBezTo>
                      <a:cubicBezTo>
                        <a:pt x="288606" y="2410"/>
                        <a:pt x="291178" y="10697"/>
                        <a:pt x="289749" y="20793"/>
                      </a:cubicBezTo>
                      <a:cubicBezTo>
                        <a:pt x="285654" y="49749"/>
                        <a:pt x="265461" y="70037"/>
                        <a:pt x="236028" y="72800"/>
                      </a:cubicBezTo>
                      <a:cubicBezTo>
                        <a:pt x="213549" y="74895"/>
                        <a:pt x="190880" y="75086"/>
                        <a:pt x="168210" y="76324"/>
                      </a:cubicBezTo>
                      <a:cubicBezTo>
                        <a:pt x="144588" y="77657"/>
                        <a:pt x="134016" y="89278"/>
                        <a:pt x="134397" y="113186"/>
                      </a:cubicBezTo>
                      <a:cubicBezTo>
                        <a:pt x="156590" y="118996"/>
                        <a:pt x="156399" y="118996"/>
                        <a:pt x="158019" y="142237"/>
                      </a:cubicBezTo>
                      <a:cubicBezTo>
                        <a:pt x="162114" y="201101"/>
                        <a:pt x="166401" y="259966"/>
                        <a:pt x="170687" y="318735"/>
                      </a:cubicBezTo>
                      <a:cubicBezTo>
                        <a:pt x="171068" y="324450"/>
                        <a:pt x="171925" y="330070"/>
                        <a:pt x="172782" y="338071"/>
                      </a:cubicBezTo>
                      <a:cubicBezTo>
                        <a:pt x="178783" y="334166"/>
                        <a:pt x="182784" y="331785"/>
                        <a:pt x="186689" y="329022"/>
                      </a:cubicBezTo>
                      <a:cubicBezTo>
                        <a:pt x="227456" y="299685"/>
                        <a:pt x="267937" y="270063"/>
                        <a:pt x="309085" y="241297"/>
                      </a:cubicBezTo>
                      <a:cubicBezTo>
                        <a:pt x="314705" y="237392"/>
                        <a:pt x="324420" y="234630"/>
                        <a:pt x="329945" y="236916"/>
                      </a:cubicBezTo>
                      <a:cubicBezTo>
                        <a:pt x="334326" y="238725"/>
                        <a:pt x="336993" y="248917"/>
                        <a:pt x="337279" y="255584"/>
                      </a:cubicBezTo>
                      <a:cubicBezTo>
                        <a:pt x="338136" y="280064"/>
                        <a:pt x="337565" y="304638"/>
                        <a:pt x="337565" y="332642"/>
                      </a:cubicBezTo>
                      <a:cubicBezTo>
                        <a:pt x="344137" y="328546"/>
                        <a:pt x="348519" y="326165"/>
                        <a:pt x="352614" y="323307"/>
                      </a:cubicBezTo>
                      <a:cubicBezTo>
                        <a:pt x="391857" y="296066"/>
                        <a:pt x="430815" y="268539"/>
                        <a:pt x="470343" y="241869"/>
                      </a:cubicBezTo>
                      <a:cubicBezTo>
                        <a:pt x="476154" y="237868"/>
                        <a:pt x="487012" y="233772"/>
                        <a:pt x="491013" y="236439"/>
                      </a:cubicBezTo>
                      <a:cubicBezTo>
                        <a:pt x="496251" y="239868"/>
                        <a:pt x="499014" y="250060"/>
                        <a:pt x="499299" y="257489"/>
                      </a:cubicBezTo>
                      <a:cubicBezTo>
                        <a:pt x="500252" y="281492"/>
                        <a:pt x="499680" y="305591"/>
                        <a:pt x="499680" y="332928"/>
                      </a:cubicBezTo>
                      <a:cubicBezTo>
                        <a:pt x="506253" y="328832"/>
                        <a:pt x="510634" y="326355"/>
                        <a:pt x="514825" y="323498"/>
                      </a:cubicBezTo>
                      <a:cubicBezTo>
                        <a:pt x="553592" y="296542"/>
                        <a:pt x="592168" y="269205"/>
                        <a:pt x="631316" y="242916"/>
                      </a:cubicBezTo>
                      <a:cubicBezTo>
                        <a:pt x="637888" y="238535"/>
                        <a:pt x="648461" y="235201"/>
                        <a:pt x="655033" y="237487"/>
                      </a:cubicBezTo>
                      <a:cubicBezTo>
                        <a:pt x="659605" y="239106"/>
                        <a:pt x="662653" y="251108"/>
                        <a:pt x="662748" y="258537"/>
                      </a:cubicBezTo>
                      <a:cubicBezTo>
                        <a:pt x="663225" y="376647"/>
                        <a:pt x="663129" y="494662"/>
                        <a:pt x="663034" y="612772"/>
                      </a:cubicBezTo>
                      <a:cubicBezTo>
                        <a:pt x="663034" y="634584"/>
                        <a:pt x="660367" y="637156"/>
                        <a:pt x="638174" y="637156"/>
                      </a:cubicBezTo>
                      <a:cubicBezTo>
                        <a:pt x="433863" y="637156"/>
                        <a:pt x="229456" y="637156"/>
                        <a:pt x="25145" y="637156"/>
                      </a:cubicBezTo>
                      <a:cubicBezTo>
                        <a:pt x="1047" y="637156"/>
                        <a:pt x="-1335" y="633918"/>
                        <a:pt x="475" y="609343"/>
                      </a:cubicBezTo>
                      <a:cubicBezTo>
                        <a:pt x="9619" y="484280"/>
                        <a:pt x="18477" y="359216"/>
                        <a:pt x="27431" y="234153"/>
                      </a:cubicBezTo>
                      <a:cubicBezTo>
                        <a:pt x="29812" y="201292"/>
                        <a:pt x="31717" y="168431"/>
                        <a:pt x="34003" y="135570"/>
                      </a:cubicBezTo>
                      <a:cubicBezTo>
                        <a:pt x="35146" y="119282"/>
                        <a:pt x="39528" y="115662"/>
                        <a:pt x="56387" y="115567"/>
                      </a:cubicBezTo>
                      <a:cubicBezTo>
                        <a:pt x="72008" y="115281"/>
                        <a:pt x="87629" y="115281"/>
                        <a:pt x="102964" y="115281"/>
                      </a:cubicBezTo>
                      <a:close/>
                      <a:moveTo>
                        <a:pt x="308037" y="279111"/>
                      </a:moveTo>
                      <a:cubicBezTo>
                        <a:pt x="303942" y="280731"/>
                        <a:pt x="301941" y="281016"/>
                        <a:pt x="300513" y="282064"/>
                      </a:cubicBezTo>
                      <a:cubicBezTo>
                        <a:pt x="260603" y="310830"/>
                        <a:pt x="220598" y="339405"/>
                        <a:pt x="181260" y="368932"/>
                      </a:cubicBezTo>
                      <a:cubicBezTo>
                        <a:pt x="177069" y="372075"/>
                        <a:pt x="174973" y="380743"/>
                        <a:pt x="175354" y="386553"/>
                      </a:cubicBezTo>
                      <a:cubicBezTo>
                        <a:pt x="179831" y="456181"/>
                        <a:pt x="185260" y="525809"/>
                        <a:pt x="189451" y="595437"/>
                      </a:cubicBezTo>
                      <a:cubicBezTo>
                        <a:pt x="190213" y="608581"/>
                        <a:pt x="196500" y="608867"/>
                        <a:pt x="206310" y="608867"/>
                      </a:cubicBezTo>
                      <a:cubicBezTo>
                        <a:pt x="343089" y="608676"/>
                        <a:pt x="479964" y="608772"/>
                        <a:pt x="616743" y="608676"/>
                      </a:cubicBezTo>
                      <a:cubicBezTo>
                        <a:pt x="621886" y="608676"/>
                        <a:pt x="627030" y="608105"/>
                        <a:pt x="631697" y="607819"/>
                      </a:cubicBezTo>
                      <a:cubicBezTo>
                        <a:pt x="631697" y="496853"/>
                        <a:pt x="631697" y="387791"/>
                        <a:pt x="631697" y="276635"/>
                      </a:cubicBezTo>
                      <a:cubicBezTo>
                        <a:pt x="586834" y="307782"/>
                        <a:pt x="544257" y="337690"/>
                        <a:pt x="501014" y="366837"/>
                      </a:cubicBezTo>
                      <a:cubicBezTo>
                        <a:pt x="494918" y="371028"/>
                        <a:pt x="484250" y="374933"/>
                        <a:pt x="479106" y="372266"/>
                      </a:cubicBezTo>
                      <a:cubicBezTo>
                        <a:pt x="474153" y="369694"/>
                        <a:pt x="471677" y="358645"/>
                        <a:pt x="471391" y="351215"/>
                      </a:cubicBezTo>
                      <a:cubicBezTo>
                        <a:pt x="470439" y="327498"/>
                        <a:pt x="471010" y="303686"/>
                        <a:pt x="471010" y="276635"/>
                      </a:cubicBezTo>
                      <a:cubicBezTo>
                        <a:pt x="461961" y="282826"/>
                        <a:pt x="455961" y="286827"/>
                        <a:pt x="449960" y="291017"/>
                      </a:cubicBezTo>
                      <a:cubicBezTo>
                        <a:pt x="411955" y="317402"/>
                        <a:pt x="374236" y="343977"/>
                        <a:pt x="335850" y="369789"/>
                      </a:cubicBezTo>
                      <a:cubicBezTo>
                        <a:pt x="330516" y="373409"/>
                        <a:pt x="320801" y="375695"/>
                        <a:pt x="315943" y="373218"/>
                      </a:cubicBezTo>
                      <a:cubicBezTo>
                        <a:pt x="311276" y="370837"/>
                        <a:pt x="308323" y="361407"/>
                        <a:pt x="308037" y="354930"/>
                      </a:cubicBezTo>
                      <a:cubicBezTo>
                        <a:pt x="307561" y="330546"/>
                        <a:pt x="308037" y="305972"/>
                        <a:pt x="308037" y="279111"/>
                      </a:cubicBezTo>
                      <a:close/>
                      <a:moveTo>
                        <a:pt x="161257" y="607914"/>
                      </a:moveTo>
                      <a:cubicBezTo>
                        <a:pt x="161257" y="603247"/>
                        <a:pt x="161448" y="599437"/>
                        <a:pt x="161257" y="595722"/>
                      </a:cubicBezTo>
                      <a:cubicBezTo>
                        <a:pt x="155161" y="508950"/>
                        <a:pt x="148875" y="422177"/>
                        <a:pt x="142874" y="335404"/>
                      </a:cubicBezTo>
                      <a:cubicBezTo>
                        <a:pt x="142302" y="327117"/>
                        <a:pt x="138778" y="324450"/>
                        <a:pt x="130777" y="324641"/>
                      </a:cubicBezTo>
                      <a:cubicBezTo>
                        <a:pt x="110108" y="325022"/>
                        <a:pt x="89343" y="325784"/>
                        <a:pt x="68769" y="324450"/>
                      </a:cubicBezTo>
                      <a:cubicBezTo>
                        <a:pt x="53244" y="323403"/>
                        <a:pt x="48767" y="328737"/>
                        <a:pt x="47814" y="343881"/>
                      </a:cubicBezTo>
                      <a:cubicBezTo>
                        <a:pt x="43814" y="410080"/>
                        <a:pt x="38575" y="476279"/>
                        <a:pt x="33813" y="542382"/>
                      </a:cubicBezTo>
                      <a:cubicBezTo>
                        <a:pt x="32289" y="564195"/>
                        <a:pt x="31050" y="586007"/>
                        <a:pt x="29622" y="608010"/>
                      </a:cubicBezTo>
                      <a:cubicBezTo>
                        <a:pt x="74675" y="607914"/>
                        <a:pt x="117347" y="607914"/>
                        <a:pt x="161257" y="607914"/>
                      </a:cubicBezTo>
                      <a:close/>
                      <a:moveTo>
                        <a:pt x="56673" y="226629"/>
                      </a:moveTo>
                      <a:cubicBezTo>
                        <a:pt x="83724" y="226629"/>
                        <a:pt x="108393" y="226629"/>
                        <a:pt x="134587" y="226629"/>
                      </a:cubicBezTo>
                      <a:cubicBezTo>
                        <a:pt x="132873" y="200530"/>
                        <a:pt x="131539" y="175765"/>
                        <a:pt x="129444" y="150905"/>
                      </a:cubicBezTo>
                      <a:cubicBezTo>
                        <a:pt x="129158" y="148047"/>
                        <a:pt x="125348" y="143190"/>
                        <a:pt x="122967" y="143094"/>
                      </a:cubicBezTo>
                      <a:cubicBezTo>
                        <a:pt x="103155" y="142428"/>
                        <a:pt x="83247" y="142713"/>
                        <a:pt x="62673" y="142713"/>
                      </a:cubicBezTo>
                      <a:cubicBezTo>
                        <a:pt x="60578" y="171860"/>
                        <a:pt x="58673" y="198530"/>
                        <a:pt x="56673" y="226629"/>
                      </a:cubicBezTo>
                      <a:close/>
                      <a:moveTo>
                        <a:pt x="136968" y="256346"/>
                      </a:moveTo>
                      <a:cubicBezTo>
                        <a:pt x="111156" y="256346"/>
                        <a:pt x="87057" y="256156"/>
                        <a:pt x="63054" y="256632"/>
                      </a:cubicBezTo>
                      <a:cubicBezTo>
                        <a:pt x="60102" y="256728"/>
                        <a:pt x="55053" y="259871"/>
                        <a:pt x="54672" y="262157"/>
                      </a:cubicBezTo>
                      <a:cubicBezTo>
                        <a:pt x="53148" y="272539"/>
                        <a:pt x="53053" y="283207"/>
                        <a:pt x="52386" y="294256"/>
                      </a:cubicBezTo>
                      <a:cubicBezTo>
                        <a:pt x="82200" y="294256"/>
                        <a:pt x="110394" y="294256"/>
                        <a:pt x="140207" y="294256"/>
                      </a:cubicBezTo>
                      <a:cubicBezTo>
                        <a:pt x="139159" y="281302"/>
                        <a:pt x="138111" y="269777"/>
                        <a:pt x="136968" y="256346"/>
                      </a:cubicBez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57" name="Freeform: Shape 56">
                  <a:extLst>
                    <a:ext uri="{FF2B5EF4-FFF2-40B4-BE49-F238E27FC236}">
                      <a16:creationId xmlns:a16="http://schemas.microsoft.com/office/drawing/2014/main" id="{364310DC-652D-427B-AD7B-917C8971AFAB}"/>
                    </a:ext>
                  </a:extLst>
                </p:cNvPr>
                <p:cNvSpPr/>
                <p:nvPr/>
              </p:nvSpPr>
              <p:spPr>
                <a:xfrm>
                  <a:off x="4283957" y="2228796"/>
                  <a:ext cx="183624" cy="145562"/>
                </a:xfrm>
                <a:custGeom>
                  <a:avLst/>
                  <a:gdLst>
                    <a:gd name="connsiteX0" fmla="*/ 102 w 183624"/>
                    <a:gd name="connsiteY0" fmla="*/ 126736 h 145562"/>
                    <a:gd name="connsiteX1" fmla="*/ 44393 w 183624"/>
                    <a:gd name="connsiteY1" fmla="*/ 64443 h 145562"/>
                    <a:gd name="connsiteX2" fmla="*/ 102972 w 183624"/>
                    <a:gd name="connsiteY2" fmla="*/ 49869 h 145562"/>
                    <a:gd name="connsiteX3" fmla="*/ 136881 w 183624"/>
                    <a:gd name="connsiteY3" fmla="*/ 40154 h 145562"/>
                    <a:gd name="connsiteX4" fmla="*/ 154312 w 183624"/>
                    <a:gd name="connsiteY4" fmla="*/ 16913 h 145562"/>
                    <a:gd name="connsiteX5" fmla="*/ 170314 w 183624"/>
                    <a:gd name="connsiteY5" fmla="*/ 54 h 145562"/>
                    <a:gd name="connsiteX6" fmla="*/ 183554 w 183624"/>
                    <a:gd name="connsiteY6" fmla="*/ 19199 h 145562"/>
                    <a:gd name="connsiteX7" fmla="*/ 151073 w 183624"/>
                    <a:gd name="connsiteY7" fmla="*/ 65776 h 145562"/>
                    <a:gd name="connsiteX8" fmla="*/ 89923 w 183624"/>
                    <a:gd name="connsiteY8" fmla="*/ 81302 h 145562"/>
                    <a:gd name="connsiteX9" fmla="*/ 60014 w 183624"/>
                    <a:gd name="connsiteY9" fmla="*/ 88731 h 145562"/>
                    <a:gd name="connsiteX10" fmla="*/ 28010 w 183624"/>
                    <a:gd name="connsiteY10" fmla="*/ 128165 h 145562"/>
                    <a:gd name="connsiteX11" fmla="*/ 12485 w 183624"/>
                    <a:gd name="connsiteY11" fmla="*/ 145500 h 145562"/>
                    <a:gd name="connsiteX12" fmla="*/ 102 w 183624"/>
                    <a:gd name="connsiteY12" fmla="*/ 126736 h 145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3624" h="145562">
                      <a:moveTo>
                        <a:pt x="102" y="126736"/>
                      </a:moveTo>
                      <a:cubicBezTo>
                        <a:pt x="293" y="97209"/>
                        <a:pt x="15628" y="74349"/>
                        <a:pt x="44393" y="64443"/>
                      </a:cubicBezTo>
                      <a:cubicBezTo>
                        <a:pt x="63348" y="57966"/>
                        <a:pt x="83446" y="54822"/>
                        <a:pt x="102972" y="49869"/>
                      </a:cubicBezTo>
                      <a:cubicBezTo>
                        <a:pt x="114402" y="47012"/>
                        <a:pt x="125927" y="44345"/>
                        <a:pt x="136881" y="40154"/>
                      </a:cubicBezTo>
                      <a:cubicBezTo>
                        <a:pt x="146978" y="36344"/>
                        <a:pt x="154026" y="29010"/>
                        <a:pt x="154312" y="16913"/>
                      </a:cubicBezTo>
                      <a:cubicBezTo>
                        <a:pt x="154598" y="6721"/>
                        <a:pt x="159455" y="-708"/>
                        <a:pt x="170314" y="54"/>
                      </a:cubicBezTo>
                      <a:cubicBezTo>
                        <a:pt x="181363" y="816"/>
                        <a:pt x="184125" y="9102"/>
                        <a:pt x="183554" y="19199"/>
                      </a:cubicBezTo>
                      <a:cubicBezTo>
                        <a:pt x="182411" y="41583"/>
                        <a:pt x="171838" y="58442"/>
                        <a:pt x="151073" y="65776"/>
                      </a:cubicBezTo>
                      <a:cubicBezTo>
                        <a:pt x="131357" y="72825"/>
                        <a:pt x="110402" y="76254"/>
                        <a:pt x="89923" y="81302"/>
                      </a:cubicBezTo>
                      <a:cubicBezTo>
                        <a:pt x="79922" y="83778"/>
                        <a:pt x="69730" y="85493"/>
                        <a:pt x="60014" y="88731"/>
                      </a:cubicBezTo>
                      <a:cubicBezTo>
                        <a:pt x="41155" y="94923"/>
                        <a:pt x="28963" y="107115"/>
                        <a:pt x="28010" y="128165"/>
                      </a:cubicBezTo>
                      <a:cubicBezTo>
                        <a:pt x="27534" y="138166"/>
                        <a:pt x="23629" y="146358"/>
                        <a:pt x="12485" y="145500"/>
                      </a:cubicBezTo>
                      <a:cubicBezTo>
                        <a:pt x="1055" y="144548"/>
                        <a:pt x="-469" y="135404"/>
                        <a:pt x="102" y="126736"/>
                      </a:cubicBez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58" name="Freeform: Shape 57">
                  <a:extLst>
                    <a:ext uri="{FF2B5EF4-FFF2-40B4-BE49-F238E27FC236}">
                      <a16:creationId xmlns:a16="http://schemas.microsoft.com/office/drawing/2014/main" id="{AAEFE124-C668-4629-BBAC-14F0A3CD1DB7}"/>
                    </a:ext>
                  </a:extLst>
                </p:cNvPr>
                <p:cNvSpPr/>
                <p:nvPr/>
              </p:nvSpPr>
              <p:spPr>
                <a:xfrm>
                  <a:off x="4449579" y="2712324"/>
                  <a:ext cx="120480" cy="99841"/>
                </a:xfrm>
                <a:custGeom>
                  <a:avLst/>
                  <a:gdLst>
                    <a:gd name="connsiteX0" fmla="*/ 60508 w 120480"/>
                    <a:gd name="connsiteY0" fmla="*/ 99741 h 99841"/>
                    <a:gd name="connsiteX1" fmla="*/ 19169 w 120480"/>
                    <a:gd name="connsiteY1" fmla="*/ 99837 h 99841"/>
                    <a:gd name="connsiteX2" fmla="*/ 214 w 120480"/>
                    <a:gd name="connsiteY2" fmla="*/ 82406 h 99841"/>
                    <a:gd name="connsiteX3" fmla="*/ 214 w 120480"/>
                    <a:gd name="connsiteY3" fmla="*/ 17541 h 99841"/>
                    <a:gd name="connsiteX4" fmla="*/ 17740 w 120480"/>
                    <a:gd name="connsiteY4" fmla="*/ 110 h 99841"/>
                    <a:gd name="connsiteX5" fmla="*/ 101846 w 120480"/>
                    <a:gd name="connsiteY5" fmla="*/ 110 h 99841"/>
                    <a:gd name="connsiteX6" fmla="*/ 120039 w 120480"/>
                    <a:gd name="connsiteY6" fmla="*/ 17160 h 99841"/>
                    <a:gd name="connsiteX7" fmla="*/ 120134 w 120480"/>
                    <a:gd name="connsiteY7" fmla="*/ 83454 h 99841"/>
                    <a:gd name="connsiteX8" fmla="*/ 101846 w 120480"/>
                    <a:gd name="connsiteY8" fmla="*/ 99837 h 99841"/>
                    <a:gd name="connsiteX9" fmla="*/ 60508 w 120480"/>
                    <a:gd name="connsiteY9" fmla="*/ 99741 h 99841"/>
                    <a:gd name="connsiteX10" fmla="*/ 30790 w 120480"/>
                    <a:gd name="connsiteY10" fmla="*/ 29161 h 99841"/>
                    <a:gd name="connsiteX11" fmla="*/ 30790 w 120480"/>
                    <a:gd name="connsiteY11" fmla="*/ 69642 h 99841"/>
                    <a:gd name="connsiteX12" fmla="*/ 91083 w 120480"/>
                    <a:gd name="connsiteY12" fmla="*/ 69642 h 99841"/>
                    <a:gd name="connsiteX13" fmla="*/ 90797 w 120480"/>
                    <a:gd name="connsiteY13" fmla="*/ 38019 h 99841"/>
                    <a:gd name="connsiteX14" fmla="*/ 83939 w 120480"/>
                    <a:gd name="connsiteY14" fmla="*/ 29637 h 99841"/>
                    <a:gd name="connsiteX15" fmla="*/ 30790 w 120480"/>
                    <a:gd name="connsiteY15" fmla="*/ 29161 h 99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480" h="99841">
                      <a:moveTo>
                        <a:pt x="60508" y="99741"/>
                      </a:moveTo>
                      <a:cubicBezTo>
                        <a:pt x="46696" y="99741"/>
                        <a:pt x="32980" y="99551"/>
                        <a:pt x="19169" y="99837"/>
                      </a:cubicBezTo>
                      <a:cubicBezTo>
                        <a:pt x="7168" y="100027"/>
                        <a:pt x="405" y="94407"/>
                        <a:pt x="214" y="82406"/>
                      </a:cubicBezTo>
                      <a:cubicBezTo>
                        <a:pt x="-71" y="60784"/>
                        <a:pt x="-71" y="39162"/>
                        <a:pt x="214" y="17541"/>
                      </a:cubicBezTo>
                      <a:cubicBezTo>
                        <a:pt x="310" y="6396"/>
                        <a:pt x="6501" y="205"/>
                        <a:pt x="17740" y="110"/>
                      </a:cubicBezTo>
                      <a:cubicBezTo>
                        <a:pt x="45744" y="-81"/>
                        <a:pt x="73747" y="15"/>
                        <a:pt x="101846" y="110"/>
                      </a:cubicBezTo>
                      <a:cubicBezTo>
                        <a:pt x="113181" y="110"/>
                        <a:pt x="119753" y="6492"/>
                        <a:pt x="120039" y="17160"/>
                      </a:cubicBezTo>
                      <a:cubicBezTo>
                        <a:pt x="120706" y="39258"/>
                        <a:pt x="120515" y="61356"/>
                        <a:pt x="120134" y="83454"/>
                      </a:cubicBezTo>
                      <a:cubicBezTo>
                        <a:pt x="119944" y="94884"/>
                        <a:pt x="113086" y="99932"/>
                        <a:pt x="101846" y="99837"/>
                      </a:cubicBezTo>
                      <a:cubicBezTo>
                        <a:pt x="88130" y="99646"/>
                        <a:pt x="74319" y="99741"/>
                        <a:pt x="60508" y="99741"/>
                      </a:cubicBezTo>
                      <a:close/>
                      <a:moveTo>
                        <a:pt x="30790" y="29161"/>
                      </a:moveTo>
                      <a:cubicBezTo>
                        <a:pt x="30790" y="43830"/>
                        <a:pt x="30790" y="56688"/>
                        <a:pt x="30790" y="69642"/>
                      </a:cubicBezTo>
                      <a:cubicBezTo>
                        <a:pt x="51173" y="69642"/>
                        <a:pt x="70414" y="69642"/>
                        <a:pt x="91083" y="69642"/>
                      </a:cubicBezTo>
                      <a:cubicBezTo>
                        <a:pt x="91083" y="58308"/>
                        <a:pt x="91654" y="48116"/>
                        <a:pt x="90797" y="38019"/>
                      </a:cubicBezTo>
                      <a:cubicBezTo>
                        <a:pt x="90511" y="34876"/>
                        <a:pt x="86416" y="29733"/>
                        <a:pt x="83939" y="29637"/>
                      </a:cubicBezTo>
                      <a:cubicBezTo>
                        <a:pt x="66413" y="28875"/>
                        <a:pt x="48887" y="29161"/>
                        <a:pt x="30790" y="29161"/>
                      </a:cubicBez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59" name="Freeform: Shape 58">
                  <a:extLst>
                    <a:ext uri="{FF2B5EF4-FFF2-40B4-BE49-F238E27FC236}">
                      <a16:creationId xmlns:a16="http://schemas.microsoft.com/office/drawing/2014/main" id="{B2E919DA-8948-4C94-B046-1D8F58421957}"/>
                    </a:ext>
                  </a:extLst>
                </p:cNvPr>
                <p:cNvSpPr/>
                <p:nvPr/>
              </p:nvSpPr>
              <p:spPr>
                <a:xfrm>
                  <a:off x="4585334" y="2712296"/>
                  <a:ext cx="118876" cy="99769"/>
                </a:xfrm>
                <a:custGeom>
                  <a:avLst/>
                  <a:gdLst>
                    <a:gd name="connsiteX0" fmla="*/ 59913 w 118876"/>
                    <a:gd name="connsiteY0" fmla="*/ 99769 h 99769"/>
                    <a:gd name="connsiteX1" fmla="*/ 17241 w 118876"/>
                    <a:gd name="connsiteY1" fmla="*/ 99769 h 99769"/>
                    <a:gd name="connsiteX2" fmla="*/ 1 w 118876"/>
                    <a:gd name="connsiteY2" fmla="*/ 82529 h 99769"/>
                    <a:gd name="connsiteX3" fmla="*/ 1 w 118876"/>
                    <a:gd name="connsiteY3" fmla="*/ 17759 h 99769"/>
                    <a:gd name="connsiteX4" fmla="*/ 18384 w 118876"/>
                    <a:gd name="connsiteY4" fmla="*/ 42 h 99769"/>
                    <a:gd name="connsiteX5" fmla="*/ 100871 w 118876"/>
                    <a:gd name="connsiteY5" fmla="*/ 42 h 99769"/>
                    <a:gd name="connsiteX6" fmla="*/ 118778 w 118876"/>
                    <a:gd name="connsiteY6" fmla="*/ 18235 h 99769"/>
                    <a:gd name="connsiteX7" fmla="*/ 118873 w 118876"/>
                    <a:gd name="connsiteY7" fmla="*/ 81481 h 99769"/>
                    <a:gd name="connsiteX8" fmla="*/ 99728 w 118876"/>
                    <a:gd name="connsiteY8" fmla="*/ 99674 h 99769"/>
                    <a:gd name="connsiteX9" fmla="*/ 59913 w 118876"/>
                    <a:gd name="connsiteY9" fmla="*/ 99769 h 99769"/>
                    <a:gd name="connsiteX10" fmla="*/ 88488 w 118876"/>
                    <a:gd name="connsiteY10" fmla="*/ 30332 h 99769"/>
                    <a:gd name="connsiteX11" fmla="*/ 30290 w 118876"/>
                    <a:gd name="connsiteY11" fmla="*/ 30332 h 99769"/>
                    <a:gd name="connsiteX12" fmla="*/ 30290 w 118876"/>
                    <a:gd name="connsiteY12" fmla="*/ 69956 h 99769"/>
                    <a:gd name="connsiteX13" fmla="*/ 88488 w 118876"/>
                    <a:gd name="connsiteY13" fmla="*/ 69956 h 99769"/>
                    <a:gd name="connsiteX14" fmla="*/ 88488 w 118876"/>
                    <a:gd name="connsiteY14" fmla="*/ 30332 h 9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8876" h="99769">
                      <a:moveTo>
                        <a:pt x="59913" y="99769"/>
                      </a:moveTo>
                      <a:cubicBezTo>
                        <a:pt x="45721" y="99769"/>
                        <a:pt x="31433" y="99769"/>
                        <a:pt x="17241" y="99769"/>
                      </a:cubicBezTo>
                      <a:cubicBezTo>
                        <a:pt x="5716" y="99769"/>
                        <a:pt x="1" y="93959"/>
                        <a:pt x="1" y="82529"/>
                      </a:cubicBezTo>
                      <a:cubicBezTo>
                        <a:pt x="1" y="60907"/>
                        <a:pt x="96" y="39381"/>
                        <a:pt x="1" y="17759"/>
                      </a:cubicBezTo>
                      <a:cubicBezTo>
                        <a:pt x="-94" y="5281"/>
                        <a:pt x="6668" y="42"/>
                        <a:pt x="18384" y="42"/>
                      </a:cubicBezTo>
                      <a:cubicBezTo>
                        <a:pt x="45911" y="42"/>
                        <a:pt x="73343" y="-53"/>
                        <a:pt x="100871" y="42"/>
                      </a:cubicBezTo>
                      <a:cubicBezTo>
                        <a:pt x="112777" y="138"/>
                        <a:pt x="118873" y="6043"/>
                        <a:pt x="118778" y="18235"/>
                      </a:cubicBezTo>
                      <a:cubicBezTo>
                        <a:pt x="118587" y="39285"/>
                        <a:pt x="118492" y="60431"/>
                        <a:pt x="118873" y="81481"/>
                      </a:cubicBezTo>
                      <a:cubicBezTo>
                        <a:pt x="119063" y="94911"/>
                        <a:pt x="112301" y="99864"/>
                        <a:pt x="99728" y="99674"/>
                      </a:cubicBezTo>
                      <a:cubicBezTo>
                        <a:pt x="86393" y="99674"/>
                        <a:pt x="73153" y="99769"/>
                        <a:pt x="59913" y="99769"/>
                      </a:cubicBezTo>
                      <a:close/>
                      <a:moveTo>
                        <a:pt x="88488" y="30332"/>
                      </a:moveTo>
                      <a:cubicBezTo>
                        <a:pt x="68105" y="30332"/>
                        <a:pt x="49245" y="30332"/>
                        <a:pt x="30290" y="30332"/>
                      </a:cubicBezTo>
                      <a:cubicBezTo>
                        <a:pt x="30290" y="44143"/>
                        <a:pt x="30290" y="56716"/>
                        <a:pt x="30290" y="69956"/>
                      </a:cubicBezTo>
                      <a:cubicBezTo>
                        <a:pt x="49912" y="69956"/>
                        <a:pt x="68867" y="69956"/>
                        <a:pt x="88488" y="69956"/>
                      </a:cubicBezTo>
                      <a:cubicBezTo>
                        <a:pt x="88488" y="56526"/>
                        <a:pt x="88488" y="44048"/>
                        <a:pt x="88488" y="30332"/>
                      </a:cubicBez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62" name="Freeform: Shape 61">
                  <a:extLst>
                    <a:ext uri="{FF2B5EF4-FFF2-40B4-BE49-F238E27FC236}">
                      <a16:creationId xmlns:a16="http://schemas.microsoft.com/office/drawing/2014/main" id="{6D5C962F-3D3B-4FAA-98E8-5B4EF4446FB9}"/>
                    </a:ext>
                  </a:extLst>
                </p:cNvPr>
                <p:cNvSpPr/>
                <p:nvPr/>
              </p:nvSpPr>
              <p:spPr>
                <a:xfrm>
                  <a:off x="4720928" y="2712391"/>
                  <a:ext cx="118347" cy="99716"/>
                </a:xfrm>
                <a:custGeom>
                  <a:avLst/>
                  <a:gdLst>
                    <a:gd name="connsiteX0" fmla="*/ 57859 w 118347"/>
                    <a:gd name="connsiteY0" fmla="*/ 99674 h 99716"/>
                    <a:gd name="connsiteX1" fmla="*/ 16616 w 118347"/>
                    <a:gd name="connsiteY1" fmla="*/ 99674 h 99716"/>
                    <a:gd name="connsiteX2" fmla="*/ 42 w 118347"/>
                    <a:gd name="connsiteY2" fmla="*/ 83386 h 99716"/>
                    <a:gd name="connsiteX3" fmla="*/ 42 w 118347"/>
                    <a:gd name="connsiteY3" fmla="*/ 17092 h 99716"/>
                    <a:gd name="connsiteX4" fmla="*/ 17568 w 118347"/>
                    <a:gd name="connsiteY4" fmla="*/ 42 h 99716"/>
                    <a:gd name="connsiteX5" fmla="*/ 100150 w 118347"/>
                    <a:gd name="connsiteY5" fmla="*/ 42 h 99716"/>
                    <a:gd name="connsiteX6" fmla="*/ 118248 w 118347"/>
                    <a:gd name="connsiteY6" fmla="*/ 18045 h 99716"/>
                    <a:gd name="connsiteX7" fmla="*/ 118343 w 118347"/>
                    <a:gd name="connsiteY7" fmla="*/ 81386 h 99716"/>
                    <a:gd name="connsiteX8" fmla="*/ 100626 w 118347"/>
                    <a:gd name="connsiteY8" fmla="*/ 99674 h 99716"/>
                    <a:gd name="connsiteX9" fmla="*/ 57859 w 118347"/>
                    <a:gd name="connsiteY9" fmla="*/ 99674 h 99716"/>
                    <a:gd name="connsiteX10" fmla="*/ 89006 w 118347"/>
                    <a:gd name="connsiteY10" fmla="*/ 70432 h 99716"/>
                    <a:gd name="connsiteX11" fmla="*/ 88625 w 118347"/>
                    <a:gd name="connsiteY11" fmla="*/ 37857 h 99716"/>
                    <a:gd name="connsiteX12" fmla="*/ 81386 w 118347"/>
                    <a:gd name="connsiteY12" fmla="*/ 29951 h 99716"/>
                    <a:gd name="connsiteX13" fmla="*/ 29284 w 118347"/>
                    <a:gd name="connsiteY13" fmla="*/ 29570 h 99716"/>
                    <a:gd name="connsiteX14" fmla="*/ 29284 w 118347"/>
                    <a:gd name="connsiteY14" fmla="*/ 70432 h 99716"/>
                    <a:gd name="connsiteX15" fmla="*/ 89006 w 118347"/>
                    <a:gd name="connsiteY15" fmla="*/ 70432 h 99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347" h="99716">
                      <a:moveTo>
                        <a:pt x="57859" y="99674"/>
                      </a:moveTo>
                      <a:cubicBezTo>
                        <a:pt x="44143" y="99674"/>
                        <a:pt x="30332" y="99769"/>
                        <a:pt x="16616" y="99674"/>
                      </a:cubicBezTo>
                      <a:cubicBezTo>
                        <a:pt x="6043" y="99579"/>
                        <a:pt x="138" y="94245"/>
                        <a:pt x="42" y="83386"/>
                      </a:cubicBezTo>
                      <a:cubicBezTo>
                        <a:pt x="42" y="61288"/>
                        <a:pt x="-53" y="39190"/>
                        <a:pt x="42" y="17092"/>
                      </a:cubicBezTo>
                      <a:cubicBezTo>
                        <a:pt x="138" y="5567"/>
                        <a:pt x="6234" y="42"/>
                        <a:pt x="17568" y="42"/>
                      </a:cubicBezTo>
                      <a:cubicBezTo>
                        <a:pt x="45096" y="42"/>
                        <a:pt x="72623" y="-53"/>
                        <a:pt x="100150" y="42"/>
                      </a:cubicBezTo>
                      <a:cubicBezTo>
                        <a:pt x="111961" y="138"/>
                        <a:pt x="118438" y="5662"/>
                        <a:pt x="118248" y="18045"/>
                      </a:cubicBezTo>
                      <a:cubicBezTo>
                        <a:pt x="118057" y="39190"/>
                        <a:pt x="117962" y="60240"/>
                        <a:pt x="118343" y="81386"/>
                      </a:cubicBezTo>
                      <a:cubicBezTo>
                        <a:pt x="118533" y="93864"/>
                        <a:pt x="112533" y="99483"/>
                        <a:pt x="100626" y="99674"/>
                      </a:cubicBezTo>
                      <a:cubicBezTo>
                        <a:pt x="86434" y="99769"/>
                        <a:pt x="72147" y="99674"/>
                        <a:pt x="57859" y="99674"/>
                      </a:cubicBezTo>
                      <a:close/>
                      <a:moveTo>
                        <a:pt x="89006" y="70432"/>
                      </a:moveTo>
                      <a:cubicBezTo>
                        <a:pt x="89006" y="58335"/>
                        <a:pt x="89577" y="48048"/>
                        <a:pt x="88625" y="37857"/>
                      </a:cubicBezTo>
                      <a:cubicBezTo>
                        <a:pt x="88339" y="34904"/>
                        <a:pt x="83958" y="30046"/>
                        <a:pt x="81386" y="29951"/>
                      </a:cubicBezTo>
                      <a:cubicBezTo>
                        <a:pt x="64336" y="29189"/>
                        <a:pt x="47286" y="29570"/>
                        <a:pt x="29284" y="29570"/>
                      </a:cubicBezTo>
                      <a:cubicBezTo>
                        <a:pt x="29284" y="43953"/>
                        <a:pt x="29284" y="56907"/>
                        <a:pt x="29284" y="70432"/>
                      </a:cubicBezTo>
                      <a:cubicBezTo>
                        <a:pt x="49191" y="70432"/>
                        <a:pt x="68051" y="70432"/>
                        <a:pt x="89006" y="70432"/>
                      </a:cubicBez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grpSp>
        </p:grpSp>
        <p:grpSp>
          <p:nvGrpSpPr>
            <p:cNvPr id="72" name="Group 71"/>
            <p:cNvGrpSpPr/>
            <p:nvPr/>
          </p:nvGrpSpPr>
          <p:grpSpPr>
            <a:xfrm>
              <a:off x="6587849" y="789894"/>
              <a:ext cx="2326489" cy="1112661"/>
              <a:chOff x="6497458" y="789894"/>
              <a:chExt cx="2326489" cy="1112661"/>
            </a:xfrm>
          </p:grpSpPr>
          <p:grpSp>
            <p:nvGrpSpPr>
              <p:cNvPr id="16" name="Group 15">
                <a:extLst>
                  <a:ext uri="{FF2B5EF4-FFF2-40B4-BE49-F238E27FC236}">
                    <a16:creationId xmlns:a16="http://schemas.microsoft.com/office/drawing/2014/main" id="{945A73BD-031E-459E-A1DB-3DB96C24A27F}"/>
                  </a:ext>
                </a:extLst>
              </p:cNvPr>
              <p:cNvGrpSpPr/>
              <p:nvPr/>
            </p:nvGrpSpPr>
            <p:grpSpPr>
              <a:xfrm>
                <a:off x="6497458" y="789894"/>
                <a:ext cx="2326489" cy="1112661"/>
                <a:chOff x="6415255" y="789894"/>
                <a:chExt cx="2326489" cy="1112661"/>
              </a:xfrm>
            </p:grpSpPr>
            <p:sp>
              <p:nvSpPr>
                <p:cNvPr id="122" name="Rectangle 121">
                  <a:extLst>
                    <a:ext uri="{FF2B5EF4-FFF2-40B4-BE49-F238E27FC236}">
                      <a16:creationId xmlns:a16="http://schemas.microsoft.com/office/drawing/2014/main" id="{7B82F2BC-0069-4F8E-953B-C1A4A8A9DF84}"/>
                    </a:ext>
                  </a:extLst>
                </p:cNvPr>
                <p:cNvSpPr/>
                <p:nvPr/>
              </p:nvSpPr>
              <p:spPr>
                <a:xfrm>
                  <a:off x="6970380" y="1517664"/>
                  <a:ext cx="1771364" cy="384891"/>
                </a:xfrm>
                <a:prstGeom prst="rect">
                  <a:avLst/>
                </a:prstGeom>
                <a:solidFill>
                  <a:srgbClr val="02C2DA"/>
                </a:solidFill>
                <a:ln w="41275">
                  <a:noFill/>
                </a:ln>
              </p:spPr>
              <p:style>
                <a:lnRef idx="2">
                  <a:schemeClr val="dk1"/>
                </a:lnRef>
                <a:fillRef idx="1">
                  <a:schemeClr val="lt1"/>
                </a:fillRef>
                <a:effectRef idx="0">
                  <a:schemeClr val="dk1"/>
                </a:effectRef>
                <a:fontRef idx="minor">
                  <a:schemeClr val="dk1"/>
                </a:fontRef>
              </p:style>
              <p:txBody>
                <a:bodyPr rtlCol="0" anchor="ctr"/>
                <a:lstStyle/>
                <a:p>
                  <a:pPr algn="r" defTabSz="1219170"/>
                  <a:r>
                    <a:rPr lang="en-US" sz="1600" b="1" dirty="0">
                      <a:solidFill>
                        <a:prstClr val="white"/>
                      </a:solidFill>
                      <a:effectLst>
                        <a:outerShdw blurRad="38100" dist="38100" dir="2700000" algn="tl">
                          <a:srgbClr val="000000">
                            <a:alpha val="43137"/>
                          </a:srgbClr>
                        </a:outerShdw>
                      </a:effectLst>
                      <a:latin typeface="Arial"/>
                    </a:rPr>
                    <a:t>Sustainable </a:t>
                  </a:r>
                </a:p>
              </p:txBody>
            </p:sp>
            <p:sp>
              <p:nvSpPr>
                <p:cNvPr id="47" name="Oval 46">
                  <a:extLst>
                    <a:ext uri="{FF2B5EF4-FFF2-40B4-BE49-F238E27FC236}">
                      <a16:creationId xmlns:a16="http://schemas.microsoft.com/office/drawing/2014/main" id="{06A1DE1D-2544-4630-BE5B-F044D107C92B}"/>
                    </a:ext>
                  </a:extLst>
                </p:cNvPr>
                <p:cNvSpPr/>
                <p:nvPr/>
              </p:nvSpPr>
              <p:spPr>
                <a:xfrm>
                  <a:off x="6415255" y="789894"/>
                  <a:ext cx="1110251" cy="1110251"/>
                </a:xfrm>
                <a:prstGeom prst="ellipse">
                  <a:avLst/>
                </a:prstGeom>
                <a:solidFill>
                  <a:srgbClr val="02C2DA"/>
                </a:solidFill>
                <a:ln w="41275">
                  <a:noFill/>
                </a:ln>
              </p:spPr>
              <p:style>
                <a:lnRef idx="2">
                  <a:schemeClr val="dk1"/>
                </a:lnRef>
                <a:fillRef idx="1">
                  <a:schemeClr val="lt1"/>
                </a:fillRef>
                <a:effectRef idx="0">
                  <a:schemeClr val="dk1"/>
                </a:effectRef>
                <a:fontRef idx="minor">
                  <a:schemeClr val="dk1"/>
                </a:fontRef>
              </p:style>
              <p:txBody>
                <a:bodyPr rtlCol="0" anchor="ctr"/>
                <a:lstStyle/>
                <a:p>
                  <a:pPr algn="ctr" defTabSz="1219170"/>
                  <a:endParaRPr lang="en-US" sz="1867" dirty="0">
                    <a:solidFill>
                      <a:srgbClr val="102B62"/>
                    </a:solidFill>
                    <a:latin typeface="Arial"/>
                  </a:endParaRPr>
                </a:p>
              </p:txBody>
            </p:sp>
            <p:sp>
              <p:nvSpPr>
                <p:cNvPr id="46" name="Oval 45" descr="Icon image of a clock.">
                  <a:extLst>
                    <a:ext uri="{FF2B5EF4-FFF2-40B4-BE49-F238E27FC236}">
                      <a16:creationId xmlns:a16="http://schemas.microsoft.com/office/drawing/2014/main" id="{87F01ED3-D787-457F-AC84-9B8C65A852DC}"/>
                    </a:ext>
                  </a:extLst>
                </p:cNvPr>
                <p:cNvSpPr/>
                <p:nvPr/>
              </p:nvSpPr>
              <p:spPr>
                <a:xfrm>
                  <a:off x="6507832" y="882470"/>
                  <a:ext cx="925099" cy="925099"/>
                </a:xfrm>
                <a:prstGeom prst="ellipse">
                  <a:avLst/>
                </a:prstGeom>
                <a:gradFill>
                  <a:gsLst>
                    <a:gs pos="0">
                      <a:schemeClr val="bg1">
                        <a:lumMod val="95000"/>
                      </a:schemeClr>
                    </a:gs>
                    <a:gs pos="50000">
                      <a:schemeClr val="bg1">
                        <a:lumMod val="85000"/>
                      </a:schemeClr>
                    </a:gs>
                    <a:gs pos="100000">
                      <a:schemeClr val="bg1">
                        <a:lumMod val="75000"/>
                      </a:schemeClr>
                    </a:gs>
                  </a:gsLst>
                </a:gradFill>
              </p:spPr>
              <p:style>
                <a:lnRef idx="1">
                  <a:schemeClr val="accent2"/>
                </a:lnRef>
                <a:fillRef idx="2">
                  <a:schemeClr val="accent2"/>
                </a:fillRef>
                <a:effectRef idx="1">
                  <a:schemeClr val="accent2"/>
                </a:effectRef>
                <a:fontRef idx="minor">
                  <a:schemeClr val="dk1"/>
                </a:fontRef>
              </p:style>
              <p:txBody>
                <a:bodyPr rtlCol="0" anchor="ctr"/>
                <a:lstStyle/>
                <a:p>
                  <a:pPr algn="ctr" defTabSz="1219170"/>
                  <a:endParaRPr lang="en-US" sz="1867" dirty="0">
                    <a:solidFill>
                      <a:srgbClr val="102B62"/>
                    </a:solidFill>
                    <a:latin typeface="Arial"/>
                  </a:endParaRPr>
                </a:p>
              </p:txBody>
            </p:sp>
          </p:grpSp>
          <p:grpSp>
            <p:nvGrpSpPr>
              <p:cNvPr id="65" name="Graphic 2">
                <a:extLst>
                  <a:ext uri="{FF2B5EF4-FFF2-40B4-BE49-F238E27FC236}">
                    <a16:creationId xmlns:a16="http://schemas.microsoft.com/office/drawing/2014/main" id="{EF55E89F-3649-4201-A880-942150D7446A}"/>
                  </a:ext>
                </a:extLst>
              </p:cNvPr>
              <p:cNvGrpSpPr/>
              <p:nvPr/>
            </p:nvGrpSpPr>
            <p:grpSpPr>
              <a:xfrm>
                <a:off x="6710236" y="1000286"/>
                <a:ext cx="685800" cy="686086"/>
                <a:chOff x="4229099" y="2228849"/>
                <a:chExt cx="685800" cy="686086"/>
              </a:xfrm>
              <a:solidFill>
                <a:srgbClr val="02C2DA"/>
              </a:solidFill>
            </p:grpSpPr>
            <p:sp>
              <p:nvSpPr>
                <p:cNvPr id="66" name="Freeform: Shape 65">
                  <a:extLst>
                    <a:ext uri="{FF2B5EF4-FFF2-40B4-BE49-F238E27FC236}">
                      <a16:creationId xmlns:a16="http://schemas.microsoft.com/office/drawing/2014/main" id="{C440F760-59FF-4C9D-8AC0-E7F02287B177}"/>
                    </a:ext>
                  </a:extLst>
                </p:cNvPr>
                <p:cNvSpPr/>
                <p:nvPr/>
              </p:nvSpPr>
              <p:spPr>
                <a:xfrm>
                  <a:off x="4229099" y="2228849"/>
                  <a:ext cx="685800" cy="686086"/>
                </a:xfrm>
                <a:custGeom>
                  <a:avLst/>
                  <a:gdLst>
                    <a:gd name="connsiteX0" fmla="*/ 0 w 685800"/>
                    <a:gd name="connsiteY0" fmla="*/ 343948 h 686086"/>
                    <a:gd name="connsiteX1" fmla="*/ 343186 w 685800"/>
                    <a:gd name="connsiteY1" fmla="*/ 1 h 686086"/>
                    <a:gd name="connsiteX2" fmla="*/ 685800 w 685800"/>
                    <a:gd name="connsiteY2" fmla="*/ 343282 h 686086"/>
                    <a:gd name="connsiteX3" fmla="*/ 339376 w 685800"/>
                    <a:gd name="connsiteY3" fmla="*/ 686086 h 686086"/>
                    <a:gd name="connsiteX4" fmla="*/ 0 w 685800"/>
                    <a:gd name="connsiteY4" fmla="*/ 343948 h 686086"/>
                    <a:gd name="connsiteX5" fmla="*/ 342424 w 685800"/>
                    <a:gd name="connsiteY5" fmla="*/ 661036 h 686086"/>
                    <a:gd name="connsiteX6" fmla="*/ 660559 w 685800"/>
                    <a:gd name="connsiteY6" fmla="*/ 344996 h 686086"/>
                    <a:gd name="connsiteX7" fmla="*/ 343376 w 685800"/>
                    <a:gd name="connsiteY7" fmla="*/ 25147 h 686086"/>
                    <a:gd name="connsiteX8" fmla="*/ 25241 w 685800"/>
                    <a:gd name="connsiteY8" fmla="*/ 341472 h 686086"/>
                    <a:gd name="connsiteX9" fmla="*/ 342424 w 685800"/>
                    <a:gd name="connsiteY9" fmla="*/ 661036 h 68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5800" h="686086">
                      <a:moveTo>
                        <a:pt x="0" y="343948"/>
                      </a:moveTo>
                      <a:cubicBezTo>
                        <a:pt x="-95" y="153448"/>
                        <a:pt x="152686" y="382"/>
                        <a:pt x="343186" y="1"/>
                      </a:cubicBezTo>
                      <a:cubicBezTo>
                        <a:pt x="532067" y="-380"/>
                        <a:pt x="685800" y="153734"/>
                        <a:pt x="685800" y="343282"/>
                      </a:cubicBezTo>
                      <a:cubicBezTo>
                        <a:pt x="685800" y="535020"/>
                        <a:pt x="533019" y="686182"/>
                        <a:pt x="339376" y="686086"/>
                      </a:cubicBezTo>
                      <a:cubicBezTo>
                        <a:pt x="152781" y="685991"/>
                        <a:pt x="95" y="532067"/>
                        <a:pt x="0" y="343948"/>
                      </a:cubicBezTo>
                      <a:close/>
                      <a:moveTo>
                        <a:pt x="342424" y="661036"/>
                      </a:moveTo>
                      <a:cubicBezTo>
                        <a:pt x="517112" y="661036"/>
                        <a:pt x="660464" y="518732"/>
                        <a:pt x="660559" y="344996"/>
                      </a:cubicBezTo>
                      <a:cubicBezTo>
                        <a:pt x="660749" y="168593"/>
                        <a:pt x="519684" y="26385"/>
                        <a:pt x="343376" y="25147"/>
                      </a:cubicBezTo>
                      <a:cubicBezTo>
                        <a:pt x="170212" y="23908"/>
                        <a:pt x="25337" y="168022"/>
                        <a:pt x="25241" y="341472"/>
                      </a:cubicBezTo>
                      <a:cubicBezTo>
                        <a:pt x="25051" y="517875"/>
                        <a:pt x="167069" y="660940"/>
                        <a:pt x="342424" y="661036"/>
                      </a:cubicBez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67" name="Freeform: Shape 66">
                  <a:extLst>
                    <a:ext uri="{FF2B5EF4-FFF2-40B4-BE49-F238E27FC236}">
                      <a16:creationId xmlns:a16="http://schemas.microsoft.com/office/drawing/2014/main" id="{B04A7B4F-A9DC-42F0-AEE4-B5359ED3815D}"/>
                    </a:ext>
                  </a:extLst>
                </p:cNvPr>
                <p:cNvSpPr/>
                <p:nvPr/>
              </p:nvSpPr>
              <p:spPr>
                <a:xfrm>
                  <a:off x="4301952" y="2302096"/>
                  <a:ext cx="540276" cy="539977"/>
                </a:xfrm>
                <a:custGeom>
                  <a:avLst/>
                  <a:gdLst>
                    <a:gd name="connsiteX0" fmla="*/ 14 w 540276"/>
                    <a:gd name="connsiteY0" fmla="*/ 268892 h 539977"/>
                    <a:gd name="connsiteX1" fmla="*/ 269762 w 540276"/>
                    <a:gd name="connsiteY1" fmla="*/ 1 h 539977"/>
                    <a:gd name="connsiteX2" fmla="*/ 540272 w 540276"/>
                    <a:gd name="connsiteY2" fmla="*/ 272130 h 539977"/>
                    <a:gd name="connsiteX3" fmla="*/ 270333 w 540276"/>
                    <a:gd name="connsiteY3" fmla="*/ 539973 h 539977"/>
                    <a:gd name="connsiteX4" fmla="*/ 14 w 540276"/>
                    <a:gd name="connsiteY4" fmla="*/ 268892 h 539977"/>
                    <a:gd name="connsiteX5" fmla="*/ 403588 w 540276"/>
                    <a:gd name="connsiteY5" fmla="*/ 65057 h 539977"/>
                    <a:gd name="connsiteX6" fmla="*/ 394063 w 540276"/>
                    <a:gd name="connsiteY6" fmla="*/ 80963 h 539977"/>
                    <a:gd name="connsiteX7" fmla="*/ 374918 w 540276"/>
                    <a:gd name="connsiteY7" fmla="*/ 87821 h 539977"/>
                    <a:gd name="connsiteX8" fmla="*/ 371870 w 540276"/>
                    <a:gd name="connsiteY8" fmla="*/ 68486 h 539977"/>
                    <a:gd name="connsiteX9" fmla="*/ 380823 w 540276"/>
                    <a:gd name="connsiteY9" fmla="*/ 52198 h 539977"/>
                    <a:gd name="connsiteX10" fmla="*/ 282716 w 540276"/>
                    <a:gd name="connsiteY10" fmla="*/ 25623 h 539977"/>
                    <a:gd name="connsiteX11" fmla="*/ 282716 w 540276"/>
                    <a:gd name="connsiteY11" fmla="*/ 44387 h 539977"/>
                    <a:gd name="connsiteX12" fmla="*/ 270619 w 540276"/>
                    <a:gd name="connsiteY12" fmla="*/ 59723 h 539977"/>
                    <a:gd name="connsiteX13" fmla="*/ 257284 w 540276"/>
                    <a:gd name="connsiteY13" fmla="*/ 44387 h 539977"/>
                    <a:gd name="connsiteX14" fmla="*/ 256427 w 540276"/>
                    <a:gd name="connsiteY14" fmla="*/ 25337 h 539977"/>
                    <a:gd name="connsiteX15" fmla="*/ 159367 w 540276"/>
                    <a:gd name="connsiteY15" fmla="*/ 52484 h 539977"/>
                    <a:gd name="connsiteX16" fmla="*/ 168416 w 540276"/>
                    <a:gd name="connsiteY16" fmla="*/ 69629 h 539977"/>
                    <a:gd name="connsiteX17" fmla="*/ 164796 w 540276"/>
                    <a:gd name="connsiteY17" fmla="*/ 87440 h 539977"/>
                    <a:gd name="connsiteX18" fmla="*/ 146603 w 540276"/>
                    <a:gd name="connsiteY18" fmla="*/ 81916 h 539977"/>
                    <a:gd name="connsiteX19" fmla="*/ 136412 w 540276"/>
                    <a:gd name="connsiteY19" fmla="*/ 64961 h 539977"/>
                    <a:gd name="connsiteX20" fmla="*/ 65641 w 540276"/>
                    <a:gd name="connsiteY20" fmla="*/ 136685 h 539977"/>
                    <a:gd name="connsiteX21" fmla="*/ 83167 w 540276"/>
                    <a:gd name="connsiteY21" fmla="*/ 147448 h 539977"/>
                    <a:gd name="connsiteX22" fmla="*/ 87263 w 540276"/>
                    <a:gd name="connsiteY22" fmla="*/ 164879 h 539977"/>
                    <a:gd name="connsiteX23" fmla="*/ 71165 w 540276"/>
                    <a:gd name="connsiteY23" fmla="*/ 169070 h 539977"/>
                    <a:gd name="connsiteX24" fmla="*/ 51639 w 540276"/>
                    <a:gd name="connsiteY24" fmla="*/ 159449 h 539977"/>
                    <a:gd name="connsiteX25" fmla="*/ 25922 w 540276"/>
                    <a:gd name="connsiteY25" fmla="*/ 256985 h 539977"/>
                    <a:gd name="connsiteX26" fmla="*/ 46591 w 540276"/>
                    <a:gd name="connsiteY26" fmla="*/ 256985 h 539977"/>
                    <a:gd name="connsiteX27" fmla="*/ 59450 w 540276"/>
                    <a:gd name="connsiteY27" fmla="*/ 269749 h 539977"/>
                    <a:gd name="connsiteX28" fmla="*/ 46400 w 540276"/>
                    <a:gd name="connsiteY28" fmla="*/ 282227 h 539977"/>
                    <a:gd name="connsiteX29" fmla="*/ 25636 w 540276"/>
                    <a:gd name="connsiteY29" fmla="*/ 282227 h 539977"/>
                    <a:gd name="connsiteX30" fmla="*/ 51639 w 540276"/>
                    <a:gd name="connsiteY30" fmla="*/ 380048 h 539977"/>
                    <a:gd name="connsiteX31" fmla="*/ 70594 w 540276"/>
                    <a:gd name="connsiteY31" fmla="*/ 370238 h 539977"/>
                    <a:gd name="connsiteX32" fmla="*/ 87929 w 540276"/>
                    <a:gd name="connsiteY32" fmla="*/ 375000 h 539977"/>
                    <a:gd name="connsiteX33" fmla="*/ 82595 w 540276"/>
                    <a:gd name="connsiteY33" fmla="*/ 392526 h 539977"/>
                    <a:gd name="connsiteX34" fmla="*/ 65831 w 540276"/>
                    <a:gd name="connsiteY34" fmla="*/ 403099 h 539977"/>
                    <a:gd name="connsiteX35" fmla="*/ 137364 w 540276"/>
                    <a:gd name="connsiteY35" fmla="*/ 473298 h 539977"/>
                    <a:gd name="connsiteX36" fmla="*/ 146984 w 540276"/>
                    <a:gd name="connsiteY36" fmla="*/ 457106 h 539977"/>
                    <a:gd name="connsiteX37" fmla="*/ 164129 w 540276"/>
                    <a:gd name="connsiteY37" fmla="*/ 451772 h 539977"/>
                    <a:gd name="connsiteX38" fmla="*/ 168701 w 540276"/>
                    <a:gd name="connsiteY38" fmla="*/ 469202 h 539977"/>
                    <a:gd name="connsiteX39" fmla="*/ 159367 w 540276"/>
                    <a:gd name="connsiteY39" fmla="*/ 487586 h 539977"/>
                    <a:gd name="connsiteX40" fmla="*/ 257379 w 540276"/>
                    <a:gd name="connsiteY40" fmla="*/ 514065 h 539977"/>
                    <a:gd name="connsiteX41" fmla="*/ 257855 w 540276"/>
                    <a:gd name="connsiteY41" fmla="*/ 492824 h 539977"/>
                    <a:gd name="connsiteX42" fmla="*/ 269571 w 540276"/>
                    <a:gd name="connsiteY42" fmla="*/ 480823 h 539977"/>
                    <a:gd name="connsiteX43" fmla="*/ 282430 w 540276"/>
                    <a:gd name="connsiteY43" fmla="*/ 492920 h 539977"/>
                    <a:gd name="connsiteX44" fmla="*/ 282525 w 540276"/>
                    <a:gd name="connsiteY44" fmla="*/ 514256 h 539977"/>
                    <a:gd name="connsiteX45" fmla="*/ 380347 w 540276"/>
                    <a:gd name="connsiteY45" fmla="*/ 487490 h 539977"/>
                    <a:gd name="connsiteX46" fmla="*/ 370727 w 540276"/>
                    <a:gd name="connsiteY46" fmla="*/ 467583 h 539977"/>
                    <a:gd name="connsiteX47" fmla="*/ 375965 w 540276"/>
                    <a:gd name="connsiteY47" fmla="*/ 451867 h 539977"/>
                    <a:gd name="connsiteX48" fmla="*/ 392063 w 540276"/>
                    <a:gd name="connsiteY48" fmla="*/ 456629 h 539977"/>
                    <a:gd name="connsiteX49" fmla="*/ 403588 w 540276"/>
                    <a:gd name="connsiteY49" fmla="*/ 474632 h 539977"/>
                    <a:gd name="connsiteX50" fmla="*/ 474168 w 540276"/>
                    <a:gd name="connsiteY50" fmla="*/ 402908 h 539977"/>
                    <a:gd name="connsiteX51" fmla="*/ 456356 w 540276"/>
                    <a:gd name="connsiteY51" fmla="*/ 391288 h 539977"/>
                    <a:gd name="connsiteX52" fmla="*/ 452546 w 540276"/>
                    <a:gd name="connsiteY52" fmla="*/ 374714 h 539977"/>
                    <a:gd name="connsiteX53" fmla="*/ 468358 w 540276"/>
                    <a:gd name="connsiteY53" fmla="*/ 369857 h 539977"/>
                    <a:gd name="connsiteX54" fmla="*/ 488456 w 540276"/>
                    <a:gd name="connsiteY54" fmla="*/ 379953 h 539977"/>
                    <a:gd name="connsiteX55" fmla="*/ 513887 w 540276"/>
                    <a:gd name="connsiteY55" fmla="*/ 282131 h 539977"/>
                    <a:gd name="connsiteX56" fmla="*/ 494361 w 540276"/>
                    <a:gd name="connsiteY56" fmla="*/ 282131 h 539977"/>
                    <a:gd name="connsiteX57" fmla="*/ 480264 w 540276"/>
                    <a:gd name="connsiteY57" fmla="*/ 269368 h 539977"/>
                    <a:gd name="connsiteX58" fmla="*/ 494742 w 540276"/>
                    <a:gd name="connsiteY58" fmla="*/ 256795 h 539977"/>
                    <a:gd name="connsiteX59" fmla="*/ 514364 w 540276"/>
                    <a:gd name="connsiteY59" fmla="*/ 256795 h 539977"/>
                    <a:gd name="connsiteX60" fmla="*/ 487979 w 540276"/>
                    <a:gd name="connsiteY60" fmla="*/ 159259 h 539977"/>
                    <a:gd name="connsiteX61" fmla="*/ 469882 w 540276"/>
                    <a:gd name="connsiteY61" fmla="*/ 168784 h 539977"/>
                    <a:gd name="connsiteX62" fmla="*/ 452165 w 540276"/>
                    <a:gd name="connsiteY62" fmla="*/ 164879 h 539977"/>
                    <a:gd name="connsiteX63" fmla="*/ 457785 w 540276"/>
                    <a:gd name="connsiteY63" fmla="*/ 146400 h 539977"/>
                    <a:gd name="connsiteX64" fmla="*/ 474359 w 540276"/>
                    <a:gd name="connsiteY64" fmla="*/ 136399 h 539977"/>
                    <a:gd name="connsiteX65" fmla="*/ 403588 w 540276"/>
                    <a:gd name="connsiteY65" fmla="*/ 65057 h 53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40276" h="539977">
                      <a:moveTo>
                        <a:pt x="14" y="268892"/>
                      </a:moveTo>
                      <a:cubicBezTo>
                        <a:pt x="-272" y="131446"/>
                        <a:pt x="107646" y="477"/>
                        <a:pt x="269762" y="1"/>
                      </a:cubicBezTo>
                      <a:cubicBezTo>
                        <a:pt x="429877" y="-380"/>
                        <a:pt x="541129" y="129636"/>
                        <a:pt x="540272" y="272130"/>
                      </a:cubicBezTo>
                      <a:cubicBezTo>
                        <a:pt x="539319" y="418910"/>
                        <a:pt x="418637" y="540830"/>
                        <a:pt x="270333" y="539973"/>
                      </a:cubicBezTo>
                      <a:cubicBezTo>
                        <a:pt x="110027" y="539116"/>
                        <a:pt x="-1415" y="409481"/>
                        <a:pt x="14" y="268892"/>
                      </a:cubicBezTo>
                      <a:close/>
                      <a:moveTo>
                        <a:pt x="403588" y="65057"/>
                      </a:moveTo>
                      <a:cubicBezTo>
                        <a:pt x="399683" y="71438"/>
                        <a:pt x="396539" y="76010"/>
                        <a:pt x="394063" y="80963"/>
                      </a:cubicBezTo>
                      <a:cubicBezTo>
                        <a:pt x="389681" y="89441"/>
                        <a:pt x="382633" y="92203"/>
                        <a:pt x="374918" y="87821"/>
                      </a:cubicBezTo>
                      <a:cubicBezTo>
                        <a:pt x="367107" y="83440"/>
                        <a:pt x="368345" y="75629"/>
                        <a:pt x="371870" y="68486"/>
                      </a:cubicBezTo>
                      <a:cubicBezTo>
                        <a:pt x="374537" y="63247"/>
                        <a:pt x="377489" y="58103"/>
                        <a:pt x="380823" y="52198"/>
                      </a:cubicBezTo>
                      <a:cubicBezTo>
                        <a:pt x="349772" y="36291"/>
                        <a:pt x="318244" y="27242"/>
                        <a:pt x="282716" y="25623"/>
                      </a:cubicBezTo>
                      <a:cubicBezTo>
                        <a:pt x="282716" y="32672"/>
                        <a:pt x="282620" y="38577"/>
                        <a:pt x="282716" y="44387"/>
                      </a:cubicBezTo>
                      <a:cubicBezTo>
                        <a:pt x="282906" y="52960"/>
                        <a:pt x="279096" y="59437"/>
                        <a:pt x="270619" y="59723"/>
                      </a:cubicBezTo>
                      <a:cubicBezTo>
                        <a:pt x="261380" y="60104"/>
                        <a:pt x="257379" y="53531"/>
                        <a:pt x="257284" y="44387"/>
                      </a:cubicBezTo>
                      <a:cubicBezTo>
                        <a:pt x="257284" y="38196"/>
                        <a:pt x="256712" y="32100"/>
                        <a:pt x="256427" y="25337"/>
                      </a:cubicBezTo>
                      <a:cubicBezTo>
                        <a:pt x="221184" y="27909"/>
                        <a:pt x="189466" y="35910"/>
                        <a:pt x="159367" y="52484"/>
                      </a:cubicBezTo>
                      <a:cubicBezTo>
                        <a:pt x="163082" y="59056"/>
                        <a:pt x="167654" y="64104"/>
                        <a:pt x="168416" y="69629"/>
                      </a:cubicBezTo>
                      <a:cubicBezTo>
                        <a:pt x="169273" y="75439"/>
                        <a:pt x="168511" y="84297"/>
                        <a:pt x="164796" y="87440"/>
                      </a:cubicBezTo>
                      <a:cubicBezTo>
                        <a:pt x="158700" y="92584"/>
                        <a:pt x="151080" y="89726"/>
                        <a:pt x="146603" y="81916"/>
                      </a:cubicBezTo>
                      <a:cubicBezTo>
                        <a:pt x="143460" y="76487"/>
                        <a:pt x="140126" y="71153"/>
                        <a:pt x="136412" y="64961"/>
                      </a:cubicBezTo>
                      <a:cubicBezTo>
                        <a:pt x="107551" y="84964"/>
                        <a:pt x="83453" y="107157"/>
                        <a:pt x="65641" y="136685"/>
                      </a:cubicBezTo>
                      <a:cubicBezTo>
                        <a:pt x="72308" y="140780"/>
                        <a:pt x="77928" y="143828"/>
                        <a:pt x="83167" y="147448"/>
                      </a:cubicBezTo>
                      <a:cubicBezTo>
                        <a:pt x="89739" y="151925"/>
                        <a:pt x="92692" y="158973"/>
                        <a:pt x="87263" y="164879"/>
                      </a:cubicBezTo>
                      <a:cubicBezTo>
                        <a:pt x="84024" y="168403"/>
                        <a:pt x="76214" y="169927"/>
                        <a:pt x="71165" y="169070"/>
                      </a:cubicBezTo>
                      <a:cubicBezTo>
                        <a:pt x="64784" y="167927"/>
                        <a:pt x="59069" y="163355"/>
                        <a:pt x="51639" y="159449"/>
                      </a:cubicBezTo>
                      <a:cubicBezTo>
                        <a:pt x="36875" y="190501"/>
                        <a:pt x="27255" y="221743"/>
                        <a:pt x="25922" y="256985"/>
                      </a:cubicBezTo>
                      <a:cubicBezTo>
                        <a:pt x="33923" y="256985"/>
                        <a:pt x="40209" y="256890"/>
                        <a:pt x="46591" y="256985"/>
                      </a:cubicBezTo>
                      <a:cubicBezTo>
                        <a:pt x="54782" y="257176"/>
                        <a:pt x="59545" y="261557"/>
                        <a:pt x="59450" y="269749"/>
                      </a:cubicBezTo>
                      <a:cubicBezTo>
                        <a:pt x="59354" y="277940"/>
                        <a:pt x="54878" y="282322"/>
                        <a:pt x="46400" y="282227"/>
                      </a:cubicBezTo>
                      <a:cubicBezTo>
                        <a:pt x="39828" y="282131"/>
                        <a:pt x="33161" y="282227"/>
                        <a:pt x="25636" y="282227"/>
                      </a:cubicBezTo>
                      <a:cubicBezTo>
                        <a:pt x="27636" y="318041"/>
                        <a:pt x="36494" y="349283"/>
                        <a:pt x="51639" y="380048"/>
                      </a:cubicBezTo>
                      <a:cubicBezTo>
                        <a:pt x="58592" y="376429"/>
                        <a:pt x="64593" y="373381"/>
                        <a:pt x="70594" y="370238"/>
                      </a:cubicBezTo>
                      <a:cubicBezTo>
                        <a:pt x="77833" y="366523"/>
                        <a:pt x="83929" y="367380"/>
                        <a:pt x="87929" y="375000"/>
                      </a:cubicBezTo>
                      <a:cubicBezTo>
                        <a:pt x="91835" y="382430"/>
                        <a:pt x="89263" y="388240"/>
                        <a:pt x="82595" y="392526"/>
                      </a:cubicBezTo>
                      <a:cubicBezTo>
                        <a:pt x="77071" y="396146"/>
                        <a:pt x="71356" y="399575"/>
                        <a:pt x="65831" y="403099"/>
                      </a:cubicBezTo>
                      <a:cubicBezTo>
                        <a:pt x="83072" y="431769"/>
                        <a:pt x="115647" y="463583"/>
                        <a:pt x="137364" y="473298"/>
                      </a:cubicBezTo>
                      <a:cubicBezTo>
                        <a:pt x="140507" y="467964"/>
                        <a:pt x="143746" y="462535"/>
                        <a:pt x="146984" y="457106"/>
                      </a:cubicBezTo>
                      <a:cubicBezTo>
                        <a:pt x="151175" y="449962"/>
                        <a:pt x="158510" y="447104"/>
                        <a:pt x="164129" y="451772"/>
                      </a:cubicBezTo>
                      <a:cubicBezTo>
                        <a:pt x="167939" y="455010"/>
                        <a:pt x="169559" y="463583"/>
                        <a:pt x="168701" y="469202"/>
                      </a:cubicBezTo>
                      <a:cubicBezTo>
                        <a:pt x="167749" y="475489"/>
                        <a:pt x="162796" y="481204"/>
                        <a:pt x="159367" y="487586"/>
                      </a:cubicBezTo>
                      <a:cubicBezTo>
                        <a:pt x="190228" y="503302"/>
                        <a:pt x="221756" y="512446"/>
                        <a:pt x="257379" y="514065"/>
                      </a:cubicBezTo>
                      <a:cubicBezTo>
                        <a:pt x="257379" y="506159"/>
                        <a:pt x="255855" y="498825"/>
                        <a:pt x="257855" y="492824"/>
                      </a:cubicBezTo>
                      <a:cubicBezTo>
                        <a:pt x="259475" y="487871"/>
                        <a:pt x="264809" y="482061"/>
                        <a:pt x="269571" y="480823"/>
                      </a:cubicBezTo>
                      <a:cubicBezTo>
                        <a:pt x="277667" y="478727"/>
                        <a:pt x="282049" y="484919"/>
                        <a:pt x="282430" y="492920"/>
                      </a:cubicBezTo>
                      <a:cubicBezTo>
                        <a:pt x="282811" y="499587"/>
                        <a:pt x="282525" y="506350"/>
                        <a:pt x="282525" y="514256"/>
                      </a:cubicBezTo>
                      <a:cubicBezTo>
                        <a:pt x="318244" y="512065"/>
                        <a:pt x="349962" y="503397"/>
                        <a:pt x="380347" y="487490"/>
                      </a:cubicBezTo>
                      <a:cubicBezTo>
                        <a:pt x="376823" y="480537"/>
                        <a:pt x="371870" y="474441"/>
                        <a:pt x="370727" y="467583"/>
                      </a:cubicBezTo>
                      <a:cubicBezTo>
                        <a:pt x="369869" y="462535"/>
                        <a:pt x="372346" y="453581"/>
                        <a:pt x="375965" y="451867"/>
                      </a:cubicBezTo>
                      <a:cubicBezTo>
                        <a:pt x="379775" y="449962"/>
                        <a:pt x="387967" y="453105"/>
                        <a:pt x="392063" y="456629"/>
                      </a:cubicBezTo>
                      <a:cubicBezTo>
                        <a:pt x="396920" y="460820"/>
                        <a:pt x="399397" y="467774"/>
                        <a:pt x="403588" y="474632"/>
                      </a:cubicBezTo>
                      <a:cubicBezTo>
                        <a:pt x="432163" y="454629"/>
                        <a:pt x="456452" y="432531"/>
                        <a:pt x="474168" y="402908"/>
                      </a:cubicBezTo>
                      <a:cubicBezTo>
                        <a:pt x="467501" y="398813"/>
                        <a:pt x="460452" y="396241"/>
                        <a:pt x="456356" y="391288"/>
                      </a:cubicBezTo>
                      <a:cubicBezTo>
                        <a:pt x="453023" y="387287"/>
                        <a:pt x="451213" y="379667"/>
                        <a:pt x="452546" y="374714"/>
                      </a:cubicBezTo>
                      <a:cubicBezTo>
                        <a:pt x="454547" y="367380"/>
                        <a:pt x="461595" y="366523"/>
                        <a:pt x="468358" y="369857"/>
                      </a:cubicBezTo>
                      <a:cubicBezTo>
                        <a:pt x="474740" y="373000"/>
                        <a:pt x="481026" y="376238"/>
                        <a:pt x="488456" y="379953"/>
                      </a:cubicBezTo>
                      <a:cubicBezTo>
                        <a:pt x="503029" y="348521"/>
                        <a:pt x="512840" y="317279"/>
                        <a:pt x="513887" y="282131"/>
                      </a:cubicBezTo>
                      <a:cubicBezTo>
                        <a:pt x="506172" y="282131"/>
                        <a:pt x="500267" y="281941"/>
                        <a:pt x="494361" y="282131"/>
                      </a:cubicBezTo>
                      <a:cubicBezTo>
                        <a:pt x="485408" y="282417"/>
                        <a:pt x="480169" y="278226"/>
                        <a:pt x="480264" y="269368"/>
                      </a:cubicBezTo>
                      <a:cubicBezTo>
                        <a:pt x="480359" y="260414"/>
                        <a:pt x="486074" y="256604"/>
                        <a:pt x="494742" y="256795"/>
                      </a:cubicBezTo>
                      <a:cubicBezTo>
                        <a:pt x="500933" y="256890"/>
                        <a:pt x="507125" y="256795"/>
                        <a:pt x="514364" y="256795"/>
                      </a:cubicBezTo>
                      <a:cubicBezTo>
                        <a:pt x="511887" y="221171"/>
                        <a:pt x="503505" y="189739"/>
                        <a:pt x="487979" y="159259"/>
                      </a:cubicBezTo>
                      <a:cubicBezTo>
                        <a:pt x="481121" y="162878"/>
                        <a:pt x="475502" y="165926"/>
                        <a:pt x="469882" y="168784"/>
                      </a:cubicBezTo>
                      <a:cubicBezTo>
                        <a:pt x="462929" y="172308"/>
                        <a:pt x="456452" y="172499"/>
                        <a:pt x="452165" y="164879"/>
                      </a:cubicBezTo>
                      <a:cubicBezTo>
                        <a:pt x="447689" y="156973"/>
                        <a:pt x="450641" y="150877"/>
                        <a:pt x="457785" y="146400"/>
                      </a:cubicBezTo>
                      <a:cubicBezTo>
                        <a:pt x="463119" y="143066"/>
                        <a:pt x="468453" y="139923"/>
                        <a:pt x="474359" y="136399"/>
                      </a:cubicBezTo>
                      <a:cubicBezTo>
                        <a:pt x="455975" y="106967"/>
                        <a:pt x="432258" y="84678"/>
                        <a:pt x="403588" y="65057"/>
                      </a:cubicBez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sp>
              <p:nvSpPr>
                <p:cNvPr id="68" name="Freeform: Shape 67">
                  <a:extLst>
                    <a:ext uri="{FF2B5EF4-FFF2-40B4-BE49-F238E27FC236}">
                      <a16:creationId xmlns:a16="http://schemas.microsoft.com/office/drawing/2014/main" id="{0BF32DA7-B981-4462-A313-D45B9C581E93}"/>
                    </a:ext>
                  </a:extLst>
                </p:cNvPr>
                <p:cNvSpPr/>
                <p:nvPr/>
              </p:nvSpPr>
              <p:spPr>
                <a:xfrm>
                  <a:off x="4474367" y="2418134"/>
                  <a:ext cx="222004" cy="249346"/>
                </a:xfrm>
                <a:custGeom>
                  <a:avLst/>
                  <a:gdLst>
                    <a:gd name="connsiteX0" fmla="*/ 46293 w 222004"/>
                    <a:gd name="connsiteY0" fmla="*/ 204765 h 249346"/>
                    <a:gd name="connsiteX1" fmla="*/ 16289 w 222004"/>
                    <a:gd name="connsiteY1" fmla="*/ 204765 h 249346"/>
                    <a:gd name="connsiteX2" fmla="*/ 1 w 222004"/>
                    <a:gd name="connsiteY2" fmla="*/ 188001 h 249346"/>
                    <a:gd name="connsiteX3" fmla="*/ 96 w 222004"/>
                    <a:gd name="connsiteY3" fmla="*/ 120945 h 249346"/>
                    <a:gd name="connsiteX4" fmla="*/ 18003 w 222004"/>
                    <a:gd name="connsiteY4" fmla="*/ 103704 h 249346"/>
                    <a:gd name="connsiteX5" fmla="*/ 42387 w 222004"/>
                    <a:gd name="connsiteY5" fmla="*/ 103133 h 249346"/>
                    <a:gd name="connsiteX6" fmla="*/ 46197 w 222004"/>
                    <a:gd name="connsiteY6" fmla="*/ 101323 h 249346"/>
                    <a:gd name="connsiteX7" fmla="*/ 46197 w 222004"/>
                    <a:gd name="connsiteY7" fmla="*/ 72843 h 249346"/>
                    <a:gd name="connsiteX8" fmla="*/ 60485 w 222004"/>
                    <a:gd name="connsiteY8" fmla="*/ 58651 h 249346"/>
                    <a:gd name="connsiteX9" fmla="*/ 111920 w 222004"/>
                    <a:gd name="connsiteY9" fmla="*/ 58842 h 249346"/>
                    <a:gd name="connsiteX10" fmla="*/ 125160 w 222004"/>
                    <a:gd name="connsiteY10" fmla="*/ 49983 h 249346"/>
                    <a:gd name="connsiteX11" fmla="*/ 139733 w 222004"/>
                    <a:gd name="connsiteY11" fmla="*/ 11502 h 249346"/>
                    <a:gd name="connsiteX12" fmla="*/ 158307 w 222004"/>
                    <a:gd name="connsiteY12" fmla="*/ 1311 h 249346"/>
                    <a:gd name="connsiteX13" fmla="*/ 163926 w 222004"/>
                    <a:gd name="connsiteY13" fmla="*/ 20646 h 249346"/>
                    <a:gd name="connsiteX14" fmla="*/ 155640 w 222004"/>
                    <a:gd name="connsiteY14" fmla="*/ 40935 h 249346"/>
                    <a:gd name="connsiteX15" fmla="*/ 148972 w 222004"/>
                    <a:gd name="connsiteY15" fmla="*/ 103800 h 249346"/>
                    <a:gd name="connsiteX16" fmla="*/ 180786 w 222004"/>
                    <a:gd name="connsiteY16" fmla="*/ 103800 h 249346"/>
                    <a:gd name="connsiteX17" fmla="*/ 194692 w 222004"/>
                    <a:gd name="connsiteY17" fmla="*/ 115801 h 249346"/>
                    <a:gd name="connsiteX18" fmla="*/ 194787 w 222004"/>
                    <a:gd name="connsiteY18" fmla="*/ 205527 h 249346"/>
                    <a:gd name="connsiteX19" fmla="*/ 212028 w 222004"/>
                    <a:gd name="connsiteY19" fmla="*/ 217528 h 249346"/>
                    <a:gd name="connsiteX20" fmla="*/ 219362 w 222004"/>
                    <a:gd name="connsiteY20" fmla="*/ 238769 h 249346"/>
                    <a:gd name="connsiteX21" fmla="*/ 196978 w 222004"/>
                    <a:gd name="connsiteY21" fmla="*/ 238578 h 249346"/>
                    <a:gd name="connsiteX22" fmla="*/ 157830 w 222004"/>
                    <a:gd name="connsiteY22" fmla="*/ 211527 h 249346"/>
                    <a:gd name="connsiteX23" fmla="*/ 148686 w 222004"/>
                    <a:gd name="connsiteY23" fmla="*/ 206479 h 249346"/>
                    <a:gd name="connsiteX24" fmla="*/ 148686 w 222004"/>
                    <a:gd name="connsiteY24" fmla="*/ 233149 h 249346"/>
                    <a:gd name="connsiteX25" fmla="*/ 132399 w 222004"/>
                    <a:gd name="connsiteY25" fmla="*/ 249342 h 249346"/>
                    <a:gd name="connsiteX26" fmla="*/ 61628 w 222004"/>
                    <a:gd name="connsiteY26" fmla="*/ 249342 h 249346"/>
                    <a:gd name="connsiteX27" fmla="*/ 46007 w 222004"/>
                    <a:gd name="connsiteY27" fmla="*/ 233816 h 249346"/>
                    <a:gd name="connsiteX28" fmla="*/ 46293 w 222004"/>
                    <a:gd name="connsiteY28" fmla="*/ 204765 h 249346"/>
                    <a:gd name="connsiteX29" fmla="*/ 25433 w 222004"/>
                    <a:gd name="connsiteY29" fmla="*/ 179714 h 249346"/>
                    <a:gd name="connsiteX30" fmla="*/ 56103 w 222004"/>
                    <a:gd name="connsiteY30" fmla="*/ 179714 h 249346"/>
                    <a:gd name="connsiteX31" fmla="*/ 70677 w 222004"/>
                    <a:gd name="connsiteY31" fmla="*/ 193811 h 249346"/>
                    <a:gd name="connsiteX32" fmla="*/ 70772 w 222004"/>
                    <a:gd name="connsiteY32" fmla="*/ 215718 h 249346"/>
                    <a:gd name="connsiteX33" fmla="*/ 79535 w 222004"/>
                    <a:gd name="connsiteY33" fmla="*/ 225243 h 249346"/>
                    <a:gd name="connsiteX34" fmla="*/ 116778 w 222004"/>
                    <a:gd name="connsiteY34" fmla="*/ 224862 h 249346"/>
                    <a:gd name="connsiteX35" fmla="*/ 125064 w 222004"/>
                    <a:gd name="connsiteY35" fmla="*/ 218385 h 249346"/>
                    <a:gd name="connsiteX36" fmla="*/ 106872 w 222004"/>
                    <a:gd name="connsiteY36" fmla="*/ 175904 h 249346"/>
                    <a:gd name="connsiteX37" fmla="*/ 102585 w 222004"/>
                    <a:gd name="connsiteY37" fmla="*/ 173046 h 249346"/>
                    <a:gd name="connsiteX38" fmla="*/ 91155 w 222004"/>
                    <a:gd name="connsiteY38" fmla="*/ 135613 h 249346"/>
                    <a:gd name="connsiteX39" fmla="*/ 111063 w 222004"/>
                    <a:gd name="connsiteY39" fmla="*/ 84083 h 249346"/>
                    <a:gd name="connsiteX40" fmla="*/ 70772 w 222004"/>
                    <a:gd name="connsiteY40" fmla="*/ 84083 h 249346"/>
                    <a:gd name="connsiteX41" fmla="*/ 70772 w 222004"/>
                    <a:gd name="connsiteY41" fmla="*/ 111610 h 249346"/>
                    <a:gd name="connsiteX42" fmla="*/ 54579 w 222004"/>
                    <a:gd name="connsiteY42" fmla="*/ 127803 h 249346"/>
                    <a:gd name="connsiteX43" fmla="*/ 25433 w 222004"/>
                    <a:gd name="connsiteY43" fmla="*/ 127707 h 249346"/>
                    <a:gd name="connsiteX44" fmla="*/ 25433 w 222004"/>
                    <a:gd name="connsiteY44" fmla="*/ 179714 h 249346"/>
                    <a:gd name="connsiteX45" fmla="*/ 169451 w 222004"/>
                    <a:gd name="connsiteY45" fmla="*/ 128660 h 249346"/>
                    <a:gd name="connsiteX46" fmla="*/ 123255 w 222004"/>
                    <a:gd name="connsiteY46" fmla="*/ 125993 h 249346"/>
                    <a:gd name="connsiteX47" fmla="*/ 132875 w 222004"/>
                    <a:gd name="connsiteY47" fmla="*/ 162664 h 249346"/>
                    <a:gd name="connsiteX48" fmla="*/ 152020 w 222004"/>
                    <a:gd name="connsiteY48" fmla="*/ 175523 h 249346"/>
                    <a:gd name="connsiteX49" fmla="*/ 169451 w 222004"/>
                    <a:gd name="connsiteY49" fmla="*/ 181047 h 249346"/>
                    <a:gd name="connsiteX50" fmla="*/ 169451 w 222004"/>
                    <a:gd name="connsiteY50" fmla="*/ 128660 h 249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22004" h="249346">
                      <a:moveTo>
                        <a:pt x="46293" y="204765"/>
                      </a:moveTo>
                      <a:cubicBezTo>
                        <a:pt x="35053" y="204765"/>
                        <a:pt x="25719" y="204860"/>
                        <a:pt x="16289" y="204765"/>
                      </a:cubicBezTo>
                      <a:cubicBezTo>
                        <a:pt x="5335" y="204669"/>
                        <a:pt x="-94" y="199431"/>
                        <a:pt x="1" y="188001"/>
                      </a:cubicBezTo>
                      <a:cubicBezTo>
                        <a:pt x="287" y="165617"/>
                        <a:pt x="1" y="143328"/>
                        <a:pt x="96" y="120945"/>
                      </a:cubicBezTo>
                      <a:cubicBezTo>
                        <a:pt x="192" y="107038"/>
                        <a:pt x="3525" y="103990"/>
                        <a:pt x="18003" y="103704"/>
                      </a:cubicBezTo>
                      <a:cubicBezTo>
                        <a:pt x="26100" y="103514"/>
                        <a:pt x="34291" y="103419"/>
                        <a:pt x="42387" y="103133"/>
                      </a:cubicBezTo>
                      <a:cubicBezTo>
                        <a:pt x="43149" y="103133"/>
                        <a:pt x="43911" y="102466"/>
                        <a:pt x="46197" y="101323"/>
                      </a:cubicBezTo>
                      <a:cubicBezTo>
                        <a:pt x="46197" y="92370"/>
                        <a:pt x="46197" y="82559"/>
                        <a:pt x="46197" y="72843"/>
                      </a:cubicBezTo>
                      <a:cubicBezTo>
                        <a:pt x="46197" y="63318"/>
                        <a:pt x="50865" y="58651"/>
                        <a:pt x="60485" y="58651"/>
                      </a:cubicBezTo>
                      <a:cubicBezTo>
                        <a:pt x="77630" y="58746"/>
                        <a:pt x="94775" y="58270"/>
                        <a:pt x="111920" y="58842"/>
                      </a:cubicBezTo>
                      <a:cubicBezTo>
                        <a:pt x="119064" y="59032"/>
                        <a:pt x="122778" y="56746"/>
                        <a:pt x="125160" y="49983"/>
                      </a:cubicBezTo>
                      <a:cubicBezTo>
                        <a:pt x="129636" y="37029"/>
                        <a:pt x="134970" y="24361"/>
                        <a:pt x="139733" y="11502"/>
                      </a:cubicBezTo>
                      <a:cubicBezTo>
                        <a:pt x="143067" y="2644"/>
                        <a:pt x="148591" y="-2595"/>
                        <a:pt x="158307" y="1311"/>
                      </a:cubicBezTo>
                      <a:cubicBezTo>
                        <a:pt x="167736" y="5121"/>
                        <a:pt x="167260" y="12645"/>
                        <a:pt x="163926" y="20646"/>
                      </a:cubicBezTo>
                      <a:cubicBezTo>
                        <a:pt x="161069" y="27409"/>
                        <a:pt x="159259" y="34648"/>
                        <a:pt x="155640" y="40935"/>
                      </a:cubicBezTo>
                      <a:cubicBezTo>
                        <a:pt x="144210" y="60651"/>
                        <a:pt x="149925" y="81511"/>
                        <a:pt x="148972" y="103800"/>
                      </a:cubicBezTo>
                      <a:cubicBezTo>
                        <a:pt x="160402" y="103800"/>
                        <a:pt x="170594" y="103704"/>
                        <a:pt x="180786" y="103800"/>
                      </a:cubicBezTo>
                      <a:cubicBezTo>
                        <a:pt x="188692" y="103895"/>
                        <a:pt x="194597" y="107324"/>
                        <a:pt x="194692" y="115801"/>
                      </a:cubicBezTo>
                      <a:cubicBezTo>
                        <a:pt x="194978" y="144852"/>
                        <a:pt x="194787" y="173999"/>
                        <a:pt x="194787" y="205527"/>
                      </a:cubicBezTo>
                      <a:cubicBezTo>
                        <a:pt x="198788" y="208289"/>
                        <a:pt x="205170" y="213337"/>
                        <a:pt x="212028" y="217528"/>
                      </a:cubicBezTo>
                      <a:cubicBezTo>
                        <a:pt x="220600" y="222767"/>
                        <a:pt x="225268" y="229815"/>
                        <a:pt x="219362" y="238769"/>
                      </a:cubicBezTo>
                      <a:cubicBezTo>
                        <a:pt x="212790" y="248770"/>
                        <a:pt x="204312" y="243627"/>
                        <a:pt x="196978" y="238578"/>
                      </a:cubicBezTo>
                      <a:cubicBezTo>
                        <a:pt x="183834" y="229625"/>
                        <a:pt x="170880" y="220481"/>
                        <a:pt x="157830" y="211527"/>
                      </a:cubicBezTo>
                      <a:cubicBezTo>
                        <a:pt x="155830" y="210099"/>
                        <a:pt x="153544" y="209146"/>
                        <a:pt x="148686" y="206479"/>
                      </a:cubicBezTo>
                      <a:cubicBezTo>
                        <a:pt x="148686" y="216671"/>
                        <a:pt x="148591" y="224862"/>
                        <a:pt x="148686" y="233149"/>
                      </a:cubicBezTo>
                      <a:cubicBezTo>
                        <a:pt x="148877" y="244389"/>
                        <a:pt x="143924" y="249532"/>
                        <a:pt x="132399" y="249342"/>
                      </a:cubicBezTo>
                      <a:cubicBezTo>
                        <a:pt x="108777" y="248961"/>
                        <a:pt x="85250" y="249056"/>
                        <a:pt x="61628" y="249342"/>
                      </a:cubicBezTo>
                      <a:cubicBezTo>
                        <a:pt x="50769" y="249437"/>
                        <a:pt x="45816" y="244579"/>
                        <a:pt x="46007" y="233816"/>
                      </a:cubicBezTo>
                      <a:cubicBezTo>
                        <a:pt x="46483" y="224672"/>
                        <a:pt x="46293" y="215718"/>
                        <a:pt x="46293" y="204765"/>
                      </a:cubicBezTo>
                      <a:close/>
                      <a:moveTo>
                        <a:pt x="25433" y="179714"/>
                      </a:moveTo>
                      <a:cubicBezTo>
                        <a:pt x="36577" y="179714"/>
                        <a:pt x="46293" y="179809"/>
                        <a:pt x="56103" y="179714"/>
                      </a:cubicBezTo>
                      <a:cubicBezTo>
                        <a:pt x="65724" y="179619"/>
                        <a:pt x="70296" y="184572"/>
                        <a:pt x="70677" y="193811"/>
                      </a:cubicBezTo>
                      <a:cubicBezTo>
                        <a:pt x="70962" y="201145"/>
                        <a:pt x="71058" y="208384"/>
                        <a:pt x="70772" y="215718"/>
                      </a:cubicBezTo>
                      <a:cubicBezTo>
                        <a:pt x="70581" y="222100"/>
                        <a:pt x="72677" y="225339"/>
                        <a:pt x="79535" y="225243"/>
                      </a:cubicBezTo>
                      <a:cubicBezTo>
                        <a:pt x="91918" y="225053"/>
                        <a:pt x="104395" y="225624"/>
                        <a:pt x="116778" y="224862"/>
                      </a:cubicBezTo>
                      <a:cubicBezTo>
                        <a:pt x="119730" y="224672"/>
                        <a:pt x="124779" y="220862"/>
                        <a:pt x="125064" y="218385"/>
                      </a:cubicBezTo>
                      <a:cubicBezTo>
                        <a:pt x="126874" y="201050"/>
                        <a:pt x="128303" y="183429"/>
                        <a:pt x="106872" y="175904"/>
                      </a:cubicBezTo>
                      <a:cubicBezTo>
                        <a:pt x="105348" y="175332"/>
                        <a:pt x="104014" y="173999"/>
                        <a:pt x="102585" y="173046"/>
                      </a:cubicBezTo>
                      <a:cubicBezTo>
                        <a:pt x="82107" y="159045"/>
                        <a:pt x="82107" y="159045"/>
                        <a:pt x="91155" y="135613"/>
                      </a:cubicBezTo>
                      <a:cubicBezTo>
                        <a:pt x="97728" y="118659"/>
                        <a:pt x="104205" y="101799"/>
                        <a:pt x="111063" y="84083"/>
                      </a:cubicBezTo>
                      <a:cubicBezTo>
                        <a:pt x="96775" y="84083"/>
                        <a:pt x="84583" y="84083"/>
                        <a:pt x="70772" y="84083"/>
                      </a:cubicBezTo>
                      <a:cubicBezTo>
                        <a:pt x="70772" y="93798"/>
                        <a:pt x="70677" y="102657"/>
                        <a:pt x="70772" y="111610"/>
                      </a:cubicBezTo>
                      <a:cubicBezTo>
                        <a:pt x="70867" y="122564"/>
                        <a:pt x="66390" y="128469"/>
                        <a:pt x="54579" y="127803"/>
                      </a:cubicBezTo>
                      <a:cubicBezTo>
                        <a:pt x="44959" y="127231"/>
                        <a:pt x="35339" y="127707"/>
                        <a:pt x="25433" y="127707"/>
                      </a:cubicBezTo>
                      <a:cubicBezTo>
                        <a:pt x="25433" y="145900"/>
                        <a:pt x="25433" y="161712"/>
                        <a:pt x="25433" y="179714"/>
                      </a:cubicBezTo>
                      <a:close/>
                      <a:moveTo>
                        <a:pt x="169451" y="128660"/>
                      </a:moveTo>
                      <a:cubicBezTo>
                        <a:pt x="153258" y="127707"/>
                        <a:pt x="138685" y="126945"/>
                        <a:pt x="123255" y="125993"/>
                      </a:cubicBezTo>
                      <a:cubicBezTo>
                        <a:pt x="111539" y="147900"/>
                        <a:pt x="111539" y="147900"/>
                        <a:pt x="132875" y="162664"/>
                      </a:cubicBezTo>
                      <a:cubicBezTo>
                        <a:pt x="139161" y="167046"/>
                        <a:pt x="145257" y="171903"/>
                        <a:pt x="152020" y="175523"/>
                      </a:cubicBezTo>
                      <a:cubicBezTo>
                        <a:pt x="156878" y="178095"/>
                        <a:pt x="162688" y="178952"/>
                        <a:pt x="169451" y="181047"/>
                      </a:cubicBezTo>
                      <a:cubicBezTo>
                        <a:pt x="169451" y="162188"/>
                        <a:pt x="169451" y="145710"/>
                        <a:pt x="169451" y="128660"/>
                      </a:cubicBezTo>
                      <a:close/>
                    </a:path>
                  </a:pathLst>
                </a:custGeom>
                <a:grpFill/>
                <a:ln w="9525" cap="flat">
                  <a:noFill/>
                  <a:prstDash val="solid"/>
                  <a:miter/>
                </a:ln>
              </p:spPr>
              <p:txBody>
                <a:bodyPr rtlCol="0" anchor="ctr"/>
                <a:lstStyle/>
                <a:p>
                  <a:pPr defTabSz="1219170"/>
                  <a:endParaRPr lang="en-US" sz="2400">
                    <a:solidFill>
                      <a:srgbClr val="102B62"/>
                    </a:solidFill>
                    <a:latin typeface="Arial"/>
                  </a:endParaRPr>
                </a:p>
              </p:txBody>
            </p:sp>
          </p:grpSp>
        </p:grpSp>
      </p:grpSp>
      <p:sp>
        <p:nvSpPr>
          <p:cNvPr id="95" name="Slide Number Placeholder 94">
            <a:extLst>
              <a:ext uri="{FF2B5EF4-FFF2-40B4-BE49-F238E27FC236}">
                <a16:creationId xmlns:a16="http://schemas.microsoft.com/office/drawing/2014/main" id="{86678109-5384-4B99-B952-229FCF8ADFE3}"/>
              </a:ext>
            </a:extLst>
          </p:cNvPr>
          <p:cNvSpPr>
            <a:spLocks noGrp="1"/>
          </p:cNvSpPr>
          <p:nvPr>
            <p:ph type="sldNum" sz="quarter" idx="12"/>
          </p:nvPr>
        </p:nvSpPr>
        <p:spPr/>
        <p:txBody>
          <a:bodyPr/>
          <a:lstStyle/>
          <a:p>
            <a:fld id="{D1541BB9-6530-43D2-B7E0-33A89042A350}" type="slidenum">
              <a:rPr lang="en-US" smtClean="0"/>
              <a:t>7</a:t>
            </a:fld>
            <a:endParaRPr lang="en-US"/>
          </a:p>
        </p:txBody>
      </p:sp>
    </p:spTree>
    <p:extLst>
      <p:ext uri="{BB962C8B-B14F-4D97-AF65-F5344CB8AC3E}">
        <p14:creationId xmlns:p14="http://schemas.microsoft.com/office/powerpoint/2010/main" val="42403920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highway at night&#10;&#10;Description automatically generated">
            <a:extLst>
              <a:ext uri="{FF2B5EF4-FFF2-40B4-BE49-F238E27FC236}">
                <a16:creationId xmlns:a16="http://schemas.microsoft.com/office/drawing/2014/main" id="{D8DAF413-8529-46BF-8808-AB56B8D2C3F6}"/>
              </a:ext>
            </a:extLst>
          </p:cNvPr>
          <p:cNvPicPr>
            <a:picLocks noChangeAspect="1"/>
          </p:cNvPicPr>
          <p:nvPr/>
        </p:nvPicPr>
        <p:blipFill rotWithShape="1">
          <a:blip r:embed="rId3" cstate="print">
            <a:alphaModFix/>
            <a:duotone>
              <a:prstClr val="black"/>
              <a:schemeClr val="accent5">
                <a:tint val="45000"/>
                <a:satMod val="400000"/>
              </a:schemeClr>
            </a:duotone>
            <a:extLst>
              <a:ext uri="{28A0092B-C50C-407E-A947-70E740481C1C}">
                <a14:useLocalDpi xmlns:a14="http://schemas.microsoft.com/office/drawing/2010/main" val="0"/>
              </a:ext>
            </a:extLst>
          </a:blip>
          <a:srcRect t="12348" b="4061"/>
          <a:stretch/>
        </p:blipFill>
        <p:spPr>
          <a:xfrm>
            <a:off x="-1" y="0"/>
            <a:ext cx="12192001" cy="6858000"/>
          </a:xfrm>
          <a:prstGeom prst="rect">
            <a:avLst/>
          </a:prstGeom>
        </p:spPr>
      </p:pic>
      <p:sp>
        <p:nvSpPr>
          <p:cNvPr id="27" name="Rectangle 26">
            <a:extLst>
              <a:ext uri="{FF2B5EF4-FFF2-40B4-BE49-F238E27FC236}">
                <a16:creationId xmlns:a16="http://schemas.microsoft.com/office/drawing/2014/main" id="{97C6F416-FC0B-4C25-951B-E85B8DDEE878}"/>
              </a:ext>
            </a:extLst>
          </p:cNvPr>
          <p:cNvSpPr/>
          <p:nvPr/>
        </p:nvSpPr>
        <p:spPr>
          <a:xfrm>
            <a:off x="1503219" y="482600"/>
            <a:ext cx="9185563" cy="2508640"/>
          </a:xfrm>
          <a:prstGeom prst="rect">
            <a:avLst/>
          </a:prstGeom>
        </p:spPr>
        <p:txBody>
          <a:bodyPr wrap="square">
            <a:noAutofit/>
          </a:bodyPr>
          <a:lstStyle/>
          <a:p>
            <a:pPr algn="ctr" defTabSz="1219170">
              <a:lnSpc>
                <a:spcPct val="150000"/>
              </a:lnSpc>
              <a:defRPr/>
            </a:pPr>
            <a:r>
              <a:rPr lang="en-US" sz="2667" b="1" dirty="0">
                <a:solidFill>
                  <a:srgbClr val="C00000"/>
                </a:solidFill>
                <a:latin typeface="Arial" panose="020B0604020202020204" pitchFamily="34" charset="0"/>
                <a:cs typeface="Arial" panose="020B0604020202020204" pitchFamily="34" charset="0"/>
              </a:rPr>
              <a:t>Speed</a:t>
            </a:r>
            <a:r>
              <a:rPr lang="en-US" sz="2667" b="1" dirty="0">
                <a:solidFill>
                  <a:srgbClr val="000000"/>
                </a:solidFill>
                <a:latin typeface="Arial" panose="020B0604020202020204" pitchFamily="34" charset="0"/>
                <a:cs typeface="Arial" panose="020B0604020202020204" pitchFamily="34" charset="0"/>
              </a:rPr>
              <a:t> </a:t>
            </a:r>
            <a:r>
              <a:rPr lang="en-US" sz="2667" b="1" dirty="0">
                <a:solidFill>
                  <a:prstClr val="white"/>
                </a:solidFill>
                <a:latin typeface="Arial" panose="020B0604020202020204" pitchFamily="34" charset="0"/>
                <a:cs typeface="Arial" panose="020B0604020202020204" pitchFamily="34" charset="0"/>
              </a:rPr>
              <a:t>is the critical component of </a:t>
            </a:r>
            <a:r>
              <a:rPr lang="en-US" sz="2667" b="1" dirty="0">
                <a:solidFill>
                  <a:srgbClr val="C00000"/>
                </a:solidFill>
                <a:latin typeface="Arial" panose="020B0604020202020204" pitchFamily="34" charset="0"/>
                <a:cs typeface="Arial" panose="020B0604020202020204" pitchFamily="34" charset="0"/>
              </a:rPr>
              <a:t>response.</a:t>
            </a:r>
            <a:r>
              <a:rPr lang="en-US" sz="2667" b="1" dirty="0">
                <a:solidFill>
                  <a:srgbClr val="000000"/>
                </a:solidFill>
                <a:latin typeface="Arial" panose="020B0604020202020204" pitchFamily="34" charset="0"/>
                <a:cs typeface="Arial" panose="020B0604020202020204" pitchFamily="34" charset="0"/>
              </a:rPr>
              <a:t> </a:t>
            </a:r>
          </a:p>
          <a:p>
            <a:pPr algn="ctr" defTabSz="1219170">
              <a:lnSpc>
                <a:spcPct val="150000"/>
              </a:lnSpc>
              <a:defRPr/>
            </a:pPr>
            <a:r>
              <a:rPr lang="en-US" sz="2667" b="1" dirty="0">
                <a:solidFill>
                  <a:prstClr val="white"/>
                </a:solidFill>
                <a:latin typeface="Arial" panose="020B0604020202020204" pitchFamily="34" charset="0"/>
                <a:cs typeface="Arial" panose="020B0604020202020204" pitchFamily="34" charset="0"/>
              </a:rPr>
              <a:t>Even the most advanced countermeasures </a:t>
            </a:r>
            <a:r>
              <a:rPr lang="en-US" sz="2667" b="1" dirty="0">
                <a:solidFill>
                  <a:srgbClr val="C00000"/>
                </a:solidFill>
                <a:latin typeface="Arial" panose="020B0604020202020204" pitchFamily="34" charset="0"/>
                <a:cs typeface="Arial" panose="020B0604020202020204" pitchFamily="34" charset="0"/>
              </a:rPr>
              <a:t>fail</a:t>
            </a:r>
            <a:r>
              <a:rPr lang="en-US" sz="2667" b="1" dirty="0">
                <a:solidFill>
                  <a:srgbClr val="000000"/>
                </a:solidFill>
                <a:latin typeface="Arial" panose="020B0604020202020204" pitchFamily="34" charset="0"/>
                <a:cs typeface="Arial" panose="020B0604020202020204" pitchFamily="34" charset="0"/>
              </a:rPr>
              <a:t> </a:t>
            </a:r>
            <a:r>
              <a:rPr lang="en-US" sz="2667" b="1" dirty="0">
                <a:solidFill>
                  <a:prstClr val="white"/>
                </a:solidFill>
                <a:latin typeface="Arial" panose="020B0604020202020204" pitchFamily="34" charset="0"/>
                <a:cs typeface="Arial" panose="020B0604020202020204" pitchFamily="34" charset="0"/>
              </a:rPr>
              <a:t>unless</a:t>
            </a:r>
            <a:r>
              <a:rPr lang="en-US" sz="2667" b="1" dirty="0">
                <a:solidFill>
                  <a:srgbClr val="000000"/>
                </a:solidFill>
                <a:latin typeface="Arial" panose="020B0604020202020204" pitchFamily="34" charset="0"/>
                <a:cs typeface="Arial" panose="020B0604020202020204" pitchFamily="34" charset="0"/>
              </a:rPr>
              <a:t> </a:t>
            </a:r>
            <a:r>
              <a:rPr lang="en-US" sz="2667" b="1" dirty="0">
                <a:solidFill>
                  <a:prstClr val="white"/>
                </a:solidFill>
                <a:latin typeface="Arial" panose="020B0604020202020204" pitchFamily="34" charset="0"/>
                <a:cs typeface="Arial" panose="020B0604020202020204" pitchFamily="34" charset="0"/>
              </a:rPr>
              <a:t>present in </a:t>
            </a:r>
            <a:r>
              <a:rPr lang="en-US" sz="2667" b="1" dirty="0">
                <a:solidFill>
                  <a:srgbClr val="C00000"/>
                </a:solidFill>
                <a:latin typeface="Arial" panose="020B0604020202020204" pitchFamily="34" charset="0"/>
                <a:cs typeface="Arial" panose="020B0604020202020204" pitchFamily="34" charset="0"/>
              </a:rPr>
              <a:t>sufficient quantities </a:t>
            </a:r>
            <a:r>
              <a:rPr lang="en-US" sz="2667" b="1" dirty="0">
                <a:solidFill>
                  <a:prstClr val="white"/>
                </a:solidFill>
                <a:latin typeface="Arial" panose="020B0604020202020204" pitchFamily="34" charset="0"/>
                <a:cs typeface="Arial" panose="020B0604020202020204" pitchFamily="34" charset="0"/>
              </a:rPr>
              <a:t>with</a:t>
            </a:r>
            <a:r>
              <a:rPr lang="en-US" sz="2667" b="1" dirty="0">
                <a:solidFill>
                  <a:srgbClr val="000000"/>
                </a:solidFill>
                <a:latin typeface="Arial" panose="020B0604020202020204" pitchFamily="34" charset="0"/>
                <a:cs typeface="Arial" panose="020B0604020202020204" pitchFamily="34" charset="0"/>
              </a:rPr>
              <a:t> </a:t>
            </a:r>
            <a:r>
              <a:rPr lang="en-US" sz="2667" b="1" dirty="0">
                <a:solidFill>
                  <a:srgbClr val="C00000"/>
                </a:solidFill>
                <a:latin typeface="Arial" panose="020B0604020202020204" pitchFamily="34" charset="0"/>
                <a:cs typeface="Arial" panose="020B0604020202020204" pitchFamily="34" charset="0"/>
              </a:rPr>
              <a:t>minimal delay </a:t>
            </a:r>
            <a:br>
              <a:rPr lang="en-US" sz="2667" b="1" dirty="0">
                <a:solidFill>
                  <a:srgbClr val="C00000"/>
                </a:solidFill>
                <a:latin typeface="Arial" panose="020B0604020202020204" pitchFamily="34" charset="0"/>
                <a:cs typeface="Arial" panose="020B0604020202020204" pitchFamily="34" charset="0"/>
              </a:rPr>
            </a:br>
            <a:r>
              <a:rPr lang="en-US" sz="2667" b="1" dirty="0">
                <a:solidFill>
                  <a:prstClr val="white"/>
                </a:solidFill>
                <a:latin typeface="Arial" panose="020B0604020202020204" pitchFamily="34" charset="0"/>
                <a:cs typeface="Arial" panose="020B0604020202020204" pitchFamily="34" charset="0"/>
              </a:rPr>
              <a:t>at</a:t>
            </a:r>
            <a:r>
              <a:rPr lang="en-US" sz="2667" b="1" dirty="0">
                <a:solidFill>
                  <a:srgbClr val="000000"/>
                </a:solidFill>
                <a:latin typeface="Arial" panose="020B0604020202020204" pitchFamily="34" charset="0"/>
                <a:cs typeface="Arial" panose="020B0604020202020204" pitchFamily="34" charset="0"/>
              </a:rPr>
              <a:t> </a:t>
            </a:r>
            <a:r>
              <a:rPr lang="en-US" sz="2667" b="1" dirty="0">
                <a:solidFill>
                  <a:prstClr val="white"/>
                </a:solidFill>
                <a:latin typeface="Arial" panose="020B0604020202020204" pitchFamily="34" charset="0"/>
                <a:cs typeface="Arial" panose="020B0604020202020204" pitchFamily="34" charset="0"/>
              </a:rPr>
              <a:t>the </a:t>
            </a:r>
            <a:r>
              <a:rPr lang="en-US" sz="2667" b="1" dirty="0">
                <a:solidFill>
                  <a:srgbClr val="C00000"/>
                </a:solidFill>
                <a:latin typeface="Arial" panose="020B0604020202020204" pitchFamily="34" charset="0"/>
                <a:cs typeface="Arial" panose="020B0604020202020204" pitchFamily="34" charset="0"/>
              </a:rPr>
              <a:t>location of need.</a:t>
            </a:r>
          </a:p>
        </p:txBody>
      </p:sp>
    </p:spTree>
    <p:extLst>
      <p:ext uri="{BB962C8B-B14F-4D97-AF65-F5344CB8AC3E}">
        <p14:creationId xmlns:p14="http://schemas.microsoft.com/office/powerpoint/2010/main" val="40174904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4789A36-3335-4094-972D-64ABC7017DEF}"/>
              </a:ext>
            </a:extLst>
          </p:cNvPr>
          <p:cNvSpPr>
            <a:spLocks noGrp="1"/>
          </p:cNvSpPr>
          <p:nvPr>
            <p:ph type="title"/>
          </p:nvPr>
        </p:nvSpPr>
        <p:spPr/>
        <p:txBody>
          <a:bodyPr>
            <a:normAutofit fontScale="90000"/>
          </a:bodyPr>
          <a:lstStyle/>
          <a:p>
            <a:pPr algn="ctr"/>
            <a:r>
              <a:rPr lang="en-US" dirty="0">
                <a:solidFill>
                  <a:schemeClr val="bg1"/>
                </a:solidFill>
              </a:rPr>
              <a:t>Vaccine Capacity Limitations</a:t>
            </a:r>
          </a:p>
        </p:txBody>
      </p:sp>
      <p:pic>
        <p:nvPicPr>
          <p:cNvPr id="6" name="Picture 5">
            <a:extLst>
              <a:ext uri="{FF2B5EF4-FFF2-40B4-BE49-F238E27FC236}">
                <a16:creationId xmlns:a16="http://schemas.microsoft.com/office/drawing/2014/main" id="{858E26B4-141B-4D41-9A06-EEE9E326FAC7}"/>
              </a:ext>
            </a:extLst>
          </p:cNvPr>
          <p:cNvPicPr>
            <a:picLocks noChangeAspect="1"/>
          </p:cNvPicPr>
          <p:nvPr/>
        </p:nvPicPr>
        <p:blipFill>
          <a:blip r:embed="rId2"/>
          <a:stretch>
            <a:fillRect/>
          </a:stretch>
        </p:blipFill>
        <p:spPr>
          <a:xfrm>
            <a:off x="1735755" y="1276270"/>
            <a:ext cx="8212523" cy="5371109"/>
          </a:xfrm>
          <a:prstGeom prst="rect">
            <a:avLst/>
          </a:prstGeom>
        </p:spPr>
      </p:pic>
    </p:spTree>
    <p:extLst>
      <p:ext uri="{BB962C8B-B14F-4D97-AF65-F5344CB8AC3E}">
        <p14:creationId xmlns:p14="http://schemas.microsoft.com/office/powerpoint/2010/main" val="4921070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ASPR1">
      <a:dk1>
        <a:srgbClr val="102B62"/>
      </a:dk1>
      <a:lt1>
        <a:sysClr val="window" lastClr="FFFFFF"/>
      </a:lt1>
      <a:dk2>
        <a:srgbClr val="1F497D"/>
      </a:dk2>
      <a:lt2>
        <a:srgbClr val="EEECE1"/>
      </a:lt2>
      <a:accent1>
        <a:srgbClr val="5482E1"/>
      </a:accent1>
      <a:accent2>
        <a:srgbClr val="C9C9C9"/>
      </a:accent2>
      <a:accent3>
        <a:srgbClr val="00BCB8"/>
      </a:accent3>
      <a:accent4>
        <a:srgbClr val="C15853"/>
      </a:accent4>
      <a:accent5>
        <a:srgbClr val="BACCF3"/>
      </a:accent5>
      <a:accent6>
        <a:srgbClr val="B7FFFF"/>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Office Theme">
  <a:themeElements>
    <a:clrScheme name="ASPR1">
      <a:dk1>
        <a:srgbClr val="102B62"/>
      </a:dk1>
      <a:lt1>
        <a:sysClr val="window" lastClr="FFFFFF"/>
      </a:lt1>
      <a:dk2>
        <a:srgbClr val="1F497D"/>
      </a:dk2>
      <a:lt2>
        <a:srgbClr val="EEECE1"/>
      </a:lt2>
      <a:accent1>
        <a:srgbClr val="5482E1"/>
      </a:accent1>
      <a:accent2>
        <a:srgbClr val="C9C9C9"/>
      </a:accent2>
      <a:accent3>
        <a:srgbClr val="00BCB8"/>
      </a:accent3>
      <a:accent4>
        <a:srgbClr val="C15853"/>
      </a:accent4>
      <a:accent5>
        <a:srgbClr val="BACCF3"/>
      </a:accent5>
      <a:accent6>
        <a:srgbClr val="B7FFFF"/>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Office Theme">
  <a:themeElements>
    <a:clrScheme name="ASPR1">
      <a:dk1>
        <a:srgbClr val="102B62"/>
      </a:dk1>
      <a:lt1>
        <a:sysClr val="window" lastClr="FFFFFF"/>
      </a:lt1>
      <a:dk2>
        <a:srgbClr val="1F497D"/>
      </a:dk2>
      <a:lt2>
        <a:srgbClr val="EEECE1"/>
      </a:lt2>
      <a:accent1>
        <a:srgbClr val="5482E1"/>
      </a:accent1>
      <a:accent2>
        <a:srgbClr val="C9C9C9"/>
      </a:accent2>
      <a:accent3>
        <a:srgbClr val="00BCB8"/>
      </a:accent3>
      <a:accent4>
        <a:srgbClr val="C15853"/>
      </a:accent4>
      <a:accent5>
        <a:srgbClr val="BACCF3"/>
      </a:accent5>
      <a:accent6>
        <a:srgbClr val="B7FFFF"/>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21</TotalTime>
  <Words>2107</Words>
  <Application>Microsoft Office PowerPoint</Application>
  <PresentationFormat>Widescreen</PresentationFormat>
  <Paragraphs>400</Paragraphs>
  <Slides>40</Slides>
  <Notes>17</Notes>
  <HiddenSlides>0</HiddenSlides>
  <MMClips>0</MMClips>
  <ScaleCrop>false</ScaleCrop>
  <HeadingPairs>
    <vt:vector size="8" baseType="variant">
      <vt:variant>
        <vt:lpstr>Fonts Used</vt:lpstr>
      </vt:variant>
      <vt:variant>
        <vt:i4>9</vt:i4>
      </vt:variant>
      <vt:variant>
        <vt:lpstr>Theme</vt:lpstr>
      </vt:variant>
      <vt:variant>
        <vt:i4>6</vt:i4>
      </vt:variant>
      <vt:variant>
        <vt:lpstr>Embedded OLE Servers</vt:lpstr>
      </vt:variant>
      <vt:variant>
        <vt:i4>1</vt:i4>
      </vt:variant>
      <vt:variant>
        <vt:lpstr>Slide Titles</vt:lpstr>
      </vt:variant>
      <vt:variant>
        <vt:i4>40</vt:i4>
      </vt:variant>
    </vt:vector>
  </HeadingPairs>
  <TitlesOfParts>
    <vt:vector size="56" baseType="lpstr">
      <vt:lpstr>Arial</vt:lpstr>
      <vt:lpstr>Arial Narrow</vt:lpstr>
      <vt:lpstr>Calibri</vt:lpstr>
      <vt:lpstr>Calibri Light</vt:lpstr>
      <vt:lpstr>Noto Sans</vt:lpstr>
      <vt:lpstr>Noto Sans Display Bold</vt:lpstr>
      <vt:lpstr>Noto Sans Display Regular</vt:lpstr>
      <vt:lpstr>Noto Sans Mono Bold</vt:lpstr>
      <vt:lpstr>Wingdings</vt:lpstr>
      <vt:lpstr>Office Theme</vt:lpstr>
      <vt:lpstr>3_Office Theme</vt:lpstr>
      <vt:lpstr>1_Office Theme</vt:lpstr>
      <vt:lpstr>2_Office Theme</vt:lpstr>
      <vt:lpstr>4_Office Theme</vt:lpstr>
      <vt:lpstr>6_Office Theme</vt:lpstr>
      <vt:lpstr>think-cell Slide</vt:lpstr>
      <vt:lpstr>Vaccine Development for Pandemic Response</vt:lpstr>
      <vt:lpstr>Learning Objectives</vt:lpstr>
      <vt:lpstr>Recent Outbreaks and Pandemics</vt:lpstr>
      <vt:lpstr>PowerPoint Presentation</vt:lpstr>
      <vt:lpstr>PowerPoint Presentation</vt:lpstr>
      <vt:lpstr>Disease X</vt:lpstr>
      <vt:lpstr>Pandemic Preparedness Principles</vt:lpstr>
      <vt:lpstr>PowerPoint Presentation</vt:lpstr>
      <vt:lpstr>Vaccine Capacity Limitations</vt:lpstr>
      <vt:lpstr>Addressing End to End Solutions</vt:lpstr>
      <vt:lpstr>Vaccines and Vaccination Future Technologies</vt:lpstr>
      <vt:lpstr> Traditional Pathway – Early Development to Large Scale Production</vt:lpstr>
      <vt:lpstr>Vaccine Readiness from Previous Outbreaks and Pandemics</vt:lpstr>
      <vt:lpstr>Combined Effects Suppress Pandemic Curve</vt:lpstr>
      <vt:lpstr>PowerPoint Presentation</vt:lpstr>
      <vt:lpstr>PowerPoint Presentation</vt:lpstr>
      <vt:lpstr>Agency-Wide Engagement with Developers</vt:lpstr>
      <vt:lpstr>COVID-19 Market Research Portal Submissions</vt:lpstr>
      <vt:lpstr>COVID-19 Medical Countermeasure Development Strategy </vt:lpstr>
      <vt:lpstr>Vaccine Development</vt:lpstr>
      <vt:lpstr>Vaccine Approach</vt:lpstr>
      <vt:lpstr> Accelerating Development of Safe and Effective Vaccines</vt:lpstr>
      <vt:lpstr>MCM Development – Vaccine Horse Race</vt:lpstr>
      <vt:lpstr>Overview of Two COVID Vaccine Platforms</vt:lpstr>
      <vt:lpstr>COVID Vaccine Development Pathway</vt:lpstr>
      <vt:lpstr>Solicited Local Adverse Events</vt:lpstr>
      <vt:lpstr>Solicited Systemic Adverse Events</vt:lpstr>
      <vt:lpstr>Non-Solicited Adverse Events</vt:lpstr>
      <vt:lpstr>Primary Efficacy Objectives</vt:lpstr>
      <vt:lpstr>Primary Endpoint Analysis</vt:lpstr>
      <vt:lpstr>Immunogenicity Analysis</vt:lpstr>
      <vt:lpstr>Logistics</vt:lpstr>
      <vt:lpstr>EUA Summary</vt:lpstr>
      <vt:lpstr>Effect of Vaccination on Death Rates</vt:lpstr>
      <vt:lpstr>Addressing End to End Solutions</vt:lpstr>
      <vt:lpstr>Vaccines and Future Vaccination Technologies</vt:lpstr>
      <vt:lpstr>Early Detection: Home-Diagnostics &amp; Wearable Devices</vt:lpstr>
      <vt:lpstr>PowerPoint Presentation</vt:lpstr>
      <vt:lpstr>It’s All Connected:  Areas for Greatest Impact</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latner, Gretta</dc:creator>
  <cp:lastModifiedBy>Blatner, Gretta</cp:lastModifiedBy>
  <cp:revision>51</cp:revision>
  <dcterms:created xsi:type="dcterms:W3CDTF">2022-03-22T13:05:45Z</dcterms:created>
  <dcterms:modified xsi:type="dcterms:W3CDTF">2022-03-24T14:56:52Z</dcterms:modified>
</cp:coreProperties>
</file>